
<file path=[Content_Types].xml><?xml version="1.0" encoding="utf-8"?>
<Types xmlns="http://schemas.openxmlformats.org/package/2006/content-types">
  <Default Extension="bin" ContentType="application/vnd.openxmlformats-officedocument.oleObject"/>
  <Default Extension="emf" ContentType="image/x-emf"/>
  <Default Extension="jfif" ContentType="image/jpeg"/>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xml" ContentType="application/vnd.openxmlformats-officedocument.theme+xml"/>
  <Override PartName="/ppt/slideLayouts/slideLayout22.xml" ContentType="application/vnd.openxmlformats-officedocument.presentationml.slideLayout+xml"/>
  <Override PartName="/ppt/theme/theme4.xml" ContentType="application/vnd.openxmlformats-officedocument.theme+xml"/>
  <Override PartName="/ppt/slideLayouts/slideLayout23.xml" ContentType="application/vnd.openxmlformats-officedocument.presentationml.slideLayout+xml"/>
  <Override PartName="/ppt/theme/theme5.xml" ContentType="application/vnd.openxmlformats-officedocument.theme+xml"/>
  <Override PartName="/ppt/slideLayouts/slideLayout24.xml" ContentType="application/vnd.openxmlformats-officedocument.presentationml.slideLayout+xml"/>
  <Override PartName="/ppt/theme/theme6.xml" ContentType="application/vnd.openxmlformats-officedocument.theme+xml"/>
  <Override PartName="/ppt/slideLayouts/slideLayout25.xml" ContentType="application/vnd.openxmlformats-officedocument.presentationml.slideLayout+xml"/>
  <Override PartName="/ppt/theme/theme7.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8.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9.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10.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11.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12.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theme/theme15.xml" ContentType="application/vnd.openxmlformats-officedocument.theme+xml"/>
  <Override PartName="/ppt/notesSlides/notesSlide1.xml" ContentType="application/vnd.openxmlformats-officedocument.presentationml.notesSlide+xml"/>
  <Override PartName="/ppt/theme/themeOverride1.xml" ContentType="application/vnd.openxmlformats-officedocument.themeOverride+xml"/>
  <Override PartName="/ppt/notesSlides/notesSlide2.xml" ContentType="application/vnd.openxmlformats-officedocument.presentationml.notesSlide+xml"/>
  <Override PartName="/ppt/theme/themeOverride2.xml" ContentType="application/vnd.openxmlformats-officedocument.themeOverride+xml"/>
  <Override PartName="/ppt/notesSlides/notesSlide3.xml" ContentType="application/vnd.openxmlformats-officedocument.presentationml.notesSlide+xml"/>
  <Override PartName="/ppt/theme/themeOverride3.xml" ContentType="application/vnd.openxmlformats-officedocument.themeOverride+xml"/>
  <Override PartName="/ppt/notesSlides/notesSlide4.xml" ContentType="application/vnd.openxmlformats-officedocument.presentationml.notesSlide+xml"/>
  <Override PartName="/ppt/theme/themeOverride4.xml" ContentType="application/vnd.openxmlformats-officedocument.themeOverr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heme/themeOverride5.xml" ContentType="application/vnd.openxmlformats-officedocument.themeOverr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heme/themeOverride6.xml" ContentType="application/vnd.openxmlformats-officedocument.themeOverride+xml"/>
  <Override PartName="/ppt/notesSlides/notesSlide13.xml" ContentType="application/vnd.openxmlformats-officedocument.presentationml.notesSlide+xml"/>
  <Override PartName="/ppt/theme/themeOverride7.xml" ContentType="application/vnd.openxmlformats-officedocument.themeOverride+xml"/>
  <Override PartName="/ppt/notesSlides/notesSlide14.xml" ContentType="application/vnd.openxmlformats-officedocument.presentationml.notesSlide+xml"/>
  <Override PartName="/ppt/theme/themeOverride8.xml" ContentType="application/vnd.openxmlformats-officedocument.themeOverride+xml"/>
  <Override PartName="/ppt/notesSlides/notesSlide15.xml" ContentType="application/vnd.openxmlformats-officedocument.presentationml.notesSlide+xml"/>
  <Override PartName="/ppt/theme/themeOverride9.xml" ContentType="application/vnd.openxmlformats-officedocument.themeOverride+xml"/>
  <Override PartName="/ppt/notesSlides/notesSlide16.xml" ContentType="application/vnd.openxmlformats-officedocument.presentationml.notesSlide+xml"/>
  <Override PartName="/ppt/theme/themeOverride10.xml" ContentType="application/vnd.openxmlformats-officedocument.themeOverride+xml"/>
  <Override PartName="/ppt/notesSlides/notesSlide17.xml" ContentType="application/vnd.openxmlformats-officedocument.presentationml.notesSlide+xml"/>
  <Override PartName="/ppt/theme/themeOverride11.xml" ContentType="application/vnd.openxmlformats-officedocument.themeOverride+xml"/>
  <Override PartName="/ppt/notesSlides/notesSlide18.xml" ContentType="application/vnd.openxmlformats-officedocument.presentationml.notesSlide+xml"/>
  <Override PartName="/ppt/theme/themeOverride12.xml" ContentType="application/vnd.openxmlformats-officedocument.themeOverride+xml"/>
  <Override PartName="/ppt/notesSlides/notesSlide19.xml" ContentType="application/vnd.openxmlformats-officedocument.presentationml.notesSlide+xml"/>
  <Override PartName="/ppt/theme/themeOverride13.xml" ContentType="application/vnd.openxmlformats-officedocument.themeOverride+xml"/>
  <Override PartName="/ppt/notesSlides/notesSlide20.xml" ContentType="application/vnd.openxmlformats-officedocument.presentationml.notesSlide+xml"/>
  <Override PartName="/ppt/theme/themeOverride14.xml" ContentType="application/vnd.openxmlformats-officedocument.themeOverride+xml"/>
  <Override PartName="/ppt/notesSlides/notesSlide21.xml" ContentType="application/vnd.openxmlformats-officedocument.presentationml.notesSlide+xml"/>
  <Override PartName="/ppt/theme/themeOverride15.xml" ContentType="application/vnd.openxmlformats-officedocument.themeOverride+xml"/>
  <Override PartName="/ppt/notesSlides/notesSlide22.xml" ContentType="application/vnd.openxmlformats-officedocument.presentationml.notesSlide+xml"/>
  <Override PartName="/ppt/theme/themeOverride16.xml" ContentType="application/vnd.openxmlformats-officedocument.themeOverride+xml"/>
  <Override PartName="/ppt/notesSlides/notesSlide23.xml" ContentType="application/vnd.openxmlformats-officedocument.presentationml.notesSlide+xml"/>
  <Override PartName="/ppt/theme/themeOverride17.xml" ContentType="application/vnd.openxmlformats-officedocument.themeOverride+xml"/>
  <Override PartName="/ppt/notesSlides/notesSlide24.xml" ContentType="application/vnd.openxmlformats-officedocument.presentationml.notesSlide+xml"/>
  <Override PartName="/ppt/theme/themeOverride18.xml" ContentType="application/vnd.openxmlformats-officedocument.themeOverride+xml"/>
  <Override PartName="/ppt/notesSlides/notesSlide25.xml" ContentType="application/vnd.openxmlformats-officedocument.presentationml.notesSlide+xml"/>
  <Override PartName="/ppt/theme/themeOverride19.xml" ContentType="application/vnd.openxmlformats-officedocument.themeOverr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heme/themeOverride20.xml" ContentType="application/vnd.openxmlformats-officedocument.themeOverr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58" r:id="rId4"/>
    <p:sldMasterId id="2147485195" r:id="rId5"/>
    <p:sldMasterId id="2147483664" r:id="rId6"/>
    <p:sldMasterId id="2147483671" r:id="rId7"/>
    <p:sldMasterId id="2147483765" r:id="rId8"/>
    <p:sldMasterId id="2147485136" r:id="rId9"/>
    <p:sldMasterId id="2147485164" r:id="rId10"/>
    <p:sldMasterId id="2147483768" r:id="rId11"/>
    <p:sldMasterId id="2147485175" r:id="rId12"/>
    <p:sldMasterId id="2147485185" r:id="rId13"/>
    <p:sldMasterId id="2147483674" r:id="rId14"/>
    <p:sldMasterId id="2147483648" r:id="rId15"/>
    <p:sldMasterId id="2147484631" r:id="rId16"/>
  </p:sldMasterIdLst>
  <p:notesMasterIdLst>
    <p:notesMasterId r:id="rId56"/>
  </p:notesMasterIdLst>
  <p:handoutMasterIdLst>
    <p:handoutMasterId r:id="rId57"/>
  </p:handoutMasterIdLst>
  <p:sldIdLst>
    <p:sldId id="5089" r:id="rId17"/>
    <p:sldId id="340" r:id="rId18"/>
    <p:sldId id="2147478148" r:id="rId19"/>
    <p:sldId id="527" r:id="rId20"/>
    <p:sldId id="549" r:id="rId21"/>
    <p:sldId id="2147478149" r:id="rId22"/>
    <p:sldId id="2147478150" r:id="rId23"/>
    <p:sldId id="2147478151" r:id="rId24"/>
    <p:sldId id="541" r:id="rId25"/>
    <p:sldId id="262" r:id="rId26"/>
    <p:sldId id="3500" r:id="rId27"/>
    <p:sldId id="2147478145" r:id="rId28"/>
    <p:sldId id="256" r:id="rId29"/>
    <p:sldId id="265" r:id="rId30"/>
    <p:sldId id="276" r:id="rId31"/>
    <p:sldId id="277" r:id="rId32"/>
    <p:sldId id="278" r:id="rId33"/>
    <p:sldId id="282" r:id="rId34"/>
    <p:sldId id="283" r:id="rId35"/>
    <p:sldId id="1234" r:id="rId36"/>
    <p:sldId id="1991" r:id="rId37"/>
    <p:sldId id="280" r:id="rId38"/>
    <p:sldId id="284" r:id="rId39"/>
    <p:sldId id="1992" r:id="rId40"/>
    <p:sldId id="285" r:id="rId41"/>
    <p:sldId id="286" r:id="rId42"/>
    <p:sldId id="1159" r:id="rId43"/>
    <p:sldId id="2147478152" r:id="rId44"/>
    <p:sldId id="302" r:id="rId45"/>
    <p:sldId id="703" r:id="rId46"/>
    <p:sldId id="739" r:id="rId47"/>
    <p:sldId id="339" r:id="rId48"/>
    <p:sldId id="263" r:id="rId49"/>
    <p:sldId id="1994" r:id="rId50"/>
    <p:sldId id="260" r:id="rId51"/>
    <p:sldId id="5088" r:id="rId52"/>
    <p:sldId id="5058" r:id="rId53"/>
    <p:sldId id="2147478146" r:id="rId54"/>
    <p:sldId id="2147478147" r:id="rId55"/>
  </p:sldIdLst>
  <p:sldSz cx="9144000" cy="5148263"/>
  <p:notesSz cx="6858000" cy="9144000"/>
  <p:defaultTextStyle>
    <a:defPPr>
      <a:defRPr lang="en-US"/>
    </a:defPPr>
    <a:lvl1pPr marL="0" algn="l" defTabSz="685983" rtl="0" eaLnBrk="1" latinLnBrk="0" hangingPunct="1">
      <a:defRPr sz="1350" kern="1200">
        <a:solidFill>
          <a:schemeClr val="tx1"/>
        </a:solidFill>
        <a:latin typeface="+mn-lt"/>
        <a:ea typeface="+mn-ea"/>
        <a:cs typeface="+mn-cs"/>
      </a:defRPr>
    </a:lvl1pPr>
    <a:lvl2pPr marL="342991" algn="l" defTabSz="685983" rtl="0" eaLnBrk="1" latinLnBrk="0" hangingPunct="1">
      <a:defRPr sz="1350" kern="1200">
        <a:solidFill>
          <a:schemeClr val="tx1"/>
        </a:solidFill>
        <a:latin typeface="+mn-lt"/>
        <a:ea typeface="+mn-ea"/>
        <a:cs typeface="+mn-cs"/>
      </a:defRPr>
    </a:lvl2pPr>
    <a:lvl3pPr marL="685983" algn="l" defTabSz="685983" rtl="0" eaLnBrk="1" latinLnBrk="0" hangingPunct="1">
      <a:defRPr sz="1350" kern="1200">
        <a:solidFill>
          <a:schemeClr val="tx1"/>
        </a:solidFill>
        <a:latin typeface="+mn-lt"/>
        <a:ea typeface="+mn-ea"/>
        <a:cs typeface="+mn-cs"/>
      </a:defRPr>
    </a:lvl3pPr>
    <a:lvl4pPr marL="1028974" algn="l" defTabSz="685983" rtl="0" eaLnBrk="1" latinLnBrk="0" hangingPunct="1">
      <a:defRPr sz="1350" kern="1200">
        <a:solidFill>
          <a:schemeClr val="tx1"/>
        </a:solidFill>
        <a:latin typeface="+mn-lt"/>
        <a:ea typeface="+mn-ea"/>
        <a:cs typeface="+mn-cs"/>
      </a:defRPr>
    </a:lvl4pPr>
    <a:lvl5pPr marL="1371966" algn="l" defTabSz="685983" rtl="0" eaLnBrk="1" latinLnBrk="0" hangingPunct="1">
      <a:defRPr sz="1350" kern="1200">
        <a:solidFill>
          <a:schemeClr val="tx1"/>
        </a:solidFill>
        <a:latin typeface="+mn-lt"/>
        <a:ea typeface="+mn-ea"/>
        <a:cs typeface="+mn-cs"/>
      </a:defRPr>
    </a:lvl5pPr>
    <a:lvl6pPr marL="1714957" algn="l" defTabSz="685983" rtl="0" eaLnBrk="1" latinLnBrk="0" hangingPunct="1">
      <a:defRPr sz="1350" kern="1200">
        <a:solidFill>
          <a:schemeClr val="tx1"/>
        </a:solidFill>
        <a:latin typeface="+mn-lt"/>
        <a:ea typeface="+mn-ea"/>
        <a:cs typeface="+mn-cs"/>
      </a:defRPr>
    </a:lvl6pPr>
    <a:lvl7pPr marL="2057949" algn="l" defTabSz="685983" rtl="0" eaLnBrk="1" latinLnBrk="0" hangingPunct="1">
      <a:defRPr sz="1350" kern="1200">
        <a:solidFill>
          <a:schemeClr val="tx1"/>
        </a:solidFill>
        <a:latin typeface="+mn-lt"/>
        <a:ea typeface="+mn-ea"/>
        <a:cs typeface="+mn-cs"/>
      </a:defRPr>
    </a:lvl7pPr>
    <a:lvl8pPr marL="2400940" algn="l" defTabSz="685983" rtl="0" eaLnBrk="1" latinLnBrk="0" hangingPunct="1">
      <a:defRPr sz="1350" kern="1200">
        <a:solidFill>
          <a:schemeClr val="tx1"/>
        </a:solidFill>
        <a:latin typeface="+mn-lt"/>
        <a:ea typeface="+mn-ea"/>
        <a:cs typeface="+mn-cs"/>
      </a:defRPr>
    </a:lvl8pPr>
    <a:lvl9pPr marL="2743932" algn="l" defTabSz="685983"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C0C7C8"/>
    <a:srgbClr val="000000"/>
    <a:srgbClr val="393432"/>
    <a:srgbClr val="878A8D"/>
    <a:srgbClr val="222323"/>
    <a:srgbClr val="D9D9D6"/>
    <a:srgbClr val="1A1918"/>
    <a:srgbClr val="3C413D"/>
    <a:srgbClr val="00587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E5E7F83-A102-0375-2E3A-C3CC9E3B5F19}" v="23" dt="2025-08-18T18:21:46.108"/>
    <p1510:client id="{A8619E88-CEE2-64F8-2E9F-B07A27E95662}" v="91" dt="2025-08-19T03:46:14.019"/>
    <p1510:client id="{BFD33CC2-FBE9-06C3-9AB0-0DD02266BCD4}" v="24" dt="2025-08-19T14:31:06.127"/>
    <p1510:client id="{D9881D89-9E8B-4481-92D5-D284855ECB37}" v="34" dt="2025-08-17T17:49:55.71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321" autoAdjust="0"/>
    <p:restoredTop sz="86872" autoAdjust="0"/>
  </p:normalViewPr>
  <p:slideViewPr>
    <p:cSldViewPr snapToGrid="0">
      <p:cViewPr varScale="1">
        <p:scale>
          <a:sx n="79" d="100"/>
          <a:sy n="79" d="100"/>
        </p:scale>
        <p:origin x="990" y="78"/>
      </p:cViewPr>
      <p:guideLst/>
    </p:cSldViewPr>
  </p:slideViewPr>
  <p:outlineViewPr>
    <p:cViewPr>
      <p:scale>
        <a:sx n="33" d="100"/>
        <a:sy n="33" d="100"/>
      </p:scale>
      <p:origin x="0" y="-13992"/>
    </p:cViewPr>
  </p:outlineViewPr>
  <p:notesTextViewPr>
    <p:cViewPr>
      <p:scale>
        <a:sx n="1" d="1"/>
        <a:sy n="1" d="1"/>
      </p:scale>
      <p:origin x="0" y="0"/>
    </p:cViewPr>
  </p:notesTextViewPr>
  <p:sorterViewPr>
    <p:cViewPr varScale="1">
      <p:scale>
        <a:sx n="100" d="100"/>
        <a:sy n="100" d="100"/>
      </p:scale>
      <p:origin x="0" y="0"/>
    </p:cViewPr>
  </p:sorterViewPr>
  <p:notesViewPr>
    <p:cSldViewPr snapToGrid="0">
      <p:cViewPr varScale="1">
        <p:scale>
          <a:sx n="55" d="100"/>
          <a:sy n="55" d="100"/>
        </p:scale>
        <p:origin x="3054" y="9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2.xml"/><Relationship Id="rId26" Type="http://schemas.openxmlformats.org/officeDocument/2006/relationships/slide" Target="slides/slide10.xml"/><Relationship Id="rId39" Type="http://schemas.openxmlformats.org/officeDocument/2006/relationships/slide" Target="slides/slide23.xml"/><Relationship Id="rId21" Type="http://schemas.openxmlformats.org/officeDocument/2006/relationships/slide" Target="slides/slide5.xml"/><Relationship Id="rId34" Type="http://schemas.openxmlformats.org/officeDocument/2006/relationships/slide" Target="slides/slide18.xml"/><Relationship Id="rId42" Type="http://schemas.openxmlformats.org/officeDocument/2006/relationships/slide" Target="slides/slide26.xml"/><Relationship Id="rId47" Type="http://schemas.openxmlformats.org/officeDocument/2006/relationships/slide" Target="slides/slide31.xml"/><Relationship Id="rId50" Type="http://schemas.openxmlformats.org/officeDocument/2006/relationships/slide" Target="slides/slide34.xml"/><Relationship Id="rId55" Type="http://schemas.openxmlformats.org/officeDocument/2006/relationships/slide" Target="slides/slide39.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13.xml"/><Relationship Id="rId11" Type="http://schemas.openxmlformats.org/officeDocument/2006/relationships/slideMaster" Target="slideMasters/slideMaster8.xml"/><Relationship Id="rId24" Type="http://schemas.openxmlformats.org/officeDocument/2006/relationships/slide" Target="slides/slide8.xml"/><Relationship Id="rId32" Type="http://schemas.openxmlformats.org/officeDocument/2006/relationships/slide" Target="slides/slide16.xml"/><Relationship Id="rId37" Type="http://schemas.openxmlformats.org/officeDocument/2006/relationships/slide" Target="slides/slide21.xml"/><Relationship Id="rId40" Type="http://schemas.openxmlformats.org/officeDocument/2006/relationships/slide" Target="slides/slide24.xml"/><Relationship Id="rId45" Type="http://schemas.openxmlformats.org/officeDocument/2006/relationships/slide" Target="slides/slide29.xml"/><Relationship Id="rId53" Type="http://schemas.openxmlformats.org/officeDocument/2006/relationships/slide" Target="slides/slide37.xml"/><Relationship Id="rId58" Type="http://schemas.openxmlformats.org/officeDocument/2006/relationships/presProps" Target="presProps.xml"/><Relationship Id="rId5" Type="http://schemas.openxmlformats.org/officeDocument/2006/relationships/slideMaster" Target="slideMasters/slideMaster2.xml"/><Relationship Id="rId61" Type="http://schemas.openxmlformats.org/officeDocument/2006/relationships/tableStyles" Target="tableStyles.xml"/><Relationship Id="rId19" Type="http://schemas.openxmlformats.org/officeDocument/2006/relationships/slide" Target="slides/slide3.xml"/><Relationship Id="rId14" Type="http://schemas.openxmlformats.org/officeDocument/2006/relationships/slideMaster" Target="slideMasters/slideMaster11.xml"/><Relationship Id="rId22" Type="http://schemas.openxmlformats.org/officeDocument/2006/relationships/slide" Target="slides/slide6.xml"/><Relationship Id="rId27" Type="http://schemas.openxmlformats.org/officeDocument/2006/relationships/slide" Target="slides/slide11.xml"/><Relationship Id="rId30" Type="http://schemas.openxmlformats.org/officeDocument/2006/relationships/slide" Target="slides/slide14.xml"/><Relationship Id="rId35" Type="http://schemas.openxmlformats.org/officeDocument/2006/relationships/slide" Target="slides/slide19.xml"/><Relationship Id="rId43" Type="http://schemas.openxmlformats.org/officeDocument/2006/relationships/slide" Target="slides/slide27.xml"/><Relationship Id="rId48" Type="http://schemas.openxmlformats.org/officeDocument/2006/relationships/slide" Target="slides/slide32.xml"/><Relationship Id="rId56" Type="http://schemas.openxmlformats.org/officeDocument/2006/relationships/notesMaster" Target="notesMasters/notesMaster1.xml"/><Relationship Id="rId8" Type="http://schemas.openxmlformats.org/officeDocument/2006/relationships/slideMaster" Target="slideMasters/slideMaster5.xml"/><Relationship Id="rId51" Type="http://schemas.openxmlformats.org/officeDocument/2006/relationships/slide" Target="slides/slide3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slide" Target="slides/slide17.xml"/><Relationship Id="rId38" Type="http://schemas.openxmlformats.org/officeDocument/2006/relationships/slide" Target="slides/slide22.xml"/><Relationship Id="rId46" Type="http://schemas.openxmlformats.org/officeDocument/2006/relationships/slide" Target="slides/slide30.xml"/><Relationship Id="rId59" Type="http://schemas.openxmlformats.org/officeDocument/2006/relationships/viewProps" Target="viewProps.xml"/><Relationship Id="rId20" Type="http://schemas.openxmlformats.org/officeDocument/2006/relationships/slide" Target="slides/slide4.xml"/><Relationship Id="rId41" Type="http://schemas.openxmlformats.org/officeDocument/2006/relationships/slide" Target="slides/slide25.xml"/><Relationship Id="rId54" Type="http://schemas.openxmlformats.org/officeDocument/2006/relationships/slide" Target="slides/slide38.xml"/><Relationship Id="rId62"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slide" Target="slides/slide20.xml"/><Relationship Id="rId49" Type="http://schemas.openxmlformats.org/officeDocument/2006/relationships/slide" Target="slides/slide33.xml"/><Relationship Id="rId57" Type="http://schemas.openxmlformats.org/officeDocument/2006/relationships/handoutMaster" Target="handoutMasters/handoutMaster1.xml"/><Relationship Id="rId10" Type="http://schemas.openxmlformats.org/officeDocument/2006/relationships/slideMaster" Target="slideMasters/slideMaster7.xml"/><Relationship Id="rId31" Type="http://schemas.openxmlformats.org/officeDocument/2006/relationships/slide" Target="slides/slide15.xml"/><Relationship Id="rId44" Type="http://schemas.openxmlformats.org/officeDocument/2006/relationships/slide" Target="slides/slide28.xml"/><Relationship Id="rId52" Type="http://schemas.openxmlformats.org/officeDocument/2006/relationships/slide" Target="slides/slide36.xml"/><Relationship Id="rId6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E003BA0-10C7-F965-9F00-B55344018A9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C8822EFA-D0F8-3CBB-DD7D-A2E608E4608F}"/>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C48F44A-530C-4028-8A43-B5F2C92A986A}" type="datetimeFigureOut">
              <a:rPr lang="en-US" smtClean="0"/>
              <a:t>8/19/2025</a:t>
            </a:fld>
            <a:endParaRPr lang="en-US"/>
          </a:p>
        </p:txBody>
      </p:sp>
      <p:sp>
        <p:nvSpPr>
          <p:cNvPr id="4" name="Footer Placeholder 3">
            <a:extLst>
              <a:ext uri="{FF2B5EF4-FFF2-40B4-BE49-F238E27FC236}">
                <a16:creationId xmlns:a16="http://schemas.microsoft.com/office/drawing/2014/main" id="{ADEC35BD-B656-D70F-00BB-C0B3B19E596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90F16F7E-E749-3F22-8E6F-8AB8D2A0E8B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9E533F3-229E-47FD-B243-30B7A6B5C5B5}" type="slidenum">
              <a:rPr lang="en-US" smtClean="0"/>
              <a:t>‹#›</a:t>
            </a:fld>
            <a:endParaRPr lang="en-US"/>
          </a:p>
        </p:txBody>
      </p:sp>
    </p:spTree>
    <p:extLst>
      <p:ext uri="{BB962C8B-B14F-4D97-AF65-F5344CB8AC3E}">
        <p14:creationId xmlns:p14="http://schemas.microsoft.com/office/powerpoint/2010/main" val="9028543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5F999B1-524A-EB42-A461-3DDF9E6641A6}" type="datetimeFigureOut">
              <a:rPr lang="en-US" smtClean="0"/>
              <a:t>8/19/2025</a:t>
            </a:fld>
            <a:endParaRPr lang="en-US"/>
          </a:p>
        </p:txBody>
      </p:sp>
      <p:sp>
        <p:nvSpPr>
          <p:cNvPr id="4" name="Slide Image Placeholder 3"/>
          <p:cNvSpPr>
            <a:spLocks noGrp="1" noRot="1" noChangeAspect="1"/>
          </p:cNvSpPr>
          <p:nvPr>
            <p:ph type="sldImg" idx="2"/>
          </p:nvPr>
        </p:nvSpPr>
        <p:spPr>
          <a:xfrm>
            <a:off x="688975" y="1143000"/>
            <a:ext cx="548005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4AC7919-D355-624C-AE5F-B63AF8456273}" type="slidenum">
              <a:rPr lang="en-US" smtClean="0"/>
              <a:t>‹#›</a:t>
            </a:fld>
            <a:endParaRPr lang="en-US"/>
          </a:p>
        </p:txBody>
      </p:sp>
    </p:spTree>
    <p:extLst>
      <p:ext uri="{BB962C8B-B14F-4D97-AF65-F5344CB8AC3E}">
        <p14:creationId xmlns:p14="http://schemas.microsoft.com/office/powerpoint/2010/main" val="3475560817"/>
      </p:ext>
    </p:extLst>
  </p:cSld>
  <p:clrMap bg1="lt1" tx1="dk1" bg2="lt2" tx2="dk2" accent1="accent1" accent2="accent2" accent3="accent3" accent4="accent4" accent5="accent5" accent6="accent6" hlink="hlink" folHlink="folHlink"/>
  <p:notesStyle>
    <a:lvl1pPr marL="0" algn="l" defTabSz="685983" rtl="0" eaLnBrk="1" latinLnBrk="0" hangingPunct="1">
      <a:defRPr sz="900" kern="1200">
        <a:solidFill>
          <a:schemeClr val="tx1"/>
        </a:solidFill>
        <a:latin typeface="+mn-lt"/>
        <a:ea typeface="+mn-ea"/>
        <a:cs typeface="+mn-cs"/>
      </a:defRPr>
    </a:lvl1pPr>
    <a:lvl2pPr marL="342991" algn="l" defTabSz="685983" rtl="0" eaLnBrk="1" latinLnBrk="0" hangingPunct="1">
      <a:defRPr sz="900" kern="1200">
        <a:solidFill>
          <a:schemeClr val="tx1"/>
        </a:solidFill>
        <a:latin typeface="+mn-lt"/>
        <a:ea typeface="+mn-ea"/>
        <a:cs typeface="+mn-cs"/>
      </a:defRPr>
    </a:lvl2pPr>
    <a:lvl3pPr marL="685983" algn="l" defTabSz="685983" rtl="0" eaLnBrk="1" latinLnBrk="0" hangingPunct="1">
      <a:defRPr sz="900" kern="1200">
        <a:solidFill>
          <a:schemeClr val="tx1"/>
        </a:solidFill>
        <a:latin typeface="+mn-lt"/>
        <a:ea typeface="+mn-ea"/>
        <a:cs typeface="+mn-cs"/>
      </a:defRPr>
    </a:lvl3pPr>
    <a:lvl4pPr marL="1028974" algn="l" defTabSz="685983" rtl="0" eaLnBrk="1" latinLnBrk="0" hangingPunct="1">
      <a:defRPr sz="900" kern="1200">
        <a:solidFill>
          <a:schemeClr val="tx1"/>
        </a:solidFill>
        <a:latin typeface="+mn-lt"/>
        <a:ea typeface="+mn-ea"/>
        <a:cs typeface="+mn-cs"/>
      </a:defRPr>
    </a:lvl4pPr>
    <a:lvl5pPr marL="1371966" algn="l" defTabSz="685983" rtl="0" eaLnBrk="1" latinLnBrk="0" hangingPunct="1">
      <a:defRPr sz="900" kern="1200">
        <a:solidFill>
          <a:schemeClr val="tx1"/>
        </a:solidFill>
        <a:latin typeface="+mn-lt"/>
        <a:ea typeface="+mn-ea"/>
        <a:cs typeface="+mn-cs"/>
      </a:defRPr>
    </a:lvl5pPr>
    <a:lvl6pPr marL="1714957" algn="l" defTabSz="685983" rtl="0" eaLnBrk="1" latinLnBrk="0" hangingPunct="1">
      <a:defRPr sz="900" kern="1200">
        <a:solidFill>
          <a:schemeClr val="tx1"/>
        </a:solidFill>
        <a:latin typeface="+mn-lt"/>
        <a:ea typeface="+mn-ea"/>
        <a:cs typeface="+mn-cs"/>
      </a:defRPr>
    </a:lvl6pPr>
    <a:lvl7pPr marL="2057949" algn="l" defTabSz="685983" rtl="0" eaLnBrk="1" latinLnBrk="0" hangingPunct="1">
      <a:defRPr sz="900" kern="1200">
        <a:solidFill>
          <a:schemeClr val="tx1"/>
        </a:solidFill>
        <a:latin typeface="+mn-lt"/>
        <a:ea typeface="+mn-ea"/>
        <a:cs typeface="+mn-cs"/>
      </a:defRPr>
    </a:lvl7pPr>
    <a:lvl8pPr marL="2400940" algn="l" defTabSz="685983" rtl="0" eaLnBrk="1" latinLnBrk="0" hangingPunct="1">
      <a:defRPr sz="900" kern="1200">
        <a:solidFill>
          <a:schemeClr val="tx1"/>
        </a:solidFill>
        <a:latin typeface="+mn-lt"/>
        <a:ea typeface="+mn-ea"/>
        <a:cs typeface="+mn-cs"/>
      </a:defRPr>
    </a:lvl8pPr>
    <a:lvl9pPr marL="2743932" algn="l" defTabSz="685983"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p1:notes"/>
          <p:cNvSpPr>
            <a:spLocks noGrp="1" noRot="1" noChangeAspect="1"/>
          </p:cNvSpPr>
          <p:nvPr>
            <p:ph type="sldImg" idx="2"/>
          </p:nvPr>
        </p:nvSpPr>
        <p:spPr>
          <a:xfrm>
            <a:off x="688975" y="1143000"/>
            <a:ext cx="548005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69" name="Google Shape;469;p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a:lnSpc>
                <a:spcPct val="107000"/>
              </a:lnSpc>
              <a:spcAft>
                <a:spcPts val="800"/>
              </a:spcAft>
            </a:pPr>
            <a:r>
              <a:rPr lang="en-US" kern="100" dirty="0">
                <a:latin typeface="Arial" panose="020B0604020202020204" pitchFamily="34" charset="0"/>
                <a:ea typeface="Times New Roman" panose="02020603050405020304" pitchFamily="18" charset="0"/>
                <a:cs typeface="Arial" panose="020B0604020202020204" pitchFamily="34" charset="0"/>
              </a:rPr>
              <a:t>Bring Candy, decks of cards, anybody know where the first US Gas Utility was </a:t>
            </a:r>
          </a:p>
          <a:p>
            <a:pPr>
              <a:lnSpc>
                <a:spcPct val="107000"/>
              </a:lnSpc>
              <a:spcAft>
                <a:spcPts val="800"/>
              </a:spcAft>
            </a:pPr>
            <a:r>
              <a:rPr lang="en-US" kern="100" dirty="0">
                <a:latin typeface="Arial" panose="020B0604020202020204" pitchFamily="34" charset="0"/>
                <a:ea typeface="Times New Roman" panose="02020603050405020304" pitchFamily="18" charset="0"/>
                <a:cs typeface="Arial" panose="020B0604020202020204" pitchFamily="34" charset="0"/>
              </a:rPr>
              <a:t>One of the things you might not have known and, and I love trivia that the very first gas utility in the United States was the Gaslight Company of Baltimore, founded in 1816.</a:t>
            </a:r>
            <a:br>
              <a:rPr lang="en-US" kern="100" dirty="0">
                <a:latin typeface="Arial" panose="020B0604020202020204" pitchFamily="34" charset="0"/>
                <a:ea typeface="Times New Roman" panose="02020603050405020304" pitchFamily="18" charset="0"/>
                <a:cs typeface="Arial" panose="020B0604020202020204" pitchFamily="34" charset="0"/>
              </a:rPr>
            </a:br>
            <a:r>
              <a:rPr lang="en-US" kern="100" dirty="0">
                <a:latin typeface="Arial" panose="020B0604020202020204" pitchFamily="34" charset="0"/>
                <a:ea typeface="Times New Roman" panose="02020603050405020304" pitchFamily="18" charset="0"/>
                <a:cs typeface="Arial" panose="020B0604020202020204" pitchFamily="34" charset="0"/>
              </a:rPr>
              <a:t>Back then they used a flat rate billing system, so that meant that everybody paid the same price no matter what, and you can imagine that the people who were more responsible if their usage didn't want to keep paying for people who are irresponsible for their usage.</a:t>
            </a:r>
          </a:p>
          <a:p>
            <a:pPr>
              <a:lnSpc>
                <a:spcPct val="107000"/>
              </a:lnSpc>
              <a:spcAft>
                <a:spcPts val="800"/>
              </a:spcAft>
            </a:pPr>
            <a:br>
              <a:rPr lang="en-US" kern="100" dirty="0">
                <a:latin typeface="Arial" panose="020B0604020202020204" pitchFamily="34" charset="0"/>
                <a:ea typeface="Times New Roman" panose="02020603050405020304" pitchFamily="18" charset="0"/>
                <a:cs typeface="Arial" panose="020B0604020202020204" pitchFamily="34" charset="0"/>
              </a:rPr>
            </a:br>
            <a:r>
              <a:rPr lang="en-US" kern="100" dirty="0">
                <a:latin typeface="Arial" panose="020B0604020202020204" pitchFamily="34" charset="0"/>
                <a:ea typeface="Times New Roman" panose="02020603050405020304" pitchFamily="18" charset="0"/>
                <a:cs typeface="Arial" panose="020B0604020202020204" pitchFamily="34" charset="0"/>
              </a:rPr>
              <a:t>And that picture actually represents what used to happen in the day.</a:t>
            </a:r>
          </a:p>
          <a:p>
            <a:pPr>
              <a:lnSpc>
                <a:spcPct val="107000"/>
              </a:lnSpc>
              <a:spcAft>
                <a:spcPts val="800"/>
              </a:spcAft>
            </a:pPr>
            <a:r>
              <a:rPr lang="en-US" kern="100" dirty="0">
                <a:latin typeface="Arial" panose="020B0604020202020204" pitchFamily="34" charset="0"/>
                <a:ea typeface="Times New Roman" panose="02020603050405020304" pitchFamily="18" charset="0"/>
                <a:cs typeface="Arial" panose="020B0604020202020204" pitchFamily="34" charset="0"/>
              </a:rPr>
              <a:t>Somebody would walk around and </a:t>
            </a:r>
            <a:r>
              <a:rPr lang="en-US" kern="100" dirty="0" err="1">
                <a:latin typeface="Arial" panose="020B0604020202020204" pitchFamily="34" charset="0"/>
                <a:ea typeface="Times New Roman" panose="02020603050405020304" pitchFamily="18" charset="0"/>
                <a:cs typeface="Arial" panose="020B0604020202020204" pitchFamily="34" charset="0"/>
              </a:rPr>
              <a:t>and</a:t>
            </a:r>
            <a:r>
              <a:rPr lang="en-US" kern="100" dirty="0">
                <a:latin typeface="Arial" panose="020B0604020202020204" pitchFamily="34" charset="0"/>
                <a:ea typeface="Times New Roman" panose="02020603050405020304" pitchFamily="18" charset="0"/>
                <a:cs typeface="Arial" panose="020B0604020202020204" pitchFamily="34" charset="0"/>
              </a:rPr>
              <a:t> wrap on the sidewalk to let people know when they should be turning out their lights to try to keep those costs down.</a:t>
            </a:r>
          </a:p>
          <a:p>
            <a:pPr>
              <a:lnSpc>
                <a:spcPct val="107000"/>
              </a:lnSpc>
              <a:spcAft>
                <a:spcPts val="800"/>
              </a:spcAft>
            </a:pPr>
            <a:br>
              <a:rPr lang="en-US" kern="100" dirty="0">
                <a:latin typeface="Arial" panose="020B0604020202020204" pitchFamily="34" charset="0"/>
                <a:ea typeface="Times New Roman" panose="02020603050405020304" pitchFamily="18" charset="0"/>
                <a:cs typeface="Arial" panose="020B0604020202020204" pitchFamily="34" charset="0"/>
              </a:rPr>
            </a:br>
            <a:r>
              <a:rPr lang="en-US" kern="100" dirty="0">
                <a:latin typeface="Arial" panose="020B0604020202020204" pitchFamily="34" charset="0"/>
                <a:ea typeface="Times New Roman" panose="02020603050405020304" pitchFamily="18" charset="0"/>
                <a:cs typeface="Arial" panose="020B0604020202020204" pitchFamily="34" charset="0"/>
              </a:rPr>
              <a:t>So again, you know, utilities had no way of accounting for who was using what and they had no way to account for theft or leakage.</a:t>
            </a:r>
          </a:p>
          <a:p>
            <a:endParaRPr lang="en-US" dirty="0">
              <a:latin typeface="Arial" panose="020B0604020202020204" pitchFamily="34" charset="0"/>
              <a:cs typeface="Arial" panose="020B0604020202020204" pitchFamily="34" charset="0"/>
            </a:endParaRPr>
          </a:p>
          <a:p>
            <a:r>
              <a:rPr lang="en-US" dirty="0">
                <a:latin typeface="Arial" panose="020B0604020202020204" pitchFamily="34" charset="0"/>
                <a:cs typeface="Arial" panose="020B0604020202020204" pitchFamily="34" charset="0"/>
              </a:rPr>
              <a:t>Gas light trivia: Why are they called 20 </a:t>
            </a:r>
            <a:r>
              <a:rPr lang="en-US" dirty="0" err="1">
                <a:latin typeface="Arial" panose="020B0604020202020204" pitchFamily="34" charset="0"/>
                <a:cs typeface="Arial" panose="020B0604020202020204" pitchFamily="34" charset="0"/>
              </a:rPr>
              <a:t>lt</a:t>
            </a:r>
            <a:r>
              <a:rPr lang="en-US" dirty="0">
                <a:latin typeface="Arial" panose="020B0604020202020204" pitchFamily="34" charset="0"/>
                <a:cs typeface="Arial" panose="020B0604020202020204" pitchFamily="34" charset="0"/>
              </a:rPr>
              <a:t>, 30 </a:t>
            </a:r>
            <a:r>
              <a:rPr lang="en-US" dirty="0" err="1">
                <a:latin typeface="Arial" panose="020B0604020202020204" pitchFamily="34" charset="0"/>
                <a:cs typeface="Arial" panose="020B0604020202020204" pitchFamily="34" charset="0"/>
              </a:rPr>
              <a:t>lt</a:t>
            </a:r>
            <a:r>
              <a:rPr lang="en-US" dirty="0">
                <a:latin typeface="Arial" panose="020B0604020202020204" pitchFamily="34" charset="0"/>
                <a:cs typeface="Arial" panose="020B0604020202020204" pitchFamily="34" charset="0"/>
              </a:rPr>
              <a:t>, etc? </a:t>
            </a:r>
          </a:p>
          <a:p>
            <a:r>
              <a:rPr lang="en-US" dirty="0">
                <a:latin typeface="Arial" panose="020B0604020202020204" pitchFamily="34" charset="0"/>
                <a:cs typeface="Arial" panose="020B0604020202020204" pitchFamily="34" charset="0"/>
              </a:rPr>
              <a:t>That is the number of lights the gas pipe could light.</a:t>
            </a:r>
          </a:p>
          <a:p>
            <a:endParaRPr lang="en-US" dirty="0">
              <a:latin typeface="Arial" panose="020B0604020202020204" pitchFamily="34" charset="0"/>
              <a:cs typeface="Arial" panose="020B0604020202020204" pitchFamily="34" charset="0"/>
            </a:endParaRPr>
          </a:p>
          <a:p>
            <a:r>
              <a:rPr lang="en-US" altLang="en-US" dirty="0">
                <a:latin typeface="Arial" panose="020B0604020202020204" pitchFamily="34" charset="0"/>
                <a:cs typeface="Arial" panose="020B0604020202020204" pitchFamily="34" charset="0"/>
              </a:rPr>
              <a:t>Size of piping that can hold the quantity of the gas used based on the number and possibly the size of the light burners in the home</a:t>
            </a:r>
          </a:p>
          <a:p>
            <a:r>
              <a:rPr lang="en-US" altLang="en-US" dirty="0">
                <a:latin typeface="Arial" panose="020B0604020202020204" pitchFamily="34" charset="0"/>
                <a:cs typeface="Arial" panose="020B0604020202020204" pitchFamily="34" charset="0"/>
              </a:rPr>
              <a:t>Thus the first gas meters developed were rated as “5 light”, “10 light”  </a:t>
            </a:r>
          </a:p>
          <a:p>
            <a:r>
              <a:rPr lang="en-US" altLang="en-US" dirty="0">
                <a:latin typeface="Arial" panose="020B0604020202020204" pitchFamily="34" charset="0"/>
                <a:cs typeface="Arial" panose="020B0604020202020204" pitchFamily="34" charset="0"/>
              </a:rPr>
              <a:t>Gas burner based on 6 cubic feet per hour</a:t>
            </a:r>
          </a:p>
          <a:p>
            <a:pPr marL="0" lvl="0" indent="0" algn="l" rtl="0">
              <a:spcBef>
                <a:spcPts val="0"/>
              </a:spcBef>
              <a:spcAft>
                <a:spcPts val="0"/>
              </a:spcAft>
              <a:buNone/>
            </a:pPr>
            <a:endParaRPr dirty="0"/>
          </a:p>
        </p:txBody>
      </p:sp>
      <p:sp>
        <p:nvSpPr>
          <p:cNvPr id="470" name="Google Shape;470;p1: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300"/>
              <a:buFont typeface="Calibri"/>
              <a:buNone/>
            </a:pPr>
            <a:fld id="{00000000-1234-1234-1234-123412341234}" type="slidenum">
              <a:rPr lang="en-US" sz="1300" b="0" i="0" u="none" strike="noStrike" cap="none">
                <a:solidFill>
                  <a:srgbClr val="000000"/>
                </a:solidFill>
                <a:latin typeface="Calibri"/>
                <a:ea typeface="Calibri"/>
                <a:cs typeface="Calibri"/>
                <a:sym typeface="Calibri"/>
              </a:rPr>
              <a:t>1</a:t>
            </a:fld>
            <a:endParaRPr sz="1300" b="0" i="0" u="none" strike="noStrike" cap="none" dirty="0">
              <a:solidFill>
                <a:srgbClr val="000000"/>
              </a:solidFill>
              <a:latin typeface="Calibri"/>
              <a:ea typeface="Calibri"/>
              <a:cs typeface="Calibri"/>
              <a:sym typeface="Calibri"/>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Numbers above are just for Itron, higher if add additional vendors (although not much)</a:t>
            </a:r>
          </a:p>
          <a:p>
            <a:r>
              <a:rPr lang="en-US" sz="1200" dirty="0"/>
              <a:t>Enhancements in technology, battery life, ANSI std</a:t>
            </a:r>
          </a:p>
          <a:p>
            <a:r>
              <a:rPr lang="en-US" sz="1200" dirty="0"/>
              <a:t>Exponential increase in sales, </a:t>
            </a:r>
          </a:p>
          <a:p>
            <a:r>
              <a:rPr lang="en-US" sz="1200" dirty="0"/>
              <a:t>Our industry follows electric industry in many aspects, has been solid state for quite some time, water and gas are finally making the transition.</a:t>
            </a:r>
          </a:p>
        </p:txBody>
      </p:sp>
      <p:sp>
        <p:nvSpPr>
          <p:cNvPr id="4" name="Slide Number Placeholder 3"/>
          <p:cNvSpPr>
            <a:spLocks noGrp="1"/>
          </p:cNvSpPr>
          <p:nvPr>
            <p:ph type="sldNum" sz="quarter" idx="5"/>
          </p:nvPr>
        </p:nvSpPr>
        <p:spPr/>
        <p:txBody>
          <a:bodyPr/>
          <a:lstStyle/>
          <a:p>
            <a:fld id="{74AC7919-D355-624C-AE5F-B63AF8456273}" type="slidenum">
              <a:rPr lang="en-US" smtClean="0"/>
              <a:t>10</a:t>
            </a:fld>
            <a:endParaRPr lang="en-US"/>
          </a:p>
        </p:txBody>
      </p:sp>
    </p:spTree>
    <p:extLst>
      <p:ext uri="{BB962C8B-B14F-4D97-AF65-F5344CB8AC3E}">
        <p14:creationId xmlns:p14="http://schemas.microsoft.com/office/powerpoint/2010/main" val="17234078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4AC7919-D355-624C-AE5F-B63AF8456273}" type="slidenum">
              <a:rPr lang="en-US" smtClean="0"/>
              <a:t>11</a:t>
            </a:fld>
            <a:endParaRPr lang="en-US"/>
          </a:p>
        </p:txBody>
      </p:sp>
    </p:spTree>
    <p:extLst>
      <p:ext uri="{BB962C8B-B14F-4D97-AF65-F5344CB8AC3E}">
        <p14:creationId xmlns:p14="http://schemas.microsoft.com/office/powerpoint/2010/main" val="23708034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o knows a benefit of USM?</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8849CCA-596A-7543-AFA9-87F95F9F0ABD}" type="slidenum">
              <a:rPr kumimoji="0" lang="en-US" sz="1300" b="0" i="0" u="none" strike="noStrike" kern="1200" cap="none" spc="0" normalizeH="0" baseline="0" noProof="0" smtClean="0">
                <a:ln>
                  <a:noFill/>
                </a:ln>
                <a:solidFill>
                  <a:prstClr val="black"/>
                </a:solidFill>
                <a:effectLst/>
                <a:uLnTx/>
                <a:uFillTx/>
                <a:latin typeface="Calibri"/>
                <a:ea typeface="+mn-ea"/>
                <a:cs typeface="Arial"/>
                <a:sym typeface="Arial"/>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US" sz="1300" b="0" i="0" u="none" strike="noStrike" kern="1200" cap="none" spc="0" normalizeH="0" baseline="0" noProof="0">
              <a:ln>
                <a:noFill/>
              </a:ln>
              <a:solidFill>
                <a:prstClr val="black"/>
              </a:solidFill>
              <a:effectLst/>
              <a:uLnTx/>
              <a:uFillTx/>
              <a:latin typeface="Calibri"/>
              <a:ea typeface="+mn-ea"/>
              <a:cs typeface="Arial"/>
              <a:sym typeface="Arial"/>
            </a:endParaRPr>
          </a:p>
        </p:txBody>
      </p:sp>
    </p:spTree>
    <p:extLst>
      <p:ext uri="{BB962C8B-B14F-4D97-AF65-F5344CB8AC3E}">
        <p14:creationId xmlns:p14="http://schemas.microsoft.com/office/powerpoint/2010/main" val="3969833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ccuracy over time, no moving parts, wear and tear, sturdy</a:t>
            </a:r>
          </a:p>
          <a:p>
            <a:r>
              <a:rPr lang="en-US" dirty="0"/>
              <a:t>Built in AMR/AMI</a:t>
            </a:r>
          </a:p>
          <a:p>
            <a:r>
              <a:rPr lang="en-US" dirty="0"/>
              <a:t>Additional Features we will get into</a:t>
            </a:r>
          </a:p>
          <a:p>
            <a:r>
              <a:rPr lang="en-US" dirty="0"/>
              <a:t>Max Flowrate, identify undersized meters</a:t>
            </a:r>
          </a:p>
          <a:p>
            <a:r>
              <a:rPr lang="en-US" dirty="0"/>
              <a:t>Excess Flow</a:t>
            </a:r>
          </a:p>
          <a:p>
            <a:r>
              <a:rPr lang="en-US" dirty="0"/>
              <a:t>Fire Detection</a:t>
            </a:r>
          </a:p>
          <a:p>
            <a:r>
              <a:rPr lang="en-US" dirty="0"/>
              <a:t>Seismic</a:t>
            </a:r>
          </a:p>
          <a:p>
            <a:r>
              <a:rPr lang="en-US" dirty="0"/>
              <a:t>Regulator Performance Monitoring</a:t>
            </a:r>
          </a:p>
          <a:p>
            <a:r>
              <a:rPr lang="en-US" dirty="0"/>
              <a:t>Theft</a:t>
            </a:r>
          </a:p>
        </p:txBody>
      </p:sp>
      <p:sp>
        <p:nvSpPr>
          <p:cNvPr id="4" name="Slide Number Placeholder 3"/>
          <p:cNvSpPr>
            <a:spLocks noGrp="1"/>
          </p:cNvSpPr>
          <p:nvPr>
            <p:ph type="sldNum" sz="quarter" idx="5"/>
          </p:nvPr>
        </p:nvSpPr>
        <p:spPr/>
        <p:txBody>
          <a:bodyPr/>
          <a:lstStyle/>
          <a:p>
            <a:fld id="{74AC7919-D355-624C-AE5F-B63AF8456273}" type="slidenum">
              <a:rPr lang="en-US" smtClean="0"/>
              <a:t>13</a:t>
            </a:fld>
            <a:endParaRPr lang="en-US"/>
          </a:p>
        </p:txBody>
      </p:sp>
    </p:spTree>
    <p:extLst>
      <p:ext uri="{BB962C8B-B14F-4D97-AF65-F5344CB8AC3E}">
        <p14:creationId xmlns:p14="http://schemas.microsoft.com/office/powerpoint/2010/main" val="2114225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Data from CenterPoint prover Aug 8, 2018.</a:t>
            </a:r>
          </a:p>
          <a:p>
            <a:r>
              <a:rPr lang="en-US" sz="1200" dirty="0"/>
              <a:t>Itron meets this accuracy spec</a:t>
            </a:r>
          </a:p>
          <a:p>
            <a:r>
              <a:rPr lang="en-US" sz="1200" dirty="0"/>
              <a:t>Travel with it, gets banged up at TSA, every time I prove it within 0.3%</a:t>
            </a:r>
          </a:p>
          <a:p>
            <a:r>
              <a:rPr lang="en-US" sz="1200" dirty="0"/>
              <a:t>TC for diaphragm versus USM, metal band expands and contracts, </a:t>
            </a:r>
          </a:p>
          <a:p>
            <a:r>
              <a:rPr lang="en-US" sz="1200" dirty="0"/>
              <a:t>Leaving factory at 0.0 not slow or fast.</a:t>
            </a:r>
          </a:p>
          <a:p>
            <a:r>
              <a:rPr lang="en-US" sz="1200" dirty="0"/>
              <a:t>Electronic temp sensor instantaneously ready to roll, no leaving meters in proving room for a day or more?</a:t>
            </a:r>
          </a:p>
          <a:p>
            <a:endParaRPr lang="en-US" dirty="0"/>
          </a:p>
        </p:txBody>
      </p:sp>
      <p:sp>
        <p:nvSpPr>
          <p:cNvPr id="4" name="Slide Number Placeholder 3"/>
          <p:cNvSpPr>
            <a:spLocks noGrp="1"/>
          </p:cNvSpPr>
          <p:nvPr>
            <p:ph type="sldNum" sz="quarter" idx="5"/>
          </p:nvPr>
        </p:nvSpPr>
        <p:spPr/>
        <p:txBody>
          <a:bodyPr/>
          <a:lstStyle/>
          <a:p>
            <a:fld id="{74AC7919-D355-624C-AE5F-B63AF8456273}" type="slidenum">
              <a:rPr lang="en-US" smtClean="0"/>
              <a:t>14</a:t>
            </a:fld>
            <a:endParaRPr lang="en-US"/>
          </a:p>
        </p:txBody>
      </p:sp>
    </p:spTree>
    <p:extLst>
      <p:ext uri="{BB962C8B-B14F-4D97-AF65-F5344CB8AC3E}">
        <p14:creationId xmlns:p14="http://schemas.microsoft.com/office/powerpoint/2010/main" val="121624806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Data from CenterPoint prover Aug 8, 2018.</a:t>
            </a:r>
          </a:p>
          <a:p>
            <a:r>
              <a:rPr lang="en-US" sz="1200" dirty="0"/>
              <a:t>Itron meets this accuracy spec</a:t>
            </a:r>
          </a:p>
          <a:p>
            <a:r>
              <a:rPr lang="en-US" sz="1200" dirty="0"/>
              <a:t>Accuracy does not fall off over time</a:t>
            </a:r>
          </a:p>
          <a:p>
            <a:r>
              <a:rPr lang="en-US" sz="1200" dirty="0"/>
              <a:t>Ansi b109.1 is 4000 x</a:t>
            </a:r>
          </a:p>
          <a:p>
            <a:r>
              <a:rPr lang="en-US" sz="1200" dirty="0"/>
              <a:t>Itron measures to 4000x or 1mill </a:t>
            </a:r>
            <a:r>
              <a:rPr lang="en-US" sz="1200" dirty="0" err="1"/>
              <a:t>cf</a:t>
            </a:r>
            <a:r>
              <a:rPr lang="en-US" sz="1200" dirty="0"/>
              <a:t> and there is no </a:t>
            </a:r>
            <a:r>
              <a:rPr lang="en-US" sz="1200" dirty="0" err="1"/>
              <a:t>dropoff</a:t>
            </a:r>
            <a:r>
              <a:rPr lang="en-US" sz="1200" dirty="0"/>
              <a:t>.</a:t>
            </a:r>
          </a:p>
        </p:txBody>
      </p:sp>
      <p:sp>
        <p:nvSpPr>
          <p:cNvPr id="4" name="Slide Number Placeholder 3"/>
          <p:cNvSpPr>
            <a:spLocks noGrp="1"/>
          </p:cNvSpPr>
          <p:nvPr>
            <p:ph type="sldNum" sz="quarter" idx="5"/>
          </p:nvPr>
        </p:nvSpPr>
        <p:spPr/>
        <p:txBody>
          <a:bodyPr/>
          <a:lstStyle/>
          <a:p>
            <a:fld id="{74AC7919-D355-624C-AE5F-B63AF8456273}" type="slidenum">
              <a:rPr lang="en-US" smtClean="0"/>
              <a:t>15</a:t>
            </a:fld>
            <a:endParaRPr lang="en-US"/>
          </a:p>
        </p:txBody>
      </p:sp>
    </p:spTree>
    <p:extLst>
      <p:ext uri="{BB962C8B-B14F-4D97-AF65-F5344CB8AC3E}">
        <p14:creationId xmlns:p14="http://schemas.microsoft.com/office/powerpoint/2010/main" val="2683052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1/3 of the size for 250 class</a:t>
            </a:r>
          </a:p>
          <a:p>
            <a:r>
              <a:rPr lang="en-US" sz="1200"/>
              <a:t>Durability</a:t>
            </a:r>
            <a:endParaRPr lang="en-US" sz="1200" dirty="0"/>
          </a:p>
          <a:p>
            <a:endParaRPr lang="en-US" sz="1200" dirty="0"/>
          </a:p>
          <a:p>
            <a:endParaRPr lang="en-US" dirty="0"/>
          </a:p>
        </p:txBody>
      </p:sp>
      <p:sp>
        <p:nvSpPr>
          <p:cNvPr id="4" name="Slide Number Placeholder 3"/>
          <p:cNvSpPr>
            <a:spLocks noGrp="1"/>
          </p:cNvSpPr>
          <p:nvPr>
            <p:ph type="sldNum" sz="quarter" idx="5"/>
          </p:nvPr>
        </p:nvSpPr>
        <p:spPr/>
        <p:txBody>
          <a:bodyPr/>
          <a:lstStyle/>
          <a:p>
            <a:fld id="{74AC7919-D355-624C-AE5F-B63AF8456273}" type="slidenum">
              <a:rPr lang="en-US" smtClean="0"/>
              <a:t>16</a:t>
            </a:fld>
            <a:endParaRPr lang="en-US"/>
          </a:p>
        </p:txBody>
      </p:sp>
    </p:spTree>
    <p:extLst>
      <p:ext uri="{BB962C8B-B14F-4D97-AF65-F5344CB8AC3E}">
        <p14:creationId xmlns:p14="http://schemas.microsoft.com/office/powerpoint/2010/main" val="197249021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Diaphragm meter with </a:t>
            </a:r>
            <a:r>
              <a:rPr lang="en-US" sz="1200" dirty="0" err="1"/>
              <a:t>ert</a:t>
            </a:r>
            <a:r>
              <a:rPr lang="en-US" sz="1200" dirty="0"/>
              <a:t> is 2 assets, difficult to track, 1 20 year life for meter and </a:t>
            </a:r>
            <a:r>
              <a:rPr lang="en-US" sz="1200" dirty="0" err="1"/>
              <a:t>ert</a:t>
            </a:r>
            <a:r>
              <a:rPr lang="en-US" sz="1200" dirty="0"/>
              <a:t>,</a:t>
            </a:r>
          </a:p>
          <a:p>
            <a:r>
              <a:rPr lang="en-US" sz="1200" dirty="0"/>
              <a:t>Battery alarm lets them know within 2 years of EOL</a:t>
            </a:r>
          </a:p>
        </p:txBody>
      </p:sp>
      <p:sp>
        <p:nvSpPr>
          <p:cNvPr id="4" name="Slide Number Placeholder 3"/>
          <p:cNvSpPr>
            <a:spLocks noGrp="1"/>
          </p:cNvSpPr>
          <p:nvPr>
            <p:ph type="sldNum" sz="quarter" idx="5"/>
          </p:nvPr>
        </p:nvSpPr>
        <p:spPr/>
        <p:txBody>
          <a:bodyPr/>
          <a:lstStyle/>
          <a:p>
            <a:fld id="{74AC7919-D355-624C-AE5F-B63AF8456273}" type="slidenum">
              <a:rPr lang="en-US" smtClean="0"/>
              <a:t>17</a:t>
            </a:fld>
            <a:endParaRPr lang="en-US"/>
          </a:p>
        </p:txBody>
      </p:sp>
    </p:spTree>
    <p:extLst>
      <p:ext uri="{BB962C8B-B14F-4D97-AF65-F5344CB8AC3E}">
        <p14:creationId xmlns:p14="http://schemas.microsoft.com/office/powerpoint/2010/main" val="134476819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Network – all this functionality can be ready reads 3 different ways,</a:t>
            </a:r>
          </a:p>
          <a:p>
            <a:pPr marL="228600" indent="-228600">
              <a:buAutoNum type="arabicParenR"/>
            </a:pPr>
            <a:r>
              <a:rPr lang="en-US" sz="1200" dirty="0"/>
              <a:t>Electric or street light canopy, RF mesh, dense areas</a:t>
            </a:r>
          </a:p>
          <a:p>
            <a:pPr marL="228600" indent="-228600">
              <a:buAutoNum type="arabicParenR"/>
            </a:pPr>
            <a:r>
              <a:rPr lang="en-US" sz="1200" dirty="0"/>
              <a:t>Cellular for remote</a:t>
            </a:r>
          </a:p>
          <a:p>
            <a:pPr marL="228600" indent="-228600">
              <a:buAutoNum type="arabicParenR"/>
            </a:pPr>
            <a:r>
              <a:rPr lang="en-US" sz="1200" dirty="0"/>
              <a:t> Gas Mesh, </a:t>
            </a:r>
          </a:p>
          <a:p>
            <a:pPr marL="0" indent="0">
              <a:buNone/>
            </a:pPr>
            <a:r>
              <a:rPr lang="en-US" sz="1200" dirty="0"/>
              <a:t>Perfect combo is a mesh/cell</a:t>
            </a:r>
          </a:p>
          <a:p>
            <a:r>
              <a:rPr lang="en-US" sz="1200" dirty="0"/>
              <a:t>Can be programmed to AMR mode for mobile or handheld meter reading</a:t>
            </a:r>
          </a:p>
          <a:p>
            <a:r>
              <a:rPr lang="en-US" sz="1200" dirty="0"/>
              <a:t>Can be programmed to AMI mode with various options for reading</a:t>
            </a:r>
          </a:p>
          <a:p>
            <a:r>
              <a:rPr lang="en-US" sz="1200" dirty="0"/>
              <a:t>- Gas can be read through electric meters or street light canopy</a:t>
            </a:r>
          </a:p>
          <a:p>
            <a:pPr marL="0" indent="0">
              <a:buFontTx/>
              <a:buNone/>
            </a:pPr>
            <a:r>
              <a:rPr lang="en-US" sz="1200" dirty="0"/>
              <a:t>- Gas can be read directly by the network</a:t>
            </a:r>
          </a:p>
          <a:p>
            <a:pPr marL="171450" indent="-171450">
              <a:buFontTx/>
              <a:buChar char="-"/>
            </a:pPr>
            <a:r>
              <a:rPr lang="en-US" sz="1200" dirty="0"/>
              <a:t>Gas can be read through other battery powered devices (gas or water) and reads brought back through Solar Battery Access Point (SBAP)</a:t>
            </a:r>
          </a:p>
          <a:p>
            <a:pPr marL="171450" indent="-171450">
              <a:buFontTx/>
              <a:buChar char="-"/>
            </a:pPr>
            <a:r>
              <a:rPr lang="en-US" sz="1200" dirty="0"/>
              <a:t>Or gas mesh</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3B49440-6EF9-3046-8EE8-0B071F0790B4}" type="slidenum">
              <a:rPr kumimoji="0" lang="en-US" sz="2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US" sz="2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6597965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sz="1200" dirty="0"/>
              <a:t>Battery mesh, gas only mesh, install on gas piping</a:t>
            </a:r>
          </a:p>
          <a:p>
            <a:pPr marL="0" indent="0">
              <a:buFont typeface="Arial" panose="020B0604020202020204" pitchFamily="34" charset="0"/>
              <a:buNone/>
            </a:pPr>
            <a:r>
              <a:rPr lang="en-US" sz="1200" dirty="0"/>
              <a:t>25-30 meters to one solar AP</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6D40107-BE14-421F-B74B-E7346182AF2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636872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34340" y="4400549"/>
            <a:ext cx="5966460" cy="4284663"/>
          </a:xfrm>
        </p:spPr>
        <p:txBody>
          <a:bodyPr/>
          <a:lstStyle/>
          <a:p>
            <a:pPr marL="0" marR="0">
              <a:lnSpc>
                <a:spcPct val="107000"/>
              </a:lnSpc>
              <a:spcBef>
                <a:spcPts val="0"/>
              </a:spcBef>
              <a:spcAft>
                <a:spcPts val="800"/>
              </a:spcAft>
            </a:pPr>
            <a:r>
              <a:rPr lang="en-US" sz="1000" b="0" kern="100" dirty="0">
                <a:effectLst/>
                <a:latin typeface="Arial" panose="020B0604020202020204" pitchFamily="34" charset="0"/>
                <a:ea typeface="Times New Roman" panose="02020603050405020304" pitchFamily="18" charset="0"/>
                <a:cs typeface="Arial" panose="020B0604020202020204" pitchFamily="34" charset="0"/>
              </a:rPr>
              <a:t>Bring Candy, decks of cards, anybody know where the first US Gas Utility was </a:t>
            </a:r>
          </a:p>
          <a:p>
            <a:pPr marL="0" marR="0">
              <a:lnSpc>
                <a:spcPct val="107000"/>
              </a:lnSpc>
              <a:spcBef>
                <a:spcPts val="0"/>
              </a:spcBef>
              <a:spcAft>
                <a:spcPts val="800"/>
              </a:spcAft>
            </a:pPr>
            <a:r>
              <a:rPr lang="en-US" sz="1000" b="0" kern="100" dirty="0">
                <a:effectLst/>
                <a:latin typeface="Arial" panose="020B0604020202020204" pitchFamily="34" charset="0"/>
                <a:ea typeface="Times New Roman" panose="02020603050405020304" pitchFamily="18" charset="0"/>
                <a:cs typeface="Arial" panose="020B0604020202020204" pitchFamily="34" charset="0"/>
              </a:rPr>
              <a:t>One of the things you might not have known and, and I love trivia that the very first gas utility in the United States was the Gaslight Company of Baltimore, founded in 1816.</a:t>
            </a:r>
            <a:br>
              <a:rPr lang="en-US" sz="1000" b="0" kern="100" dirty="0">
                <a:effectLst/>
                <a:latin typeface="Arial" panose="020B0604020202020204" pitchFamily="34" charset="0"/>
                <a:ea typeface="Times New Roman" panose="02020603050405020304" pitchFamily="18" charset="0"/>
                <a:cs typeface="Arial" panose="020B0604020202020204" pitchFamily="34" charset="0"/>
              </a:rPr>
            </a:br>
            <a:r>
              <a:rPr lang="en-US" sz="1000" b="0" kern="100" dirty="0">
                <a:effectLst/>
                <a:latin typeface="Arial" panose="020B0604020202020204" pitchFamily="34" charset="0"/>
                <a:ea typeface="Times New Roman" panose="02020603050405020304" pitchFamily="18" charset="0"/>
                <a:cs typeface="Arial" panose="020B0604020202020204" pitchFamily="34" charset="0"/>
              </a:rPr>
              <a:t>Back then they used a flat rate billing system, so that meant that everybody paid the same price no matter what, and you can imagine that the people who were more responsible if their usage didn't want to keep paying for people who are irresponsible for their usage.</a:t>
            </a:r>
          </a:p>
          <a:p>
            <a:pPr marL="0" marR="0">
              <a:lnSpc>
                <a:spcPct val="107000"/>
              </a:lnSpc>
              <a:spcBef>
                <a:spcPts val="0"/>
              </a:spcBef>
              <a:spcAft>
                <a:spcPts val="800"/>
              </a:spcAft>
            </a:pPr>
            <a:br>
              <a:rPr lang="en-US" sz="1000" b="0" kern="100" dirty="0">
                <a:effectLst/>
                <a:latin typeface="Arial" panose="020B0604020202020204" pitchFamily="34" charset="0"/>
                <a:ea typeface="Times New Roman" panose="02020603050405020304" pitchFamily="18" charset="0"/>
                <a:cs typeface="Arial" panose="020B0604020202020204" pitchFamily="34" charset="0"/>
              </a:rPr>
            </a:br>
            <a:r>
              <a:rPr lang="en-US" sz="1000" b="0" kern="100" dirty="0">
                <a:effectLst/>
                <a:latin typeface="Arial" panose="020B0604020202020204" pitchFamily="34" charset="0"/>
                <a:ea typeface="Times New Roman" panose="02020603050405020304" pitchFamily="18" charset="0"/>
                <a:cs typeface="Arial" panose="020B0604020202020204" pitchFamily="34" charset="0"/>
              </a:rPr>
              <a:t>And that picture actually represents what used to happen in the day.</a:t>
            </a:r>
          </a:p>
          <a:p>
            <a:pPr marL="0" marR="0">
              <a:lnSpc>
                <a:spcPct val="107000"/>
              </a:lnSpc>
              <a:spcBef>
                <a:spcPts val="0"/>
              </a:spcBef>
              <a:spcAft>
                <a:spcPts val="800"/>
              </a:spcAft>
            </a:pPr>
            <a:r>
              <a:rPr lang="en-US" sz="1000" b="0" kern="100" dirty="0">
                <a:effectLst/>
                <a:latin typeface="Arial" panose="020B0604020202020204" pitchFamily="34" charset="0"/>
                <a:ea typeface="Times New Roman" panose="02020603050405020304" pitchFamily="18" charset="0"/>
                <a:cs typeface="Arial" panose="020B0604020202020204" pitchFamily="34" charset="0"/>
              </a:rPr>
              <a:t>Somebody would walk around and </a:t>
            </a:r>
            <a:r>
              <a:rPr lang="en-US" sz="1000" b="0" kern="100" dirty="0" err="1">
                <a:effectLst/>
                <a:latin typeface="Arial" panose="020B0604020202020204" pitchFamily="34" charset="0"/>
                <a:ea typeface="Times New Roman" panose="02020603050405020304" pitchFamily="18" charset="0"/>
                <a:cs typeface="Arial" panose="020B0604020202020204" pitchFamily="34" charset="0"/>
              </a:rPr>
              <a:t>and</a:t>
            </a:r>
            <a:r>
              <a:rPr lang="en-US" sz="1000" b="0" kern="100" dirty="0">
                <a:effectLst/>
                <a:latin typeface="Arial" panose="020B0604020202020204" pitchFamily="34" charset="0"/>
                <a:ea typeface="Times New Roman" panose="02020603050405020304" pitchFamily="18" charset="0"/>
                <a:cs typeface="Arial" panose="020B0604020202020204" pitchFamily="34" charset="0"/>
              </a:rPr>
              <a:t> wrap on the sidewalk to let people know when they should be turning out their lights to try to keep those costs down.</a:t>
            </a:r>
          </a:p>
          <a:p>
            <a:pPr marL="0" marR="0">
              <a:lnSpc>
                <a:spcPct val="107000"/>
              </a:lnSpc>
              <a:spcBef>
                <a:spcPts val="0"/>
              </a:spcBef>
              <a:spcAft>
                <a:spcPts val="800"/>
              </a:spcAft>
            </a:pPr>
            <a:br>
              <a:rPr lang="en-US" sz="1000" b="0" kern="100" dirty="0">
                <a:effectLst/>
                <a:latin typeface="Arial" panose="020B0604020202020204" pitchFamily="34" charset="0"/>
                <a:ea typeface="Times New Roman" panose="02020603050405020304" pitchFamily="18" charset="0"/>
                <a:cs typeface="Arial" panose="020B0604020202020204" pitchFamily="34" charset="0"/>
              </a:rPr>
            </a:br>
            <a:r>
              <a:rPr lang="en-US" sz="1000" b="0" kern="100" dirty="0">
                <a:effectLst/>
                <a:latin typeface="Arial" panose="020B0604020202020204" pitchFamily="34" charset="0"/>
                <a:ea typeface="Times New Roman" panose="02020603050405020304" pitchFamily="18" charset="0"/>
                <a:cs typeface="Arial" panose="020B0604020202020204" pitchFamily="34" charset="0"/>
              </a:rPr>
              <a:t>So again, you know, utilities had no way of accounting for who was using what and they had no way to account for theft or leakage.</a:t>
            </a:r>
          </a:p>
          <a:p>
            <a:pPr eaLnBrk="1" hangingPunct="1"/>
            <a:endParaRPr lang="en-US" sz="1000" b="0" dirty="0">
              <a:latin typeface="Arial" panose="020B0604020202020204" pitchFamily="34" charset="0"/>
              <a:cs typeface="Arial" panose="020B0604020202020204" pitchFamily="34" charset="0"/>
            </a:endParaRPr>
          </a:p>
          <a:p>
            <a:pPr eaLnBrk="1" hangingPunct="1"/>
            <a:r>
              <a:rPr lang="en-US" sz="1000" b="0" dirty="0">
                <a:latin typeface="Arial" panose="020B0604020202020204" pitchFamily="34" charset="0"/>
                <a:cs typeface="Arial" panose="020B0604020202020204" pitchFamily="34" charset="0"/>
              </a:rPr>
              <a:t>Gas light trivia: Why are they called 20 </a:t>
            </a:r>
            <a:r>
              <a:rPr lang="en-US" sz="1000" b="0" dirty="0" err="1">
                <a:latin typeface="Arial" panose="020B0604020202020204" pitchFamily="34" charset="0"/>
                <a:cs typeface="Arial" panose="020B0604020202020204" pitchFamily="34" charset="0"/>
              </a:rPr>
              <a:t>lt</a:t>
            </a:r>
            <a:r>
              <a:rPr lang="en-US" sz="1000" b="0" dirty="0">
                <a:latin typeface="Arial" panose="020B0604020202020204" pitchFamily="34" charset="0"/>
                <a:cs typeface="Arial" panose="020B0604020202020204" pitchFamily="34" charset="0"/>
              </a:rPr>
              <a:t>, 30 </a:t>
            </a:r>
            <a:r>
              <a:rPr lang="en-US" sz="1000" b="0" dirty="0" err="1">
                <a:latin typeface="Arial" panose="020B0604020202020204" pitchFamily="34" charset="0"/>
                <a:cs typeface="Arial" panose="020B0604020202020204" pitchFamily="34" charset="0"/>
              </a:rPr>
              <a:t>lt</a:t>
            </a:r>
            <a:r>
              <a:rPr lang="en-US" sz="1000" b="0" dirty="0">
                <a:latin typeface="Arial" panose="020B0604020202020204" pitchFamily="34" charset="0"/>
                <a:cs typeface="Arial" panose="020B0604020202020204" pitchFamily="34" charset="0"/>
              </a:rPr>
              <a:t>, </a:t>
            </a:r>
            <a:r>
              <a:rPr lang="en-US" sz="1000" b="0" dirty="0" err="1">
                <a:latin typeface="Arial" panose="020B0604020202020204" pitchFamily="34" charset="0"/>
                <a:cs typeface="Arial" panose="020B0604020202020204" pitchFamily="34" charset="0"/>
              </a:rPr>
              <a:t>etc</a:t>
            </a:r>
            <a:r>
              <a:rPr lang="en-US" sz="1000" b="0" dirty="0">
                <a:latin typeface="Arial" panose="020B0604020202020204" pitchFamily="34" charset="0"/>
                <a:cs typeface="Arial" panose="020B0604020202020204" pitchFamily="34" charset="0"/>
              </a:rPr>
              <a:t>? </a:t>
            </a:r>
          </a:p>
          <a:p>
            <a:pPr eaLnBrk="1" hangingPunct="1"/>
            <a:r>
              <a:rPr lang="en-US" sz="1000" b="0" dirty="0">
                <a:latin typeface="Arial" panose="020B0604020202020204" pitchFamily="34" charset="0"/>
                <a:cs typeface="Arial" panose="020B0604020202020204" pitchFamily="34" charset="0"/>
              </a:rPr>
              <a:t>That is the number of lights the gas pipe could light.</a:t>
            </a:r>
          </a:p>
          <a:p>
            <a:endParaRPr lang="en-US" sz="1000" b="0" dirty="0">
              <a:latin typeface="Arial" panose="020B0604020202020204" pitchFamily="34" charset="0"/>
              <a:cs typeface="Arial" panose="020B0604020202020204" pitchFamily="34" charset="0"/>
            </a:endParaRPr>
          </a:p>
          <a:p>
            <a:r>
              <a:rPr lang="en-US" altLang="en-US" sz="1000" b="0" dirty="0">
                <a:latin typeface="Arial" panose="020B0604020202020204" pitchFamily="34" charset="0"/>
                <a:cs typeface="Arial" panose="020B0604020202020204" pitchFamily="34" charset="0"/>
              </a:rPr>
              <a:t>Size of piping that can hold the quantity of the gas used based on the number and possibly the size of the light burners in the home</a:t>
            </a:r>
          </a:p>
          <a:p>
            <a:r>
              <a:rPr lang="en-US" altLang="en-US" sz="1000" b="0" dirty="0">
                <a:latin typeface="Arial" panose="020B0604020202020204" pitchFamily="34" charset="0"/>
                <a:cs typeface="Arial" panose="020B0604020202020204" pitchFamily="34" charset="0"/>
              </a:rPr>
              <a:t>Thus the first gas meters developed were rated as “5 light”, “10 light”  </a:t>
            </a:r>
          </a:p>
          <a:p>
            <a:r>
              <a:rPr lang="en-US" altLang="en-US" sz="1000" b="0" dirty="0">
                <a:latin typeface="Arial" panose="020B0604020202020204" pitchFamily="34" charset="0"/>
                <a:cs typeface="Arial" panose="020B0604020202020204" pitchFamily="34" charset="0"/>
              </a:rPr>
              <a:t>Gas burner based on 6 cubic feet per hour</a:t>
            </a:r>
          </a:p>
          <a:p>
            <a:endParaRPr lang="en-US" dirty="0"/>
          </a:p>
        </p:txBody>
      </p:sp>
      <p:sp>
        <p:nvSpPr>
          <p:cNvPr id="4" name="Slide Number Placeholder 3"/>
          <p:cNvSpPr>
            <a:spLocks noGrp="1"/>
          </p:cNvSpPr>
          <p:nvPr>
            <p:ph type="sldNum" sz="quarter" idx="10"/>
          </p:nvPr>
        </p:nvSpPr>
        <p:spPr/>
        <p:txBody>
          <a:bodyPr/>
          <a:lstStyle/>
          <a:p>
            <a:fld id="{A4F629F3-763B-A440-85C6-058CEFC5829D}" type="slidenum">
              <a:rPr lang="en-US" smtClean="0"/>
              <a:t>2</a:t>
            </a:fld>
            <a:endParaRPr lang="en-US" dirty="0"/>
          </a:p>
        </p:txBody>
      </p:sp>
    </p:spTree>
    <p:extLst>
      <p:ext uri="{BB962C8B-B14F-4D97-AF65-F5344CB8AC3E}">
        <p14:creationId xmlns:p14="http://schemas.microsoft.com/office/powerpoint/2010/main" val="1201353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5288" y="690563"/>
            <a:ext cx="6129337" cy="3451225"/>
          </a:xfrm>
        </p:spPr>
      </p:sp>
      <p:sp>
        <p:nvSpPr>
          <p:cNvPr id="3" name="Notes Placeholder 2"/>
          <p:cNvSpPr>
            <a:spLocks noGrp="1"/>
          </p:cNvSpPr>
          <p:nvPr>
            <p:ph type="body" idx="1"/>
          </p:nvPr>
        </p:nvSpPr>
        <p:spPr/>
        <p:txBody>
          <a:bodyPr/>
          <a:lstStyle/>
          <a:p>
            <a:r>
              <a:rPr lang="en-US" sz="1200" dirty="0"/>
              <a:t>Low set at 3.5”wc</a:t>
            </a:r>
          </a:p>
          <a:p>
            <a:r>
              <a:rPr lang="en-US" sz="1200" dirty="0"/>
              <a:t>16-18” </a:t>
            </a:r>
            <a:r>
              <a:rPr lang="en-US" sz="1200" dirty="0" err="1"/>
              <a:t>wc</a:t>
            </a:r>
            <a:r>
              <a:rPr lang="en-US" sz="1200" dirty="0"/>
              <a:t> high set point</a:t>
            </a:r>
          </a:p>
          <a:p>
            <a:r>
              <a:rPr lang="en-US" sz="1200" dirty="0"/>
              <a:t>Lock up 3” above set</a:t>
            </a:r>
          </a:p>
          <a:p>
            <a:r>
              <a:rPr lang="en-US" sz="1200" dirty="0"/>
              <a:t>Relief at 7”</a:t>
            </a:r>
          </a:p>
          <a:p>
            <a:r>
              <a:rPr lang="en-US" sz="1200" dirty="0"/>
              <a:t>above set</a:t>
            </a:r>
          </a:p>
          <a:p>
            <a:r>
              <a:rPr lang="en-US" sz="1200" dirty="0"/>
              <a:t>Temp sensors, 1 for gas, 1 for ambient (fire)</a:t>
            </a:r>
          </a:p>
          <a:p>
            <a:r>
              <a:rPr lang="en-US" sz="1200" dirty="0"/>
              <a:t>Speed of sound detected</a:t>
            </a:r>
          </a:p>
          <a:p>
            <a:endParaRPr lang="en-US" dirty="0"/>
          </a:p>
        </p:txBody>
      </p:sp>
      <p:sp>
        <p:nvSpPr>
          <p:cNvPr id="4" name="Slide Number Placeholder 3"/>
          <p:cNvSpPr>
            <a:spLocks noGrp="1"/>
          </p:cNvSpPr>
          <p:nvPr>
            <p:ph type="sldNum" sz="quarter" idx="10"/>
          </p:nvPr>
        </p:nvSpPr>
        <p:spPr/>
        <p:txBody>
          <a:bodyPr/>
          <a:lstStyle/>
          <a:p>
            <a:pPr defTabSz="452068">
              <a:defRPr/>
            </a:pPr>
            <a:fld id="{D4C9EE42-2C59-0F44-BDD2-A72B212826A7}" type="slidenum">
              <a:rPr lang="en-US" sz="1200">
                <a:solidFill>
                  <a:prstClr val="black"/>
                </a:solidFill>
                <a:latin typeface="Calibri"/>
              </a:rPr>
              <a:pPr defTabSz="452068">
                <a:defRPr/>
              </a:pPr>
              <a:t>20</a:t>
            </a:fld>
            <a:endParaRPr lang="en-US" sz="1200">
              <a:solidFill>
                <a:prstClr val="black"/>
              </a:solidFill>
              <a:latin typeface="Calibri"/>
            </a:endParaRPr>
          </a:p>
        </p:txBody>
      </p:sp>
    </p:spTree>
    <p:extLst>
      <p:ext uri="{BB962C8B-B14F-4D97-AF65-F5344CB8AC3E}">
        <p14:creationId xmlns:p14="http://schemas.microsoft.com/office/powerpoint/2010/main" val="373865696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5288" y="690563"/>
            <a:ext cx="6129337" cy="3451225"/>
          </a:xfrm>
        </p:spPr>
      </p:sp>
      <p:sp>
        <p:nvSpPr>
          <p:cNvPr id="3" name="Notes Placeholder 2"/>
          <p:cNvSpPr>
            <a:spLocks noGrp="1"/>
          </p:cNvSpPr>
          <p:nvPr>
            <p:ph type="body" idx="1"/>
          </p:nvPr>
        </p:nvSpPr>
        <p:spPr/>
        <p:txBody>
          <a:bodyPr/>
          <a:lstStyle/>
          <a:p>
            <a:r>
              <a:rPr lang="en-US" sz="1200" dirty="0"/>
              <a:t>6 ways to shutoff, high flow at double capacity</a:t>
            </a:r>
          </a:p>
          <a:p>
            <a:r>
              <a:rPr lang="en-US" sz="1200" dirty="0"/>
              <a:t>Double the rate</a:t>
            </a:r>
          </a:p>
          <a:p>
            <a:r>
              <a:rPr lang="en-US" sz="1200" dirty="0"/>
              <a:t>180 deg F for fire</a:t>
            </a:r>
          </a:p>
          <a:p>
            <a:r>
              <a:rPr lang="en-US" sz="1200" dirty="0"/>
              <a:t>Below 2 </a:t>
            </a:r>
            <a:r>
              <a:rPr lang="en-US" sz="1200" dirty="0" err="1"/>
              <a:t>psig</a:t>
            </a:r>
            <a:r>
              <a:rPr lang="en-US" sz="1200" dirty="0"/>
              <a:t>, so set at 1 </a:t>
            </a:r>
            <a:r>
              <a:rPr lang="en-US" sz="1200" dirty="0" err="1"/>
              <a:t>psig</a:t>
            </a:r>
            <a:endParaRPr lang="en-US" sz="1200" dirty="0"/>
          </a:p>
          <a:p>
            <a:r>
              <a:rPr lang="en-US" sz="1200" dirty="0"/>
              <a:t>Customer smelling gas</a:t>
            </a:r>
          </a:p>
        </p:txBody>
      </p:sp>
      <p:sp>
        <p:nvSpPr>
          <p:cNvPr id="4" name="Slide Number Placeholder 3"/>
          <p:cNvSpPr>
            <a:spLocks noGrp="1"/>
          </p:cNvSpPr>
          <p:nvPr>
            <p:ph type="sldNum" sz="quarter" idx="10"/>
          </p:nvPr>
        </p:nvSpPr>
        <p:spPr/>
        <p:txBody>
          <a:bodyPr/>
          <a:lstStyle/>
          <a:p>
            <a:pPr defTabSz="452068">
              <a:defRPr/>
            </a:pPr>
            <a:fld id="{D4C9EE42-2C59-0F44-BDD2-A72B212826A7}" type="slidenum">
              <a:rPr lang="en-US" sz="1200">
                <a:solidFill>
                  <a:prstClr val="black"/>
                </a:solidFill>
                <a:latin typeface="Calibri"/>
              </a:rPr>
              <a:pPr defTabSz="452068">
                <a:defRPr/>
              </a:pPr>
              <a:t>21</a:t>
            </a:fld>
            <a:endParaRPr lang="en-US" sz="1200">
              <a:solidFill>
                <a:prstClr val="black"/>
              </a:solidFill>
              <a:latin typeface="Calibri"/>
            </a:endParaRPr>
          </a:p>
        </p:txBody>
      </p:sp>
    </p:spTree>
    <p:extLst>
      <p:ext uri="{BB962C8B-B14F-4D97-AF65-F5344CB8AC3E}">
        <p14:creationId xmlns:p14="http://schemas.microsoft.com/office/powerpoint/2010/main" val="373865696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You don’t need a network to use these features, high flow, high pressure</a:t>
            </a:r>
          </a:p>
        </p:txBody>
      </p:sp>
      <p:sp>
        <p:nvSpPr>
          <p:cNvPr id="4" name="Slide Number Placeholder 3"/>
          <p:cNvSpPr>
            <a:spLocks noGrp="1"/>
          </p:cNvSpPr>
          <p:nvPr>
            <p:ph type="sldNum" sz="quarter" idx="5"/>
          </p:nvPr>
        </p:nvSpPr>
        <p:spPr/>
        <p:txBody>
          <a:bodyPr/>
          <a:lstStyle/>
          <a:p>
            <a:fld id="{74AC7919-D355-624C-AE5F-B63AF8456273}" type="slidenum">
              <a:rPr lang="en-US" smtClean="0"/>
              <a:t>22</a:t>
            </a:fld>
            <a:endParaRPr lang="en-US"/>
          </a:p>
        </p:txBody>
      </p:sp>
    </p:spTree>
    <p:extLst>
      <p:ext uri="{BB962C8B-B14F-4D97-AF65-F5344CB8AC3E}">
        <p14:creationId xmlns:p14="http://schemas.microsoft.com/office/powerpoint/2010/main" val="43191679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6913"/>
            <a:ext cx="6191250" cy="3486150"/>
          </a:xfrm>
        </p:spPr>
      </p:sp>
      <p:sp>
        <p:nvSpPr>
          <p:cNvPr id="3" name="Notes Placeholder 2"/>
          <p:cNvSpPr>
            <a:spLocks noGrp="1"/>
          </p:cNvSpPr>
          <p:nvPr>
            <p:ph type="body" idx="1"/>
          </p:nvPr>
        </p:nvSpPr>
        <p:spPr/>
        <p:txBody>
          <a:bodyPr/>
          <a:lstStyle/>
          <a:p>
            <a:r>
              <a:rPr lang="en-US" dirty="0"/>
              <a:t>Identify over/undersized meters</a:t>
            </a:r>
          </a:p>
        </p:txBody>
      </p:sp>
      <p:sp>
        <p:nvSpPr>
          <p:cNvPr id="4" name="Slide Number Placeholder 3"/>
          <p:cNvSpPr>
            <a:spLocks noGrp="1"/>
          </p:cNvSpPr>
          <p:nvPr>
            <p:ph type="sldNum" sz="quarter" idx="10"/>
          </p:nvPr>
        </p:nvSpPr>
        <p:spPr/>
        <p:txBody>
          <a:bodyPr/>
          <a:lstStyle/>
          <a:p>
            <a:pPr marL="0" marR="0" lvl="0" indent="0" algn="r" defTabSz="457189" rtl="0" eaLnBrk="1" fontAlgn="auto" latinLnBrk="0" hangingPunct="1">
              <a:lnSpc>
                <a:spcPct val="100000"/>
              </a:lnSpc>
              <a:spcBef>
                <a:spcPts val="0"/>
              </a:spcBef>
              <a:spcAft>
                <a:spcPts val="0"/>
              </a:spcAft>
              <a:buClrTx/>
              <a:buSzTx/>
              <a:buFontTx/>
              <a:buNone/>
              <a:tabLst/>
              <a:defRPr/>
            </a:pPr>
            <a:fld id="{D4C9EE42-2C59-0F44-BDD2-A72B212826A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189"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6093223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uilt in diagnostics</a:t>
            </a:r>
          </a:p>
          <a:p>
            <a:r>
              <a:rPr lang="en-US" dirty="0"/>
              <a:t>Instant notification</a:t>
            </a:r>
          </a:p>
          <a:p>
            <a:r>
              <a:rPr lang="en-US" dirty="0"/>
              <a:t>Eliminate statistical sampling</a:t>
            </a:r>
          </a:p>
        </p:txBody>
      </p:sp>
      <p:sp>
        <p:nvSpPr>
          <p:cNvPr id="4" name="Slide Number Placeholder 3"/>
          <p:cNvSpPr>
            <a:spLocks noGrp="1"/>
          </p:cNvSpPr>
          <p:nvPr>
            <p:ph type="sldNum" sz="quarter" idx="5"/>
          </p:nvPr>
        </p:nvSpPr>
        <p:spPr/>
        <p:txBody>
          <a:bodyPr/>
          <a:lstStyle/>
          <a:p>
            <a:fld id="{74AC7919-D355-624C-AE5F-B63AF8456273}" type="slidenum">
              <a:rPr lang="en-US" smtClean="0"/>
              <a:t>24</a:t>
            </a:fld>
            <a:endParaRPr lang="en-US"/>
          </a:p>
        </p:txBody>
      </p:sp>
    </p:spTree>
    <p:extLst>
      <p:ext uri="{BB962C8B-B14F-4D97-AF65-F5344CB8AC3E}">
        <p14:creationId xmlns:p14="http://schemas.microsoft.com/office/powerpoint/2010/main" val="143134641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6913"/>
            <a:ext cx="6191250" cy="3486150"/>
          </a:xfrm>
        </p:spPr>
      </p:sp>
      <p:sp>
        <p:nvSpPr>
          <p:cNvPr id="3" name="Notes Placeholder 2"/>
          <p:cNvSpPr>
            <a:spLocks noGrp="1"/>
          </p:cNvSpPr>
          <p:nvPr>
            <p:ph type="body" idx="1"/>
          </p:nvPr>
        </p:nvSpPr>
        <p:spPr/>
        <p:txBody>
          <a:bodyPr/>
          <a:lstStyle/>
          <a:p>
            <a:r>
              <a:rPr lang="en-US" sz="1200" dirty="0"/>
              <a:t>Anybody ever seen something like this?  Red neck </a:t>
            </a:r>
            <a:r>
              <a:rPr lang="en-US" sz="1200" dirty="0" err="1"/>
              <a:t>Mcgyver</a:t>
            </a:r>
            <a:endParaRPr lang="en-US" sz="1200" dirty="0"/>
          </a:p>
          <a:p>
            <a:r>
              <a:rPr lang="en-US" sz="1200" dirty="0"/>
              <a:t>Built in air sensor</a:t>
            </a:r>
          </a:p>
          <a:p>
            <a:r>
              <a:rPr lang="en-US" sz="1200" dirty="0"/>
              <a:t>Ferris Buellers day off alarm, reverse flow, did not work out for Cameron, won’t work for customer</a:t>
            </a:r>
          </a:p>
          <a:p>
            <a:r>
              <a:rPr lang="en-US" sz="1200" dirty="0"/>
              <a:t>Two indexes whether you order TC or not</a:t>
            </a:r>
          </a:p>
          <a:p>
            <a:r>
              <a:rPr lang="en-US" sz="1200" dirty="0"/>
              <a:t>Live pressure and temp available</a:t>
            </a:r>
          </a:p>
          <a:p>
            <a:r>
              <a:rPr lang="en-US" sz="1200" dirty="0"/>
              <a:t>Anybody ever heard a loud diaphragm</a:t>
            </a:r>
          </a:p>
          <a:p>
            <a:r>
              <a:rPr lang="en-US" sz="1200" dirty="0"/>
              <a:t>Better Data for System Modeling</a:t>
            </a:r>
          </a:p>
          <a:p>
            <a:r>
              <a:rPr lang="en-US" sz="1200" dirty="0"/>
              <a:t>Seismic</a:t>
            </a:r>
          </a:p>
          <a:p>
            <a:r>
              <a:rPr lang="en-US" sz="1200" dirty="0"/>
              <a:t>Regulator Performance</a:t>
            </a:r>
          </a:p>
        </p:txBody>
      </p:sp>
      <p:sp>
        <p:nvSpPr>
          <p:cNvPr id="4" name="Slide Number Placeholder 3"/>
          <p:cNvSpPr>
            <a:spLocks noGrp="1"/>
          </p:cNvSpPr>
          <p:nvPr>
            <p:ph type="sldNum" sz="quarter" idx="10"/>
          </p:nvPr>
        </p:nvSpPr>
        <p:spPr/>
        <p:txBody>
          <a:bodyPr/>
          <a:lstStyle/>
          <a:p>
            <a:pPr marL="0" marR="0" lvl="0" indent="0" algn="r" defTabSz="457189" rtl="0" eaLnBrk="1" fontAlgn="auto" latinLnBrk="0" hangingPunct="1">
              <a:lnSpc>
                <a:spcPct val="100000"/>
              </a:lnSpc>
              <a:spcBef>
                <a:spcPts val="0"/>
              </a:spcBef>
              <a:spcAft>
                <a:spcPts val="0"/>
              </a:spcAft>
              <a:buClrTx/>
              <a:buSzTx/>
              <a:buFontTx/>
              <a:buNone/>
              <a:tabLst/>
              <a:defRPr/>
            </a:pPr>
            <a:fld id="{D4C9EE42-2C59-0F44-BDD2-A72B212826A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189"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8370109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6913"/>
            <a:ext cx="6191250" cy="3486150"/>
          </a:xfrm>
        </p:spPr>
      </p:sp>
      <p:sp>
        <p:nvSpPr>
          <p:cNvPr id="3" name="Notes Placeholder 2"/>
          <p:cNvSpPr>
            <a:spLocks noGrp="1"/>
          </p:cNvSpPr>
          <p:nvPr>
            <p:ph type="body" idx="1"/>
          </p:nvPr>
        </p:nvSpPr>
        <p:spPr/>
        <p:txBody>
          <a:bodyPr/>
          <a:lstStyle/>
          <a:p>
            <a:r>
              <a:rPr lang="en-US" sz="1200" dirty="0"/>
              <a:t>High flow incident, 10 times rated capacity</a:t>
            </a:r>
          </a:p>
          <a:p>
            <a:r>
              <a:rPr lang="en-US" sz="1200" dirty="0"/>
              <a:t>Guy tried to blow up his house, </a:t>
            </a:r>
          </a:p>
          <a:p>
            <a:r>
              <a:rPr lang="en-US" sz="1200" dirty="0"/>
              <a:t>Itron </a:t>
            </a:r>
            <a:r>
              <a:rPr lang="en-US" sz="1200" dirty="0" err="1"/>
              <a:t>ert</a:t>
            </a:r>
            <a:r>
              <a:rPr lang="en-US" sz="1200" dirty="0"/>
              <a:t> installed, saw the consumption, no payout required</a:t>
            </a:r>
          </a:p>
        </p:txBody>
      </p:sp>
      <p:sp>
        <p:nvSpPr>
          <p:cNvPr id="4" name="Slide Number Placeholder 3"/>
          <p:cNvSpPr>
            <a:spLocks noGrp="1"/>
          </p:cNvSpPr>
          <p:nvPr>
            <p:ph type="sldNum" sz="quarter" idx="10"/>
          </p:nvPr>
        </p:nvSpPr>
        <p:spPr/>
        <p:txBody>
          <a:bodyPr/>
          <a:lstStyle/>
          <a:p>
            <a:pPr marL="0" marR="0" lvl="0" indent="0" algn="r" defTabSz="457189" rtl="0" eaLnBrk="1" fontAlgn="auto" latinLnBrk="0" hangingPunct="1">
              <a:lnSpc>
                <a:spcPct val="100000"/>
              </a:lnSpc>
              <a:spcBef>
                <a:spcPts val="0"/>
              </a:spcBef>
              <a:spcAft>
                <a:spcPts val="0"/>
              </a:spcAft>
              <a:buClrTx/>
              <a:buSzTx/>
              <a:buFontTx/>
              <a:buNone/>
              <a:tabLst/>
              <a:defRPr/>
            </a:pPr>
            <a:fld id="{D4C9EE42-2C59-0F44-BDD2-A72B212826A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189"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1702443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7825" y="698500"/>
            <a:ext cx="6199188" cy="3490913"/>
          </a:xfrm>
        </p:spPr>
      </p:sp>
      <p:sp>
        <p:nvSpPr>
          <p:cNvPr id="3" name="Notes Placeholder 2"/>
          <p:cNvSpPr>
            <a:spLocks noGrp="1"/>
          </p:cNvSpPr>
          <p:nvPr>
            <p:ph type="body" idx="1"/>
          </p:nvPr>
        </p:nvSpPr>
        <p:spPr/>
        <p:txBody>
          <a:bodyPr/>
          <a:lstStyle/>
          <a:p>
            <a:pPr defTabSz="464652">
              <a:defRPr/>
            </a:pPr>
            <a:r>
              <a:rPr lang="en-US" sz="1200" baseline="0" dirty="0"/>
              <a:t>No longer just a meter</a:t>
            </a:r>
          </a:p>
          <a:p>
            <a:pPr defTabSz="464652">
              <a:defRPr/>
            </a:pPr>
            <a:r>
              <a:rPr lang="en-US" sz="1200" baseline="0" dirty="0"/>
              <a:t>Shutoff valve gives consumer safety, distribution safety, </a:t>
            </a:r>
          </a:p>
          <a:p>
            <a:pPr defTabSz="464652">
              <a:defRPr/>
            </a:pPr>
            <a:r>
              <a:rPr lang="en-US" sz="1200" baseline="0" dirty="0"/>
              <a:t>Revenue assurance with theft detection and accuracy,</a:t>
            </a:r>
          </a:p>
          <a:p>
            <a:pPr defTabSz="464652">
              <a:defRPr/>
            </a:pPr>
            <a:r>
              <a:rPr lang="en-US" sz="1200" baseline="0" dirty="0"/>
              <a:t>Workforce is lightweight, </a:t>
            </a:r>
          </a:p>
          <a:p>
            <a:pPr defTabSz="464652">
              <a:defRPr/>
            </a:pPr>
            <a:r>
              <a:rPr lang="en-US" sz="1200" baseline="0" dirty="0"/>
              <a:t>Operational savings, 1 </a:t>
            </a:r>
            <a:r>
              <a:rPr lang="en-US" sz="1200" baseline="0" dirty="0" err="1"/>
              <a:t>truckroll</a:t>
            </a:r>
            <a:r>
              <a:rPr lang="en-US" sz="1200" baseline="0" dirty="0"/>
              <a:t> every 20 years, remote shutoff</a:t>
            </a:r>
          </a:p>
          <a:p>
            <a:pPr defTabSz="464652">
              <a:defRPr/>
            </a:pPr>
            <a:r>
              <a:rPr lang="en-US" sz="1200" baseline="0" dirty="0"/>
              <a:t>Customers like the LCD, smaller footprint, safety</a:t>
            </a:r>
            <a:endParaRPr lang="en-US" sz="1200" dirty="0"/>
          </a:p>
          <a:p>
            <a:pPr defTabSz="464652">
              <a:defRPr/>
            </a:pPr>
            <a:endParaRPr lang="en-US" sz="1200" dirty="0"/>
          </a:p>
          <a:p>
            <a:pPr defTabSz="464652">
              <a:defRPr/>
            </a:pPr>
            <a:endParaRPr lang="en-US" sz="1200" dirty="0"/>
          </a:p>
          <a:p>
            <a:pPr defTabSz="464652">
              <a:defRPr/>
            </a:pPr>
            <a:endParaRPr lang="en-US" sz="1200" dirty="0"/>
          </a:p>
          <a:p>
            <a:pPr defTabSz="464652">
              <a:defRPr/>
            </a:pP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457189" rtl="0" eaLnBrk="1" fontAlgn="auto" latinLnBrk="0" hangingPunct="1">
              <a:lnSpc>
                <a:spcPct val="100000"/>
              </a:lnSpc>
              <a:spcBef>
                <a:spcPts val="0"/>
              </a:spcBef>
              <a:spcAft>
                <a:spcPts val="0"/>
              </a:spcAft>
              <a:buClrTx/>
              <a:buSzTx/>
              <a:buFontTx/>
              <a:buNone/>
              <a:tabLst/>
              <a:defRPr/>
            </a:pPr>
            <a:fld id="{63B2463A-D13A-394A-814C-F09C08BEA35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189"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0226637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Folienbildplatzhalter 1"/>
          <p:cNvSpPr>
            <a:spLocks noGrp="1" noRot="1" noChangeAspect="1" noTextEdit="1"/>
          </p:cNvSpPr>
          <p:nvPr>
            <p:ph type="sldImg"/>
          </p:nvPr>
        </p:nvSpPr>
        <p:spPr>
          <a:xfrm>
            <a:off x="382588" y="685800"/>
            <a:ext cx="6092825" cy="3430588"/>
          </a:xfrm>
          <a:ln/>
        </p:spPr>
      </p:sp>
      <p:sp>
        <p:nvSpPr>
          <p:cNvPr id="35843" name="Notizenplatzhalter 2"/>
          <p:cNvSpPr>
            <a:spLocks noGrp="1"/>
          </p:cNvSpPr>
          <p:nvPr>
            <p:ph type="body" idx="1"/>
          </p:nvPr>
        </p:nvSpPr>
        <p:spPr>
          <a:noFill/>
        </p:spPr>
        <p:txBody>
          <a:bodyPr/>
          <a:lstStyle/>
          <a:p>
            <a:endParaRPr lang="en-US" altLang="en-US"/>
          </a:p>
        </p:txBody>
      </p:sp>
      <p:sp>
        <p:nvSpPr>
          <p:cNvPr id="35844" name="Foliennummernplatzhalter 3"/>
          <p:cNvSpPr>
            <a:spLocks noGrp="1"/>
          </p:cNvSpPr>
          <p:nvPr>
            <p:ph type="sldNum" sz="quarter" idx="5"/>
          </p:nvPr>
        </p:nvSpPr>
        <p:spPr>
          <a:noFill/>
        </p:spPr>
        <p:txBody>
          <a:bodyPr/>
          <a:lstStyle>
            <a:lvl1pPr eaLnBrk="0" hangingPunct="0">
              <a:spcBef>
                <a:spcPct val="30000"/>
              </a:spcBef>
              <a:buClr>
                <a:schemeClr val="accent1"/>
              </a:buClr>
              <a:buChar char="-"/>
              <a:defRPr sz="1200">
                <a:solidFill>
                  <a:schemeClr val="tx1"/>
                </a:solidFill>
                <a:latin typeface="Arial" charset="0"/>
                <a:cs typeface="Arial" charset="0"/>
              </a:defRPr>
            </a:lvl1pPr>
            <a:lvl2pPr marL="710750" indent="-273365" eaLnBrk="0" hangingPunct="0">
              <a:spcBef>
                <a:spcPct val="30000"/>
              </a:spcBef>
              <a:buClr>
                <a:schemeClr val="accent1"/>
              </a:buClr>
              <a:buChar char="-"/>
              <a:defRPr sz="1200">
                <a:solidFill>
                  <a:schemeClr val="tx1"/>
                </a:solidFill>
                <a:latin typeface="Arial" charset="0"/>
                <a:cs typeface="Arial" charset="0"/>
              </a:defRPr>
            </a:lvl2pPr>
            <a:lvl3pPr marL="1093461" indent="-218692" eaLnBrk="0" hangingPunct="0">
              <a:spcBef>
                <a:spcPct val="30000"/>
              </a:spcBef>
              <a:buClr>
                <a:schemeClr val="accent1"/>
              </a:buClr>
              <a:buChar char="-"/>
              <a:defRPr sz="1200">
                <a:solidFill>
                  <a:schemeClr val="tx1"/>
                </a:solidFill>
                <a:latin typeface="Arial" charset="0"/>
                <a:cs typeface="Arial" charset="0"/>
              </a:defRPr>
            </a:lvl3pPr>
            <a:lvl4pPr marL="1530845" indent="-218692" eaLnBrk="0" hangingPunct="0">
              <a:spcBef>
                <a:spcPct val="30000"/>
              </a:spcBef>
              <a:buClr>
                <a:schemeClr val="accent1"/>
              </a:buClr>
              <a:buChar char="-"/>
              <a:defRPr sz="1200">
                <a:solidFill>
                  <a:schemeClr val="tx1"/>
                </a:solidFill>
                <a:latin typeface="Arial" charset="0"/>
                <a:cs typeface="Arial" charset="0"/>
              </a:defRPr>
            </a:lvl4pPr>
            <a:lvl5pPr marL="1968229" indent="-218692" eaLnBrk="0" hangingPunct="0">
              <a:spcBef>
                <a:spcPct val="30000"/>
              </a:spcBef>
              <a:buClr>
                <a:schemeClr val="accent1"/>
              </a:buClr>
              <a:buChar char="-"/>
              <a:defRPr sz="1200">
                <a:solidFill>
                  <a:schemeClr val="tx1"/>
                </a:solidFill>
                <a:latin typeface="Arial" charset="0"/>
                <a:cs typeface="Arial" charset="0"/>
              </a:defRPr>
            </a:lvl5pPr>
            <a:lvl6pPr marL="2405614" indent="-218692" eaLnBrk="0" fontAlgn="base" hangingPunct="0">
              <a:spcBef>
                <a:spcPct val="30000"/>
              </a:spcBef>
              <a:spcAft>
                <a:spcPct val="0"/>
              </a:spcAft>
              <a:buClr>
                <a:schemeClr val="accent1"/>
              </a:buClr>
              <a:buChar char="-"/>
              <a:defRPr sz="1200">
                <a:solidFill>
                  <a:schemeClr val="tx1"/>
                </a:solidFill>
                <a:latin typeface="Arial" charset="0"/>
                <a:cs typeface="Arial" charset="0"/>
              </a:defRPr>
            </a:lvl6pPr>
            <a:lvl7pPr marL="2842997" indent="-218692" eaLnBrk="0" fontAlgn="base" hangingPunct="0">
              <a:spcBef>
                <a:spcPct val="30000"/>
              </a:spcBef>
              <a:spcAft>
                <a:spcPct val="0"/>
              </a:spcAft>
              <a:buClr>
                <a:schemeClr val="accent1"/>
              </a:buClr>
              <a:buChar char="-"/>
              <a:defRPr sz="1200">
                <a:solidFill>
                  <a:schemeClr val="tx1"/>
                </a:solidFill>
                <a:latin typeface="Arial" charset="0"/>
                <a:cs typeface="Arial" charset="0"/>
              </a:defRPr>
            </a:lvl7pPr>
            <a:lvl8pPr marL="3280382" indent="-218692" eaLnBrk="0" fontAlgn="base" hangingPunct="0">
              <a:spcBef>
                <a:spcPct val="30000"/>
              </a:spcBef>
              <a:spcAft>
                <a:spcPct val="0"/>
              </a:spcAft>
              <a:buClr>
                <a:schemeClr val="accent1"/>
              </a:buClr>
              <a:buChar char="-"/>
              <a:defRPr sz="1200">
                <a:solidFill>
                  <a:schemeClr val="tx1"/>
                </a:solidFill>
                <a:latin typeface="Arial" charset="0"/>
                <a:cs typeface="Arial" charset="0"/>
              </a:defRPr>
            </a:lvl8pPr>
            <a:lvl9pPr marL="3717766" indent="-218692" eaLnBrk="0" fontAlgn="base" hangingPunct="0">
              <a:spcBef>
                <a:spcPct val="30000"/>
              </a:spcBef>
              <a:spcAft>
                <a:spcPct val="0"/>
              </a:spcAft>
              <a:buClr>
                <a:schemeClr val="accent1"/>
              </a:buClr>
              <a:buChar char="-"/>
              <a:defRPr sz="1200">
                <a:solidFill>
                  <a:schemeClr val="tx1"/>
                </a:solidFill>
                <a:latin typeface="Arial" charset="0"/>
                <a:cs typeface="Arial" charset="0"/>
              </a:defRPr>
            </a:lvl9pPr>
          </a:lstStyle>
          <a:p>
            <a:pPr eaLnBrk="1" hangingPunct="1">
              <a:spcBef>
                <a:spcPct val="0"/>
              </a:spcBef>
              <a:buClrTx/>
              <a:buFontTx/>
              <a:buNone/>
            </a:pPr>
            <a:fld id="{7E5FB9DD-8D9C-41CE-92BD-1B13A233771A}" type="slidenum">
              <a:rPr lang="de-DE" altLang="en-US" smtClean="0">
                <a:solidFill>
                  <a:prstClr val="black"/>
                </a:solidFill>
              </a:rPr>
              <a:pPr eaLnBrk="1" hangingPunct="1">
                <a:spcBef>
                  <a:spcPct val="0"/>
                </a:spcBef>
                <a:buClrTx/>
                <a:buFontTx/>
                <a:buNone/>
              </a:pPr>
              <a:t>31</a:t>
            </a:fld>
            <a:endParaRPr lang="de-DE" altLang="en-US">
              <a:solidFill>
                <a:prstClr val="black"/>
              </a:solidFill>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 would recommend that you start testing and getting them approved as diaphragm meters are phased out.</a:t>
            </a:r>
          </a:p>
          <a:p>
            <a:r>
              <a:rPr lang="en-US" dirty="0"/>
              <a:t>Tantalus</a:t>
            </a:r>
          </a:p>
        </p:txBody>
      </p:sp>
      <p:sp>
        <p:nvSpPr>
          <p:cNvPr id="4" name="Slide Number Placeholder 3"/>
          <p:cNvSpPr>
            <a:spLocks noGrp="1"/>
          </p:cNvSpPr>
          <p:nvPr>
            <p:ph type="sldNum" sz="quarter" idx="5"/>
          </p:nvPr>
        </p:nvSpPr>
        <p:spPr/>
        <p:txBody>
          <a:bodyPr/>
          <a:lstStyle/>
          <a:p>
            <a:fld id="{74AC7919-D355-624C-AE5F-B63AF8456273}" type="slidenum">
              <a:rPr lang="en-US" smtClean="0"/>
              <a:t>33</a:t>
            </a:fld>
            <a:endParaRPr lang="en-US"/>
          </a:p>
        </p:txBody>
      </p:sp>
    </p:spTree>
    <p:extLst>
      <p:ext uri="{BB962C8B-B14F-4D97-AF65-F5344CB8AC3E}">
        <p14:creationId xmlns:p14="http://schemas.microsoft.com/office/powerpoint/2010/main" val="34735107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2878CA-68C1-94C3-C38F-14C367C940A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36EDC2A-7CE9-9766-4952-DF78C6EBB9F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AA5C537-EC92-E0DE-B1AA-EBB6D162EDAF}"/>
              </a:ext>
            </a:extLst>
          </p:cNvPr>
          <p:cNvSpPr>
            <a:spLocks noGrp="1"/>
          </p:cNvSpPr>
          <p:nvPr>
            <p:ph type="body" idx="1"/>
          </p:nvPr>
        </p:nvSpPr>
        <p:spPr>
          <a:xfrm>
            <a:off x="582930" y="4400549"/>
            <a:ext cx="5760720" cy="4284663"/>
          </a:xfrm>
        </p:spPr>
        <p:txBody>
          <a:bodyPr/>
          <a:lstStyle/>
          <a:p>
            <a:endParaRPr lang="en-US" dirty="0"/>
          </a:p>
        </p:txBody>
      </p:sp>
      <p:sp>
        <p:nvSpPr>
          <p:cNvPr id="4" name="Slide Number Placeholder 3">
            <a:extLst>
              <a:ext uri="{FF2B5EF4-FFF2-40B4-BE49-F238E27FC236}">
                <a16:creationId xmlns:a16="http://schemas.microsoft.com/office/drawing/2014/main" id="{7D25091E-2B21-8D7A-4E41-5DAFB605E262}"/>
              </a:ext>
            </a:extLst>
          </p:cNvPr>
          <p:cNvSpPr>
            <a:spLocks noGrp="1"/>
          </p:cNvSpPr>
          <p:nvPr>
            <p:ph type="sldNum" sz="quarter" idx="10"/>
          </p:nvPr>
        </p:nvSpPr>
        <p:spPr/>
        <p:txBody>
          <a:bodyPr/>
          <a:lstStyle/>
          <a:p>
            <a:fld id="{A4F629F3-763B-A440-85C6-058CEFC5829D}" type="slidenum">
              <a:rPr lang="en-US" smtClean="0"/>
              <a:t>3</a:t>
            </a:fld>
            <a:endParaRPr lang="en-US" dirty="0"/>
          </a:p>
        </p:txBody>
      </p:sp>
    </p:spTree>
    <p:extLst>
      <p:ext uri="{BB962C8B-B14F-4D97-AF65-F5344CB8AC3E}">
        <p14:creationId xmlns:p14="http://schemas.microsoft.com/office/powerpoint/2010/main" val="385155186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4AC7919-D355-624C-AE5F-B63AF8456273}" type="slidenum">
              <a:rPr lang="en-US" smtClean="0"/>
              <a:t>34</a:t>
            </a:fld>
            <a:endParaRPr lang="en-US"/>
          </a:p>
        </p:txBody>
      </p:sp>
    </p:spTree>
    <p:extLst>
      <p:ext uri="{BB962C8B-B14F-4D97-AF65-F5344CB8AC3E}">
        <p14:creationId xmlns:p14="http://schemas.microsoft.com/office/powerpoint/2010/main" val="230991855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4AC7919-D355-624C-AE5F-B63AF8456273}" type="slidenum">
              <a:rPr lang="en-US" smtClean="0"/>
              <a:t>35</a:t>
            </a:fld>
            <a:endParaRPr lang="en-US"/>
          </a:p>
        </p:txBody>
      </p:sp>
    </p:spTree>
    <p:extLst>
      <p:ext uri="{BB962C8B-B14F-4D97-AF65-F5344CB8AC3E}">
        <p14:creationId xmlns:p14="http://schemas.microsoft.com/office/powerpoint/2010/main" val="238357856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cs typeface="Calibri"/>
              </a:rPr>
              <a:t>Now that you have all these features what do you do with it, how do you manage it?</a:t>
            </a:r>
          </a:p>
          <a:p>
            <a:r>
              <a:rPr lang="en-US" sz="1200" dirty="0">
                <a:cs typeface="Calibri"/>
              </a:rPr>
              <a:t>Give you the ability to look at distribution system as a whole and react accordingly</a:t>
            </a:r>
          </a:p>
          <a:p>
            <a:r>
              <a:rPr lang="en-US" sz="1200" dirty="0">
                <a:cs typeface="Calibri"/>
              </a:rPr>
              <a:t>One more thought, leak testing, USM reads down to 0.01 </a:t>
            </a:r>
            <a:r>
              <a:rPr lang="en-US" sz="1200" dirty="0" err="1">
                <a:cs typeface="Calibri"/>
              </a:rPr>
              <a:t>cf</a:t>
            </a:r>
            <a:endParaRPr lang="en-US" sz="1200" dirty="0">
              <a:cs typeface="Calibri"/>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4AC7919-D355-624C-AE5F-B63AF845627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9026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These are how the alarms look on the mapping software</a:t>
            </a:r>
          </a:p>
        </p:txBody>
      </p:sp>
      <p:sp>
        <p:nvSpPr>
          <p:cNvPr id="4" name="Slide Number Placeholder 3"/>
          <p:cNvSpPr>
            <a:spLocks noGrp="1"/>
          </p:cNvSpPr>
          <p:nvPr>
            <p:ph type="sldNum" sz="quarter" idx="5"/>
          </p:nvPr>
        </p:nvSpPr>
        <p:spPr/>
        <p:txBody>
          <a:bodyPr/>
          <a:lstStyle/>
          <a:p>
            <a:fld id="{9C25E97C-E9FA-D149-BDB0-49E7F3591737}" type="slidenum">
              <a:rPr lang="en-US" smtClean="0"/>
              <a:t>37</a:t>
            </a:fld>
            <a:endParaRPr lang="en-US" dirty="0"/>
          </a:p>
        </p:txBody>
      </p:sp>
    </p:spTree>
    <p:extLst>
      <p:ext uri="{BB962C8B-B14F-4D97-AF65-F5344CB8AC3E}">
        <p14:creationId xmlns:p14="http://schemas.microsoft.com/office/powerpoint/2010/main" val="332038436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976DFC-FF73-6030-973D-B20351B2793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B72DD68-9E6D-5430-D0FE-39C22D6A30A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CE1819A-56AF-5A16-7FDC-BD960030A47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B165711-2381-716A-2E81-108EFFFDE3B1}"/>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8849CCA-596A-7543-AFA9-87F95F9F0ABD}" type="slidenum">
              <a:rPr kumimoji="0" lang="en-US" sz="1300" b="0" i="0" u="none" strike="noStrike" kern="1200" cap="none" spc="0" normalizeH="0" baseline="0" noProof="0" smtClean="0">
                <a:ln>
                  <a:noFill/>
                </a:ln>
                <a:solidFill>
                  <a:prstClr val="black"/>
                </a:solidFill>
                <a:effectLst/>
                <a:uLnTx/>
                <a:uFillTx/>
                <a:latin typeface="Calibri"/>
                <a:ea typeface="+mn-ea"/>
                <a:cs typeface="Arial"/>
                <a:sym typeface="Arial"/>
              </a:rPr>
              <a:pPr marL="0" marR="0" lvl="0" indent="0" algn="r" defTabSz="457200" rtl="0" eaLnBrk="1" fontAlgn="auto" latinLnBrk="0" hangingPunct="1">
                <a:lnSpc>
                  <a:spcPct val="100000"/>
                </a:lnSpc>
                <a:spcBef>
                  <a:spcPts val="0"/>
                </a:spcBef>
                <a:spcAft>
                  <a:spcPts val="0"/>
                </a:spcAft>
                <a:buClrTx/>
                <a:buSzTx/>
                <a:buFontTx/>
                <a:buNone/>
                <a:tabLst/>
                <a:defRPr/>
              </a:pPr>
              <a:t>38</a:t>
            </a:fld>
            <a:endParaRPr kumimoji="0" lang="en-US" sz="1300" b="0" i="0" u="none" strike="noStrike" kern="1200" cap="none" spc="0" normalizeH="0" baseline="0" noProof="0">
              <a:ln>
                <a:noFill/>
              </a:ln>
              <a:solidFill>
                <a:prstClr val="black"/>
              </a:solidFill>
              <a:effectLst/>
              <a:uLnTx/>
              <a:uFillTx/>
              <a:latin typeface="Calibri"/>
              <a:ea typeface="+mn-ea"/>
              <a:cs typeface="Arial"/>
              <a:sym typeface="Arial"/>
            </a:endParaRPr>
          </a:p>
        </p:txBody>
      </p:sp>
    </p:spTree>
    <p:extLst>
      <p:ext uri="{BB962C8B-B14F-4D97-AF65-F5344CB8AC3E}">
        <p14:creationId xmlns:p14="http://schemas.microsoft.com/office/powerpoint/2010/main" val="196977770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DB7584-9C28-69DA-C0DA-E8E1D4DAB57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262AD32-350D-77C4-2E66-82F9A628635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137E0F2-CC2B-101C-1C7C-899A19FD588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D6B3886-DCEE-5B4F-D92A-DD109BB1105D}"/>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8849CCA-596A-7543-AFA9-87F95F9F0ABD}" type="slidenum">
              <a:rPr kumimoji="0" lang="en-US" sz="1300" b="0" i="0" u="none" strike="noStrike" kern="1200" cap="none" spc="0" normalizeH="0" baseline="0" noProof="0" smtClean="0">
                <a:ln>
                  <a:noFill/>
                </a:ln>
                <a:solidFill>
                  <a:prstClr val="black"/>
                </a:solidFill>
                <a:effectLst/>
                <a:uLnTx/>
                <a:uFillTx/>
                <a:latin typeface="Calibri"/>
                <a:ea typeface="+mn-ea"/>
                <a:cs typeface="Arial"/>
                <a:sym typeface="Arial"/>
              </a:rPr>
              <a:pPr marL="0" marR="0" lvl="0" indent="0" algn="r" defTabSz="457200" rtl="0" eaLnBrk="1" fontAlgn="auto" latinLnBrk="0" hangingPunct="1">
                <a:lnSpc>
                  <a:spcPct val="100000"/>
                </a:lnSpc>
                <a:spcBef>
                  <a:spcPts val="0"/>
                </a:spcBef>
                <a:spcAft>
                  <a:spcPts val="0"/>
                </a:spcAft>
                <a:buClrTx/>
                <a:buSzTx/>
                <a:buFontTx/>
                <a:buNone/>
                <a:tabLst/>
                <a:defRPr/>
              </a:pPr>
              <a:t>39</a:t>
            </a:fld>
            <a:endParaRPr kumimoji="0" lang="en-US" sz="1300" b="0" i="0" u="none" strike="noStrike" kern="1200" cap="none" spc="0" normalizeH="0" baseline="0" noProof="0">
              <a:ln>
                <a:noFill/>
              </a:ln>
              <a:solidFill>
                <a:prstClr val="black"/>
              </a:solidFill>
              <a:effectLst/>
              <a:uLnTx/>
              <a:uFillTx/>
              <a:latin typeface="Calibri"/>
              <a:ea typeface="+mn-ea"/>
              <a:cs typeface="Arial"/>
              <a:sym typeface="Arial"/>
            </a:endParaRPr>
          </a:p>
        </p:txBody>
      </p:sp>
    </p:spTree>
    <p:extLst>
      <p:ext uri="{BB962C8B-B14F-4D97-AF65-F5344CB8AC3E}">
        <p14:creationId xmlns:p14="http://schemas.microsoft.com/office/powerpoint/2010/main" val="23104637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a:extLst>
              <a:ext uri="{FF2B5EF4-FFF2-40B4-BE49-F238E27FC236}">
                <a16:creationId xmlns:a16="http://schemas.microsoft.com/office/drawing/2014/main" id="{D8FB6DB0-FC6E-4032-867E-417AB2811CD8}"/>
              </a:ext>
            </a:extLst>
          </p:cNvPr>
          <p:cNvSpPr>
            <a:spLocks noGrp="1" noChangeArrowheads="1"/>
          </p:cNvSpPr>
          <p:nvPr>
            <p:ph type="sldNum" sz="quarter" idx="5"/>
          </p:nvPr>
        </p:nvSpPr>
        <p:spPr>
          <a:ln/>
        </p:spPr>
        <p:txBody>
          <a:bodyPr/>
          <a:lstStyle/>
          <a:p>
            <a:fld id="{FC30B418-5E3D-4C01-AF51-8DC1E7C4C0EA}" type="slidenum">
              <a:rPr lang="en-US" altLang="en-US"/>
              <a:pPr/>
              <a:t>4</a:t>
            </a:fld>
            <a:endParaRPr lang="en-US" altLang="en-US"/>
          </a:p>
        </p:txBody>
      </p:sp>
      <p:sp>
        <p:nvSpPr>
          <p:cNvPr id="168962" name="Rectangle 2">
            <a:extLst>
              <a:ext uri="{FF2B5EF4-FFF2-40B4-BE49-F238E27FC236}">
                <a16:creationId xmlns:a16="http://schemas.microsoft.com/office/drawing/2014/main" id="{2DB58630-4164-43EF-B982-BC1341024C59}"/>
              </a:ext>
            </a:extLst>
          </p:cNvPr>
          <p:cNvSpPr>
            <a:spLocks noGrp="1" noRot="1" noChangeAspect="1" noChangeArrowheads="1" noTextEdit="1"/>
          </p:cNvSpPr>
          <p:nvPr>
            <p:ph type="sldImg"/>
          </p:nvPr>
        </p:nvSpPr>
        <p:spPr>
          <a:ln/>
        </p:spPr>
      </p:sp>
      <p:sp>
        <p:nvSpPr>
          <p:cNvPr id="168963" name="Rectangle 3">
            <a:extLst>
              <a:ext uri="{FF2B5EF4-FFF2-40B4-BE49-F238E27FC236}">
                <a16:creationId xmlns:a16="http://schemas.microsoft.com/office/drawing/2014/main" id="{6F11E7FC-36CC-4154-A4E6-A9BA0C65F7A1}"/>
              </a:ext>
            </a:extLst>
          </p:cNvPr>
          <p:cNvSpPr>
            <a:spLocks noGrp="1" noChangeArrowheads="1"/>
          </p:cNvSpPr>
          <p:nvPr>
            <p:ph type="body" idx="1"/>
          </p:nvPr>
        </p:nvSpPr>
        <p:spPr>
          <a:xfrm>
            <a:off x="1" y="4400550"/>
            <a:ext cx="6856412" cy="4514850"/>
          </a:xfrm>
        </p:spPr>
        <p:txBody>
          <a:bodyPr/>
          <a:lstStyle/>
          <a:p>
            <a:pPr marL="0" marR="0">
              <a:lnSpc>
                <a:spcPct val="107000"/>
              </a:lnSpc>
              <a:spcBef>
                <a:spcPts val="0"/>
              </a:spcBef>
              <a:spcAft>
                <a:spcPts val="800"/>
              </a:spcAft>
            </a:pPr>
            <a:r>
              <a:rPr lang="en-US" sz="1000" kern="100" dirty="0">
                <a:effectLst/>
                <a:latin typeface="Arial" panose="020B0604020202020204" pitchFamily="34" charset="0"/>
                <a:ea typeface="Times New Roman" panose="02020603050405020304" pitchFamily="18" charset="0"/>
                <a:cs typeface="Arial" panose="020B0604020202020204" pitchFamily="34" charset="0"/>
              </a:rPr>
              <a:t>Now that actually went on for about 30 years before the 1st dry positive displacement meter was invented by William Richards and later improved by Thomas Glover. </a:t>
            </a:r>
          </a:p>
          <a:p>
            <a:pPr marL="0" marR="0">
              <a:lnSpc>
                <a:spcPct val="107000"/>
              </a:lnSpc>
              <a:spcBef>
                <a:spcPts val="0"/>
              </a:spcBef>
              <a:spcAft>
                <a:spcPts val="800"/>
              </a:spcAft>
            </a:pPr>
            <a:r>
              <a:rPr lang="en-US" sz="1000" dirty="0">
                <a:latin typeface="Arial" panose="020B0604020202020204" pitchFamily="34" charset="0"/>
                <a:cs typeface="Arial" pitchFamily="34" charset="0"/>
              </a:rPr>
              <a:t>Both the 4-chamber and the 3-chamber designs are widely </a:t>
            </a:r>
            <a:r>
              <a:rPr lang="en-US" sz="1000" dirty="0" err="1">
                <a:latin typeface="Arial" panose="020B0604020202020204" pitchFamily="34" charset="0"/>
                <a:cs typeface="Arial" pitchFamily="34" charset="0"/>
              </a:rPr>
              <a:t>accepted.</a:t>
            </a:r>
            <a:r>
              <a:rPr lang="en-US" altLang="en-US" sz="1000" dirty="0" err="1">
                <a:latin typeface="Arial" panose="020B0604020202020204" pitchFamily="34" charset="0"/>
                <a:cs typeface="Arial" panose="020B0604020202020204" pitchFamily="34" charset="0"/>
              </a:rPr>
              <a:t>The</a:t>
            </a:r>
            <a:r>
              <a:rPr lang="en-US" altLang="en-US" sz="1000" dirty="0">
                <a:latin typeface="Arial" panose="020B0604020202020204" pitchFamily="34" charset="0"/>
                <a:cs typeface="Arial" panose="020B0604020202020204" pitchFamily="34" charset="0"/>
              </a:rPr>
              <a:t> principle operation of the Glover type meter has basically been mechanically unchanged since 1844, however many changes in materials, construction, assembly and testing have improved the life expectancy and durability of the diaphragm meter.</a:t>
            </a:r>
          </a:p>
          <a:p>
            <a:pPr marL="0" marR="0">
              <a:lnSpc>
                <a:spcPct val="107000"/>
              </a:lnSpc>
              <a:spcBef>
                <a:spcPts val="0"/>
              </a:spcBef>
              <a:spcAft>
                <a:spcPts val="800"/>
              </a:spcAft>
            </a:pPr>
            <a:r>
              <a:rPr lang="en-US" sz="1000" dirty="0">
                <a:latin typeface="Arial" panose="020B0604020202020204" pitchFamily="34" charset="0"/>
                <a:cs typeface="Arial" panose="020B0604020202020204" pitchFamily="34" charset="0"/>
              </a:rPr>
              <a:t>The diaphragms used today are fabric reinforced synthetic rubber and not leather made from sheep or goat skins  </a:t>
            </a:r>
            <a:r>
              <a:rPr lang="en-US" sz="1000" kern="100" dirty="0">
                <a:effectLst/>
                <a:latin typeface="Arial" panose="020B0604020202020204" pitchFamily="34" charset="0"/>
                <a:ea typeface="Times New Roman" panose="02020603050405020304" pitchFamily="18" charset="0"/>
                <a:cs typeface="Arial" panose="020B0604020202020204" pitchFamily="34" charset="0"/>
              </a:rPr>
              <a:t>That is when Henry Sprague got his two diaphragm oscillating Valve 3 chamber gas meter patented and he formed the Sprague Meter Company which first started operating out of </a:t>
            </a:r>
            <a:r>
              <a:rPr lang="en-US" sz="1000" kern="100" dirty="0" err="1">
                <a:effectLst/>
                <a:latin typeface="Arial" panose="020B0604020202020204" pitchFamily="34" charset="0"/>
                <a:ea typeface="Times New Roman" panose="02020603050405020304" pitchFamily="18" charset="0"/>
                <a:cs typeface="Arial" panose="020B0604020202020204" pitchFamily="34" charset="0"/>
              </a:rPr>
              <a:t>Connecticut.Changes</a:t>
            </a:r>
            <a:r>
              <a:rPr lang="en-US" sz="1000" kern="100" dirty="0">
                <a:effectLst/>
                <a:latin typeface="Arial" panose="020B0604020202020204" pitchFamily="34" charset="0"/>
                <a:ea typeface="Times New Roman" panose="02020603050405020304" pitchFamily="18" charset="0"/>
                <a:cs typeface="Arial" panose="020B0604020202020204" pitchFamily="34" charset="0"/>
              </a:rPr>
              <a:t> in materials constructions, assembly testing have, of course, improved life expectancy and durability, but really, you know, it went from </a:t>
            </a:r>
          </a:p>
          <a:p>
            <a:pPr marL="0" marR="0">
              <a:lnSpc>
                <a:spcPct val="107000"/>
              </a:lnSpc>
              <a:spcBef>
                <a:spcPts val="0"/>
              </a:spcBef>
              <a:spcAft>
                <a:spcPts val="800"/>
              </a:spcAft>
            </a:pPr>
            <a:r>
              <a:rPr lang="en-US" sz="1000" kern="100" dirty="0">
                <a:effectLst/>
                <a:latin typeface="Arial" panose="020B0604020202020204" pitchFamily="34" charset="0"/>
                <a:ea typeface="Times New Roman" panose="02020603050405020304" pitchFamily="18" charset="0"/>
                <a:cs typeface="Arial" panose="020B0604020202020204" pitchFamily="34" charset="0"/>
              </a:rPr>
              <a:t>cast iron to aluminum alloys, went from leather diaphragms.  I mean sheepskin and goatskin that used to create these membranes within these chambers to synthetic rubber reinforced rubber fabric, reinforced rubber, synthetic diaphragms.  </a:t>
            </a:r>
          </a:p>
          <a:p>
            <a:pPr marL="0" marR="0">
              <a:lnSpc>
                <a:spcPct val="107000"/>
              </a:lnSpc>
              <a:spcBef>
                <a:spcPts val="0"/>
              </a:spcBef>
              <a:spcAft>
                <a:spcPts val="800"/>
              </a:spcAft>
            </a:pPr>
            <a:r>
              <a:rPr lang="en-US" sz="1000" kern="100" dirty="0">
                <a:effectLst/>
                <a:latin typeface="Arial" panose="020B0604020202020204" pitchFamily="34" charset="0"/>
                <a:ea typeface="Times New Roman" panose="02020603050405020304" pitchFamily="18" charset="0"/>
                <a:cs typeface="Arial" panose="020B0604020202020204" pitchFamily="34" charset="0"/>
              </a:rPr>
              <a:t>Over 120 years ago is really this the basis and still being used today? </a:t>
            </a:r>
          </a:p>
          <a:p>
            <a:pPr marL="0" marR="0">
              <a:lnSpc>
                <a:spcPct val="107000"/>
              </a:lnSpc>
              <a:spcBef>
                <a:spcPts val="0"/>
              </a:spcBef>
              <a:spcAft>
                <a:spcPts val="800"/>
              </a:spcAft>
            </a:pPr>
            <a:r>
              <a:rPr lang="en-US" sz="1000" kern="100" dirty="0">
                <a:effectLst/>
                <a:latin typeface="Arial" panose="020B0604020202020204" pitchFamily="34" charset="0"/>
                <a:ea typeface="Times New Roman" panose="02020603050405020304" pitchFamily="18" charset="0"/>
                <a:cs typeface="Arial" panose="020B0604020202020204" pitchFamily="34" charset="0"/>
              </a:rPr>
              <a:t>1973 that our industry had the first set of standards established, and there was published by ANSI, And until that time, you had all kinds of manufacturers providing you whatever they want to provide you.  </a:t>
            </a:r>
            <a:endParaRPr lang="en-US" altLang="en-US" dirty="0"/>
          </a:p>
        </p:txBody>
      </p:sp>
    </p:spTree>
    <p:extLst>
      <p:ext uri="{BB962C8B-B14F-4D97-AF65-F5344CB8AC3E}">
        <p14:creationId xmlns:p14="http://schemas.microsoft.com/office/powerpoint/2010/main" val="19003410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70" name="Rectangle 7"/>
          <p:cNvSpPr>
            <a:spLocks noGrp="1" noChangeArrowheads="1"/>
          </p:cNvSpPr>
          <p:nvPr>
            <p:ph type="sldNum" sz="quarter" idx="5"/>
          </p:nvPr>
        </p:nvSpPr>
        <p:spPr>
          <a:noFill/>
        </p:spPr>
        <p:txBody>
          <a:bodyPr/>
          <a:lstStyle/>
          <a:p>
            <a:fld id="{69BA3E7C-C0DB-49B9-8F53-833746D10B92}" type="slidenum">
              <a:rPr lang="en-US" smtClean="0"/>
              <a:pPr/>
              <a:t>5</a:t>
            </a:fld>
            <a:endParaRPr lang="en-US" dirty="0"/>
          </a:p>
        </p:txBody>
      </p:sp>
      <p:sp>
        <p:nvSpPr>
          <p:cNvPr id="135171" name="Rectangle 2"/>
          <p:cNvSpPr>
            <a:spLocks noGrp="1" noRot="1" noChangeAspect="1" noChangeArrowheads="1" noTextEdit="1"/>
          </p:cNvSpPr>
          <p:nvPr>
            <p:ph type="sldImg"/>
          </p:nvPr>
        </p:nvSpPr>
        <p:spPr>
          <a:ln/>
        </p:spPr>
      </p:sp>
      <p:sp>
        <p:nvSpPr>
          <p:cNvPr id="135172" name="Rectangle 3"/>
          <p:cNvSpPr>
            <a:spLocks noGrp="1" noChangeArrowheads="1"/>
          </p:cNvSpPr>
          <p:nvPr>
            <p:ph type="body" idx="1"/>
          </p:nvPr>
        </p:nvSpPr>
        <p:spPr>
          <a:xfrm>
            <a:off x="701675" y="4416425"/>
            <a:ext cx="5607050" cy="4183063"/>
          </a:xfrm>
          <a:noFill/>
          <a:ln/>
        </p:spPr>
        <p:txBody>
          <a:bodyPr/>
          <a:lstStyle/>
          <a:p>
            <a:pPr eaLnBrk="1" hangingPunct="1"/>
            <a:r>
              <a:rPr lang="en-US" sz="1200" dirty="0"/>
              <a:t>Diaphragm meter technology is the oldest metering technology and “still” the most widely used.</a:t>
            </a:r>
          </a:p>
          <a:p>
            <a:pPr eaLnBrk="1" hangingPunct="1"/>
            <a:r>
              <a:rPr lang="en-US" sz="1200" dirty="0"/>
              <a:t>I added the “still” to this slide because we know with the one millionth </a:t>
            </a:r>
            <a:r>
              <a:rPr lang="en-US" sz="1200" dirty="0" err="1"/>
              <a:t>Intelis</a:t>
            </a:r>
            <a:r>
              <a:rPr lang="en-US" sz="1200" dirty="0"/>
              <a:t> gas meter shipped this month (May 2023), that certainly the ultrasonic technology is becoming more prevalent in the residential market.</a:t>
            </a:r>
          </a:p>
          <a:p>
            <a:pPr eaLnBrk="1" hangingPunct="1"/>
            <a:endParaRPr lang="en-US" sz="1200" dirty="0"/>
          </a:p>
          <a:p>
            <a:pPr eaLnBrk="1" hangingPunct="1"/>
            <a:r>
              <a:rPr lang="en-US" sz="1200" dirty="0"/>
              <a:t>But as far as the installed base, diaphragm meters are still the most widely used technology.</a:t>
            </a:r>
          </a:p>
          <a:p>
            <a:pPr eaLnBrk="1" hangingPunct="1"/>
            <a:r>
              <a:rPr lang="en-US" sz="1200" dirty="0"/>
              <a:t>The design is simple, it's efficient and as I said, relatively unchanged since the 1800s.</a:t>
            </a:r>
          </a:p>
          <a:p>
            <a:pPr eaLnBrk="1" hangingPunct="1"/>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4AC7919-D355-624C-AE5F-B63AF8456273}" type="slidenum">
              <a:rPr lang="en-US" smtClean="0"/>
              <a:t>6</a:t>
            </a:fld>
            <a:endParaRPr lang="en-US"/>
          </a:p>
        </p:txBody>
      </p:sp>
    </p:spTree>
    <p:extLst>
      <p:ext uri="{BB962C8B-B14F-4D97-AF65-F5344CB8AC3E}">
        <p14:creationId xmlns:p14="http://schemas.microsoft.com/office/powerpoint/2010/main" val="38811110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Unlike inferential meters pd meters measure volume directly</a:t>
            </a:r>
          </a:p>
          <a:p>
            <a:r>
              <a:rPr lang="en-US" sz="1200" dirty="0"/>
              <a:t>Physical capture of discrete volume</a:t>
            </a:r>
          </a:p>
          <a:p>
            <a:r>
              <a:rPr lang="en-US" sz="1200" dirty="0"/>
              <a:t>Mech simulation to find total volume</a:t>
            </a:r>
          </a:p>
          <a:p>
            <a:r>
              <a:rPr lang="en-US" sz="1200" dirty="0"/>
              <a:t>Movement of meter is cyclical and repetitive</a:t>
            </a:r>
          </a:p>
          <a:p>
            <a:r>
              <a:rPr lang="en-US" sz="1200" dirty="0"/>
              <a:t>1 rev equals defined volume</a:t>
            </a:r>
          </a:p>
          <a:p>
            <a:r>
              <a:rPr lang="en-US" sz="1200" dirty="0"/>
              <a:t>Valves change direction of flow between measurement chambers</a:t>
            </a:r>
          </a:p>
          <a:p>
            <a:r>
              <a:rPr lang="en-US" sz="1200" dirty="0"/>
              <a:t>Meter revolutions counted by mechanical register</a:t>
            </a:r>
          </a:p>
          <a:p>
            <a:pPr marL="228600" indent="-228600">
              <a:buAutoNum type="arabicParenR"/>
            </a:pPr>
            <a:r>
              <a:rPr lang="en-US" sz="1200" dirty="0"/>
              <a:t>First chamber 1 is emptying, 2 fill, 3 is empty, 4 has just fille</a:t>
            </a:r>
          </a:p>
          <a:p>
            <a:pPr marL="228600" indent="-228600">
              <a:buAutoNum type="arabicParenR"/>
            </a:pPr>
            <a:r>
              <a:rPr lang="en-US" sz="1200" dirty="0"/>
              <a:t>1 is now empty, 2 is full, 3 is filling and 4 is emptying</a:t>
            </a:r>
          </a:p>
          <a:p>
            <a:pPr marL="228600" indent="-228600">
              <a:buAutoNum type="arabicParenR"/>
            </a:pPr>
            <a:r>
              <a:rPr lang="en-US" sz="1200" dirty="0"/>
              <a:t>1 filling/2 emptying/3 filled/4 empty</a:t>
            </a:r>
          </a:p>
          <a:p>
            <a:pPr marL="228600" indent="-228600">
              <a:buAutoNum type="arabicParenR"/>
            </a:pPr>
            <a:r>
              <a:rPr lang="en-US" sz="1200" dirty="0"/>
              <a:t>1 is full/2 empty/3 emptying/4 filling</a:t>
            </a:r>
          </a:p>
          <a:p>
            <a:pPr marL="228600" indent="-228600">
              <a:buAutoNum type="arabicParenR"/>
            </a:pPr>
            <a:endParaRPr lang="en-US" dirty="0"/>
          </a:p>
          <a:p>
            <a:endParaRPr lang="en-US" dirty="0"/>
          </a:p>
        </p:txBody>
      </p:sp>
      <p:sp>
        <p:nvSpPr>
          <p:cNvPr id="4" name="Slide Number Placeholder 3"/>
          <p:cNvSpPr>
            <a:spLocks noGrp="1"/>
          </p:cNvSpPr>
          <p:nvPr>
            <p:ph type="sldNum" sz="quarter" idx="5"/>
          </p:nvPr>
        </p:nvSpPr>
        <p:spPr/>
        <p:txBody>
          <a:bodyPr/>
          <a:lstStyle/>
          <a:p>
            <a:fld id="{74AC7919-D355-624C-AE5F-B63AF8456273}" type="slidenum">
              <a:rPr lang="en-US" smtClean="0"/>
              <a:t>7</a:t>
            </a:fld>
            <a:endParaRPr lang="en-US"/>
          </a:p>
        </p:txBody>
      </p:sp>
    </p:spTree>
    <p:extLst>
      <p:ext uri="{BB962C8B-B14F-4D97-AF65-F5344CB8AC3E}">
        <p14:creationId xmlns:p14="http://schemas.microsoft.com/office/powerpoint/2010/main" val="37174841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4AC7919-D355-624C-AE5F-B63AF8456273}" type="slidenum">
              <a:rPr lang="en-US" smtClean="0"/>
              <a:t>8</a:t>
            </a:fld>
            <a:endParaRPr lang="en-US"/>
          </a:p>
        </p:txBody>
      </p:sp>
    </p:spTree>
    <p:extLst>
      <p:ext uri="{BB962C8B-B14F-4D97-AF65-F5344CB8AC3E}">
        <p14:creationId xmlns:p14="http://schemas.microsoft.com/office/powerpoint/2010/main" val="37587394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Diaphragm-oldest metering technology, design is simple, efficient, unchanged for 70+ years, millions in service</a:t>
            </a:r>
          </a:p>
          <a:p>
            <a:r>
              <a:rPr lang="en-US" sz="1200" dirty="0"/>
              <a:t>Recap of Diaphragm to USM</a:t>
            </a:r>
          </a:p>
          <a:p>
            <a:r>
              <a:rPr lang="en-US" sz="1200" dirty="0"/>
              <a:t>Flat rate billing, 1843 fist gas meter, </a:t>
            </a:r>
          </a:p>
          <a:p>
            <a:r>
              <a:rPr lang="en-US" sz="1200" dirty="0"/>
              <a:t>late 80s first communication module, remote reading, datalogging, alerts and alarms, communication, </a:t>
            </a:r>
          </a:p>
          <a:p>
            <a:r>
              <a:rPr lang="en-US" sz="1200" dirty="0"/>
              <a:t>2010 first meter with LCD index, asset tracking, </a:t>
            </a:r>
          </a:p>
          <a:p>
            <a:r>
              <a:rPr lang="en-US" sz="1200" dirty="0"/>
              <a:t>2019-Intelis introduced,</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4C9EE42-2C59-0F44-BDD2-A72B212826A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31129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8.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1.xml"/><Relationship Id="rId1" Type="http://schemas.openxmlformats.org/officeDocument/2006/relationships/tags" Target="../tags/tag1.xml"/><Relationship Id="rId6" Type="http://schemas.openxmlformats.org/officeDocument/2006/relationships/image" Target="../media/image13.png"/><Relationship Id="rId5" Type="http://schemas.openxmlformats.org/officeDocument/2006/relationships/image" Target="../media/image12.jpeg"/><Relationship Id="rId4" Type="http://schemas.openxmlformats.org/officeDocument/2006/relationships/image" Target="../media/image11.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1.xml"/><Relationship Id="rId1" Type="http://schemas.openxmlformats.org/officeDocument/2006/relationships/tags" Target="../tags/tag2.xml"/><Relationship Id="rId5" Type="http://schemas.openxmlformats.org/officeDocument/2006/relationships/image" Target="../media/image14.png"/><Relationship Id="rId4" Type="http://schemas.openxmlformats.org/officeDocument/2006/relationships/image" Target="../media/image11.emf"/></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1.xml"/><Relationship Id="rId1" Type="http://schemas.openxmlformats.org/officeDocument/2006/relationships/tags" Target="../tags/tag3.xml"/><Relationship Id="rId4" Type="http://schemas.openxmlformats.org/officeDocument/2006/relationships/image" Target="../media/image11.emf"/></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1.xml"/><Relationship Id="rId1" Type="http://schemas.openxmlformats.org/officeDocument/2006/relationships/tags" Target="../tags/tag4.xml"/><Relationship Id="rId5" Type="http://schemas.openxmlformats.org/officeDocument/2006/relationships/image" Target="../media/image14.png"/><Relationship Id="rId4" Type="http://schemas.openxmlformats.org/officeDocument/2006/relationships/image" Target="../media/image11.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1.xml"/><Relationship Id="rId1" Type="http://schemas.openxmlformats.org/officeDocument/2006/relationships/tags" Target="../tags/tag5.xml"/><Relationship Id="rId4" Type="http://schemas.openxmlformats.org/officeDocument/2006/relationships/image" Target="../media/image11.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1.xml"/><Relationship Id="rId1" Type="http://schemas.openxmlformats.org/officeDocument/2006/relationships/tags" Target="../tags/tag6.xml"/><Relationship Id="rId5" Type="http://schemas.openxmlformats.org/officeDocument/2006/relationships/image" Target="../media/image14.png"/><Relationship Id="rId4" Type="http://schemas.openxmlformats.org/officeDocument/2006/relationships/image" Target="../media/image11.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1.xml"/><Relationship Id="rId1" Type="http://schemas.openxmlformats.org/officeDocument/2006/relationships/tags" Target="../tags/tag7.xml"/><Relationship Id="rId4" Type="http://schemas.openxmlformats.org/officeDocument/2006/relationships/image" Target="../media/image11.emf"/></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2.xml"/><Relationship Id="rId1" Type="http://schemas.openxmlformats.org/officeDocument/2006/relationships/tags" Target="../tags/tag8.xml"/><Relationship Id="rId6" Type="http://schemas.openxmlformats.org/officeDocument/2006/relationships/image" Target="../media/image14.png"/><Relationship Id="rId5" Type="http://schemas.openxmlformats.org/officeDocument/2006/relationships/image" Target="../media/image16.jpeg"/><Relationship Id="rId4" Type="http://schemas.openxmlformats.org/officeDocument/2006/relationships/image" Target="../media/image11.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2.xml"/><Relationship Id="rId1" Type="http://schemas.openxmlformats.org/officeDocument/2006/relationships/tags" Target="../tags/tag9.xml"/><Relationship Id="rId5" Type="http://schemas.openxmlformats.org/officeDocument/2006/relationships/image" Target="../media/image14.png"/><Relationship Id="rId4" Type="http://schemas.openxmlformats.org/officeDocument/2006/relationships/image" Target="../media/image11.emf"/></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2.xml"/><Relationship Id="rId1" Type="http://schemas.openxmlformats.org/officeDocument/2006/relationships/tags" Target="../tags/tag10.xml"/><Relationship Id="rId4" Type="http://schemas.openxmlformats.org/officeDocument/2006/relationships/image" Target="../media/image11.emf"/></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2.xml"/><Relationship Id="rId1" Type="http://schemas.openxmlformats.org/officeDocument/2006/relationships/tags" Target="../tags/tag11.xml"/><Relationship Id="rId5" Type="http://schemas.openxmlformats.org/officeDocument/2006/relationships/image" Target="../media/image14.png"/><Relationship Id="rId4" Type="http://schemas.openxmlformats.org/officeDocument/2006/relationships/image" Target="../media/image11.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2.xml"/><Relationship Id="rId1" Type="http://schemas.openxmlformats.org/officeDocument/2006/relationships/tags" Target="../tags/tag12.xml"/><Relationship Id="rId4" Type="http://schemas.openxmlformats.org/officeDocument/2006/relationships/image" Target="../media/image11.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2.xml"/><Relationship Id="rId1" Type="http://schemas.openxmlformats.org/officeDocument/2006/relationships/tags" Target="../tags/tag13.xml"/><Relationship Id="rId5" Type="http://schemas.openxmlformats.org/officeDocument/2006/relationships/image" Target="../media/image14.png"/><Relationship Id="rId4" Type="http://schemas.openxmlformats.org/officeDocument/2006/relationships/image" Target="../media/image11.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2.xml"/><Relationship Id="rId1" Type="http://schemas.openxmlformats.org/officeDocument/2006/relationships/tags" Target="../tags/tag14.xml"/><Relationship Id="rId4" Type="http://schemas.openxmlformats.org/officeDocument/2006/relationships/image" Target="../media/image11.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2.xml"/><Relationship Id="rId1" Type="http://schemas.openxmlformats.org/officeDocument/2006/relationships/tags" Target="../tags/tag15.xml"/><Relationship Id="rId5" Type="http://schemas.openxmlformats.org/officeDocument/2006/relationships/image" Target="../media/image14.png"/><Relationship Id="rId4" Type="http://schemas.openxmlformats.org/officeDocument/2006/relationships/image" Target="../media/image1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ntent Slide - 1 Col HIGH">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ADAF531E-0E10-DA42-9DD1-D6277CA5E59C}"/>
              </a:ext>
            </a:extLst>
          </p:cNvPr>
          <p:cNvSpPr>
            <a:spLocks noGrp="1"/>
          </p:cNvSpPr>
          <p:nvPr>
            <p:ph idx="1" hasCustomPrompt="1"/>
          </p:nvPr>
        </p:nvSpPr>
        <p:spPr>
          <a:xfrm>
            <a:off x="361950" y="1162751"/>
            <a:ext cx="8229600" cy="3267075"/>
          </a:xfrm>
          <a:prstGeom prst="rect">
            <a:avLst/>
          </a:prstGeom>
        </p:spPr>
        <p:txBody>
          <a:bodyPr/>
          <a:lstStyle>
            <a:lvl1pPr marL="0" indent="0">
              <a:buNone/>
              <a:defRPr sz="1399">
                <a:solidFill>
                  <a:schemeClr val="tx1"/>
                </a:solidFill>
              </a:defRPr>
            </a:lvl1pPr>
            <a:lvl2pPr marL="173038" indent="-173038">
              <a:spcBef>
                <a:spcPts val="600"/>
              </a:spcBef>
              <a:buFont typeface="System Font Regular"/>
              <a:buChar char="»"/>
              <a:tabLst/>
              <a:defRPr sz="1399">
                <a:solidFill>
                  <a:schemeClr val="tx1"/>
                </a:solidFill>
              </a:defRPr>
            </a:lvl2pPr>
            <a:lvl3pPr marL="287338" indent="-114300">
              <a:spcBef>
                <a:spcPts val="0"/>
              </a:spcBef>
              <a:buSzPct val="100000"/>
              <a:buFont typeface="Arial" panose="020B0604020202020204" pitchFamily="34" charset="0"/>
              <a:buChar char="•"/>
              <a:tabLst/>
              <a:defRPr sz="1399">
                <a:solidFill>
                  <a:schemeClr val="tx1"/>
                </a:solidFill>
              </a:defRPr>
            </a:lvl3pPr>
            <a:lvl4pPr marL="634413" indent="-174464">
              <a:buClr>
                <a:schemeClr val="accent1"/>
              </a:buClr>
              <a:buSzPct val="80000"/>
              <a:buFont typeface="Courier New" panose="02070309020205020404" pitchFamily="49" charset="0"/>
              <a:buChar char="o"/>
              <a:tabLst/>
              <a:defRPr sz="1399">
                <a:solidFill>
                  <a:schemeClr val="tx2"/>
                </a:solidFill>
              </a:defRPr>
            </a:lvl4pPr>
            <a:lvl5pPr marL="799360" indent="-164948">
              <a:buClr>
                <a:schemeClr val="accent1"/>
              </a:buClr>
              <a:buFont typeface=".AppleSystemUIFont"/>
              <a:buChar char="–"/>
              <a:tabLst/>
              <a:defRPr sz="1399">
                <a:solidFill>
                  <a:schemeClr val="tx2"/>
                </a:solidFill>
              </a:defRPr>
            </a:lvl5pPr>
          </a:lstStyle>
          <a:p>
            <a:pPr lvl="0"/>
            <a:r>
              <a:rPr lang="en-US" dirty="0"/>
              <a:t>Edit Master text styles</a:t>
            </a:r>
          </a:p>
          <a:p>
            <a:pPr lvl="1"/>
            <a:r>
              <a:rPr lang="en-US" dirty="0"/>
              <a:t>First level level</a:t>
            </a:r>
          </a:p>
          <a:p>
            <a:pPr lvl="2"/>
            <a:r>
              <a:rPr lang="en-US" dirty="0"/>
              <a:t>Second level</a:t>
            </a:r>
          </a:p>
          <a:p>
            <a:pPr lvl="1"/>
            <a:r>
              <a:rPr lang="en-US" dirty="0"/>
              <a:t>First level level</a:t>
            </a:r>
          </a:p>
          <a:p>
            <a:pPr lvl="2"/>
            <a:r>
              <a:rPr lang="en-US" dirty="0"/>
              <a:t>Second level</a:t>
            </a:r>
          </a:p>
          <a:p>
            <a:pPr lvl="2"/>
            <a:endParaRPr lang="en-US" dirty="0"/>
          </a:p>
        </p:txBody>
      </p:sp>
      <p:sp>
        <p:nvSpPr>
          <p:cNvPr id="8" name="Title Placeholder 1">
            <a:extLst>
              <a:ext uri="{FF2B5EF4-FFF2-40B4-BE49-F238E27FC236}">
                <a16:creationId xmlns:a16="http://schemas.microsoft.com/office/drawing/2014/main" id="{FC760D2B-0637-D94D-8A76-42674071E7F5}"/>
              </a:ext>
            </a:extLst>
          </p:cNvPr>
          <p:cNvSpPr>
            <a:spLocks noGrp="1"/>
          </p:cNvSpPr>
          <p:nvPr>
            <p:ph type="title" hasCustomPrompt="1"/>
          </p:nvPr>
        </p:nvSpPr>
        <p:spPr>
          <a:xfrm>
            <a:off x="361950" y="291592"/>
            <a:ext cx="8229600" cy="461345"/>
          </a:xfrm>
          <a:prstGeom prst="rect">
            <a:avLst/>
          </a:prstGeom>
        </p:spPr>
        <p:txBody>
          <a:bodyPr vert="horz" lIns="91440" tIns="45720" rIns="91440" bIns="45720" rtlCol="0" anchor="ctr">
            <a:spAutoFit/>
          </a:bodyPr>
          <a:lstStyle>
            <a:lvl1pPr>
              <a:defRPr b="0" cap="none">
                <a:solidFill>
                  <a:schemeClr val="accent1"/>
                </a:solidFill>
              </a:defRPr>
            </a:lvl1pPr>
          </a:lstStyle>
          <a:p>
            <a:r>
              <a:rPr lang="en-US" dirty="0"/>
              <a:t>Click to Add Title</a:t>
            </a:r>
          </a:p>
        </p:txBody>
      </p:sp>
      <p:sp>
        <p:nvSpPr>
          <p:cNvPr id="10" name="Text Placeholder 2">
            <a:extLst>
              <a:ext uri="{FF2B5EF4-FFF2-40B4-BE49-F238E27FC236}">
                <a16:creationId xmlns:a16="http://schemas.microsoft.com/office/drawing/2014/main" id="{E7417283-673C-AD4A-8C19-CF0D191AAAD2}"/>
              </a:ext>
            </a:extLst>
          </p:cNvPr>
          <p:cNvSpPr>
            <a:spLocks noGrp="1"/>
          </p:cNvSpPr>
          <p:nvPr>
            <p:ph type="body" sz="quarter" idx="15"/>
          </p:nvPr>
        </p:nvSpPr>
        <p:spPr>
          <a:xfrm>
            <a:off x="361950" y="622300"/>
            <a:ext cx="8229600" cy="349250"/>
          </a:xfrm>
          <a:prstGeom prst="rect">
            <a:avLst/>
          </a:prstGeom>
        </p:spPr>
        <p:txBody>
          <a:bodyPr>
            <a:noAutofit/>
          </a:bodyPr>
          <a:lstStyle>
            <a:lvl1pPr marL="0" indent="0">
              <a:buNone/>
              <a:defRPr sz="1300">
                <a:solidFill>
                  <a:schemeClr val="bg1"/>
                </a:solidFill>
              </a:defRPr>
            </a:lvl1pPr>
            <a:lvl2pPr marL="171292" indent="0">
              <a:buNone/>
              <a:defRPr sz="1499">
                <a:solidFill>
                  <a:schemeClr val="tx2"/>
                </a:solidFill>
              </a:defRPr>
            </a:lvl2pPr>
            <a:lvl3pPr marL="285486" indent="0">
              <a:buNone/>
              <a:defRPr sz="1499">
                <a:solidFill>
                  <a:schemeClr val="tx2"/>
                </a:solidFill>
              </a:defRPr>
            </a:lvl3pPr>
            <a:lvl4pPr marL="1370331" indent="0">
              <a:buNone/>
              <a:defRPr sz="1499">
                <a:solidFill>
                  <a:schemeClr val="tx2"/>
                </a:solidFill>
              </a:defRPr>
            </a:lvl4pPr>
            <a:lvl5pPr marL="1827108" indent="0">
              <a:buNone/>
              <a:defRPr sz="1499">
                <a:solidFill>
                  <a:schemeClr val="tx2"/>
                </a:solidFill>
              </a:defRPr>
            </a:lvl5pPr>
          </a:lstStyle>
          <a:p>
            <a:pPr lvl="0"/>
            <a:r>
              <a:rPr lang="en-US" dirty="0"/>
              <a:t>Click to edit Master text styles</a:t>
            </a:r>
          </a:p>
        </p:txBody>
      </p:sp>
      <p:sp>
        <p:nvSpPr>
          <p:cNvPr id="3" name="Footer Placeholder 5">
            <a:extLst>
              <a:ext uri="{FF2B5EF4-FFF2-40B4-BE49-F238E27FC236}">
                <a16:creationId xmlns:a16="http://schemas.microsoft.com/office/drawing/2014/main" id="{FD240B82-1E20-939D-F3A5-7F6EA3D894B2}"/>
              </a:ext>
            </a:extLst>
          </p:cNvPr>
          <p:cNvSpPr>
            <a:spLocks noGrp="1"/>
          </p:cNvSpPr>
          <p:nvPr>
            <p:ph type="ftr" sz="quarter" idx="3"/>
          </p:nvPr>
        </p:nvSpPr>
        <p:spPr>
          <a:xfrm>
            <a:off x="5778500" y="4839481"/>
            <a:ext cx="3086100" cy="273050"/>
          </a:xfrm>
          <a:prstGeom prst="rect">
            <a:avLst/>
          </a:prstGeom>
        </p:spPr>
        <p:txBody>
          <a:bodyPr vert="horz" lIns="91440" tIns="45720" rIns="91440" bIns="45720" rtlCol="0" anchor="ctr"/>
          <a:lstStyle>
            <a:lvl1pPr algn="r">
              <a:defRPr sz="799">
                <a:solidFill>
                  <a:schemeClr val="tx2"/>
                </a:solidFill>
              </a:defRPr>
            </a:lvl1pPr>
          </a:lstStyle>
          <a:p>
            <a:endParaRPr lang="en-US" dirty="0"/>
          </a:p>
        </p:txBody>
      </p:sp>
    </p:spTree>
    <p:extLst>
      <p:ext uri="{BB962C8B-B14F-4D97-AF65-F5344CB8AC3E}">
        <p14:creationId xmlns:p14="http://schemas.microsoft.com/office/powerpoint/2010/main" val="473413787"/>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5_Content Slide - 1 Col HIGH">
    <p:spTree>
      <p:nvGrpSpPr>
        <p:cNvPr id="1" name=""/>
        <p:cNvGrpSpPr/>
        <p:nvPr/>
      </p:nvGrpSpPr>
      <p:grpSpPr>
        <a:xfrm>
          <a:off x="0" y="0"/>
          <a:ext cx="0" cy="0"/>
          <a:chOff x="0" y="0"/>
          <a:chExt cx="0" cy="0"/>
        </a:xfrm>
      </p:grpSpPr>
      <p:sp>
        <p:nvSpPr>
          <p:cNvPr id="9" name="Title Placeholder 1"/>
          <p:cNvSpPr>
            <a:spLocks noGrp="1"/>
          </p:cNvSpPr>
          <p:nvPr>
            <p:ph type="title" hasCustomPrompt="1"/>
          </p:nvPr>
        </p:nvSpPr>
        <p:spPr>
          <a:xfrm>
            <a:off x="361950" y="291218"/>
            <a:ext cx="8229600" cy="462093"/>
          </a:xfrm>
          <a:prstGeom prst="rect">
            <a:avLst/>
          </a:prstGeom>
        </p:spPr>
        <p:txBody>
          <a:bodyPr vert="horz" lIns="91440" tIns="45720" rIns="91440" bIns="45720" rtlCol="0" anchor="ctr">
            <a:spAutoFit/>
          </a:bodyPr>
          <a:lstStyle>
            <a:lvl1pPr>
              <a:defRPr cap="all"/>
            </a:lvl1pPr>
          </a:lstStyle>
          <a:p>
            <a:r>
              <a:rPr lang="en-US" dirty="0"/>
              <a:t>CLICK TO ADD TITLE</a:t>
            </a:r>
          </a:p>
        </p:txBody>
      </p:sp>
      <p:sp>
        <p:nvSpPr>
          <p:cNvPr id="3" name="Text Placeholder 2"/>
          <p:cNvSpPr>
            <a:spLocks noGrp="1"/>
          </p:cNvSpPr>
          <p:nvPr>
            <p:ph type="body" sz="quarter" idx="15"/>
          </p:nvPr>
        </p:nvSpPr>
        <p:spPr>
          <a:xfrm>
            <a:off x="361950" y="622300"/>
            <a:ext cx="8229600" cy="349250"/>
          </a:xfrm>
          <a:prstGeom prst="rect">
            <a:avLst/>
          </a:prstGeom>
        </p:spPr>
        <p:txBody>
          <a:bodyPr>
            <a:noAutofit/>
          </a:bodyPr>
          <a:lstStyle>
            <a:lvl1pPr marL="0" indent="0">
              <a:buNone/>
              <a:defRPr sz="1499">
                <a:solidFill>
                  <a:schemeClr val="tx2"/>
                </a:solidFill>
              </a:defRPr>
            </a:lvl1pPr>
            <a:lvl2pPr marL="171296" indent="0">
              <a:buNone/>
              <a:defRPr sz="1499">
                <a:solidFill>
                  <a:schemeClr val="tx2"/>
                </a:solidFill>
              </a:defRPr>
            </a:lvl2pPr>
            <a:lvl3pPr marL="285493" indent="0">
              <a:buNone/>
              <a:defRPr sz="1499">
                <a:solidFill>
                  <a:schemeClr val="tx2"/>
                </a:solidFill>
              </a:defRPr>
            </a:lvl3pPr>
            <a:lvl4pPr marL="1370366" indent="0">
              <a:buNone/>
              <a:defRPr sz="1499">
                <a:solidFill>
                  <a:schemeClr val="tx2"/>
                </a:solidFill>
              </a:defRPr>
            </a:lvl4pPr>
            <a:lvl5pPr marL="1827154" indent="0">
              <a:buNone/>
              <a:defRPr sz="1499">
                <a:solidFill>
                  <a:schemeClr val="tx2"/>
                </a:solidFill>
              </a:defRPr>
            </a:lvl5pPr>
          </a:lstStyle>
          <a:p>
            <a:pPr lvl="0"/>
            <a:r>
              <a:rPr lang="en-US" dirty="0"/>
              <a:t>Click to edit Master text styles</a:t>
            </a:r>
          </a:p>
        </p:txBody>
      </p:sp>
      <p:sp>
        <p:nvSpPr>
          <p:cNvPr id="4" name="Text Placeholder 3"/>
          <p:cNvSpPr>
            <a:spLocks noGrp="1"/>
          </p:cNvSpPr>
          <p:nvPr>
            <p:ph type="body" sz="quarter" idx="16"/>
          </p:nvPr>
        </p:nvSpPr>
        <p:spPr>
          <a:xfrm>
            <a:off x="361950" y="1263650"/>
            <a:ext cx="8229600" cy="2622550"/>
          </a:xfrm>
          <a:prstGeom prst="rect">
            <a:avLst/>
          </a:prstGeom>
        </p:spPr>
        <p:txBody>
          <a:bodyPr vert="horz"/>
          <a:lstStyle>
            <a:lvl1pPr>
              <a:defRPr sz="1399">
                <a:solidFill>
                  <a:schemeClr val="bg1"/>
                </a:solidFill>
              </a:defRPr>
            </a:lvl1pPr>
            <a:lvl2pPr>
              <a:defRPr sz="1399">
                <a:solidFill>
                  <a:schemeClr val="bg1"/>
                </a:solidFill>
              </a:defRPr>
            </a:lvl2pPr>
            <a:lvl3pPr>
              <a:defRPr sz="1399">
                <a:solidFill>
                  <a:schemeClr val="bg1"/>
                </a:solidFill>
              </a:defRPr>
            </a:lvl3pPr>
            <a:lvl4pPr marL="628084" indent="-171296">
              <a:defRPr sz="1399">
                <a:solidFill>
                  <a:schemeClr val="bg1"/>
                </a:solidFill>
              </a:defRPr>
            </a:lvl4pPr>
            <a:lvl5pPr marL="799380" indent="-171296">
              <a:defRPr sz="1399">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3"/>
          </p:nvPr>
        </p:nvSpPr>
        <p:spPr>
          <a:xfrm>
            <a:off x="5778500" y="4839481"/>
            <a:ext cx="3086100" cy="273050"/>
          </a:xfrm>
          <a:prstGeom prst="rect">
            <a:avLst/>
          </a:prstGeom>
        </p:spPr>
        <p:txBody>
          <a:bodyPr vert="horz" lIns="91440" tIns="45720" rIns="91440" bIns="45720" rtlCol="0" anchor="ctr"/>
          <a:lstStyle>
            <a:lvl1pPr algn="r">
              <a:defRPr sz="799">
                <a:solidFill>
                  <a:schemeClr val="tx2"/>
                </a:solidFill>
              </a:defRPr>
            </a:lvl1pPr>
          </a:lstStyle>
          <a:p>
            <a:endParaRPr lang="en-US" dirty="0"/>
          </a:p>
        </p:txBody>
      </p:sp>
    </p:spTree>
    <p:extLst>
      <p:ext uri="{BB962C8B-B14F-4D97-AF65-F5344CB8AC3E}">
        <p14:creationId xmlns:p14="http://schemas.microsoft.com/office/powerpoint/2010/main" val="3662254306"/>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6_Content Slide - 1 Col HIGH">
    <p:spTree>
      <p:nvGrpSpPr>
        <p:cNvPr id="1" name=""/>
        <p:cNvGrpSpPr/>
        <p:nvPr/>
      </p:nvGrpSpPr>
      <p:grpSpPr>
        <a:xfrm>
          <a:off x="0" y="0"/>
          <a:ext cx="0" cy="0"/>
          <a:chOff x="0" y="0"/>
          <a:chExt cx="0" cy="0"/>
        </a:xfrm>
      </p:grpSpPr>
      <p:sp>
        <p:nvSpPr>
          <p:cNvPr id="9" name="Title Placeholder 1"/>
          <p:cNvSpPr>
            <a:spLocks noGrp="1"/>
          </p:cNvSpPr>
          <p:nvPr>
            <p:ph type="title" hasCustomPrompt="1"/>
          </p:nvPr>
        </p:nvSpPr>
        <p:spPr>
          <a:xfrm>
            <a:off x="361950" y="291218"/>
            <a:ext cx="8229600" cy="462093"/>
          </a:xfrm>
          <a:prstGeom prst="rect">
            <a:avLst/>
          </a:prstGeom>
        </p:spPr>
        <p:txBody>
          <a:bodyPr vert="horz" lIns="91440" tIns="45720" rIns="91440" bIns="45720" rtlCol="0" anchor="ctr">
            <a:spAutoFit/>
          </a:bodyPr>
          <a:lstStyle>
            <a:lvl1pPr>
              <a:defRPr cap="all"/>
            </a:lvl1pPr>
          </a:lstStyle>
          <a:p>
            <a:r>
              <a:rPr lang="en-US" dirty="0"/>
              <a:t>CLICK TO ADD TITLE</a:t>
            </a:r>
          </a:p>
        </p:txBody>
      </p:sp>
      <p:sp>
        <p:nvSpPr>
          <p:cNvPr id="3" name="Text Placeholder 2"/>
          <p:cNvSpPr>
            <a:spLocks noGrp="1"/>
          </p:cNvSpPr>
          <p:nvPr>
            <p:ph type="body" sz="quarter" idx="15"/>
          </p:nvPr>
        </p:nvSpPr>
        <p:spPr>
          <a:xfrm>
            <a:off x="361950" y="622300"/>
            <a:ext cx="8229600" cy="349250"/>
          </a:xfrm>
          <a:prstGeom prst="rect">
            <a:avLst/>
          </a:prstGeom>
        </p:spPr>
        <p:txBody>
          <a:bodyPr>
            <a:noAutofit/>
          </a:bodyPr>
          <a:lstStyle>
            <a:lvl1pPr marL="0" indent="0">
              <a:buNone/>
              <a:defRPr sz="1499">
                <a:solidFill>
                  <a:schemeClr val="tx2"/>
                </a:solidFill>
              </a:defRPr>
            </a:lvl1pPr>
            <a:lvl2pPr marL="171296" indent="0">
              <a:buNone/>
              <a:defRPr sz="1499">
                <a:solidFill>
                  <a:schemeClr val="tx2"/>
                </a:solidFill>
              </a:defRPr>
            </a:lvl2pPr>
            <a:lvl3pPr marL="285493" indent="0">
              <a:buNone/>
              <a:defRPr sz="1499">
                <a:solidFill>
                  <a:schemeClr val="tx2"/>
                </a:solidFill>
              </a:defRPr>
            </a:lvl3pPr>
            <a:lvl4pPr marL="1370366" indent="0">
              <a:buNone/>
              <a:defRPr sz="1499">
                <a:solidFill>
                  <a:schemeClr val="tx2"/>
                </a:solidFill>
              </a:defRPr>
            </a:lvl4pPr>
            <a:lvl5pPr marL="1827154" indent="0">
              <a:buNone/>
              <a:defRPr sz="1499">
                <a:solidFill>
                  <a:schemeClr val="tx2"/>
                </a:solidFill>
              </a:defRPr>
            </a:lvl5pPr>
          </a:lstStyle>
          <a:p>
            <a:pPr lvl="0"/>
            <a:r>
              <a:rPr lang="en-US" dirty="0"/>
              <a:t>Click to edit Master text styles</a:t>
            </a:r>
          </a:p>
        </p:txBody>
      </p:sp>
      <p:sp>
        <p:nvSpPr>
          <p:cNvPr id="4" name="Text Placeholder 3"/>
          <p:cNvSpPr>
            <a:spLocks noGrp="1"/>
          </p:cNvSpPr>
          <p:nvPr>
            <p:ph type="body" sz="quarter" idx="16"/>
          </p:nvPr>
        </p:nvSpPr>
        <p:spPr>
          <a:xfrm>
            <a:off x="361950" y="1263650"/>
            <a:ext cx="8229600" cy="2622550"/>
          </a:xfrm>
          <a:prstGeom prst="rect">
            <a:avLst/>
          </a:prstGeom>
        </p:spPr>
        <p:txBody>
          <a:bodyPr vert="horz"/>
          <a:lstStyle>
            <a:lvl1pPr>
              <a:defRPr sz="1399">
                <a:solidFill>
                  <a:schemeClr val="bg1"/>
                </a:solidFill>
              </a:defRPr>
            </a:lvl1pPr>
            <a:lvl2pPr>
              <a:defRPr sz="1399">
                <a:solidFill>
                  <a:schemeClr val="bg1"/>
                </a:solidFill>
              </a:defRPr>
            </a:lvl2pPr>
            <a:lvl3pPr>
              <a:defRPr sz="1399">
                <a:solidFill>
                  <a:schemeClr val="bg1"/>
                </a:solidFill>
              </a:defRPr>
            </a:lvl3pPr>
            <a:lvl4pPr marL="628084" indent="-171296">
              <a:defRPr sz="1399">
                <a:solidFill>
                  <a:schemeClr val="bg1"/>
                </a:solidFill>
              </a:defRPr>
            </a:lvl4pPr>
            <a:lvl5pPr marL="799380" indent="-171296">
              <a:defRPr sz="1399">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3"/>
          </p:nvPr>
        </p:nvSpPr>
        <p:spPr>
          <a:xfrm>
            <a:off x="5778500" y="4839481"/>
            <a:ext cx="3086100" cy="273050"/>
          </a:xfrm>
          <a:prstGeom prst="rect">
            <a:avLst/>
          </a:prstGeom>
        </p:spPr>
        <p:txBody>
          <a:bodyPr vert="horz" lIns="91440" tIns="45720" rIns="91440" bIns="45720" rtlCol="0" anchor="ctr"/>
          <a:lstStyle>
            <a:lvl1pPr algn="r">
              <a:defRPr sz="799">
                <a:solidFill>
                  <a:schemeClr val="tx2"/>
                </a:solidFill>
              </a:defRPr>
            </a:lvl1pPr>
          </a:lstStyle>
          <a:p>
            <a:endParaRPr lang="en-US" dirty="0"/>
          </a:p>
        </p:txBody>
      </p:sp>
    </p:spTree>
    <p:extLst>
      <p:ext uri="{BB962C8B-B14F-4D97-AF65-F5344CB8AC3E}">
        <p14:creationId xmlns:p14="http://schemas.microsoft.com/office/powerpoint/2010/main" val="233866784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20" name="Picture Placeholder 19">
            <a:extLst>
              <a:ext uri="{FF2B5EF4-FFF2-40B4-BE49-F238E27FC236}">
                <a16:creationId xmlns:a16="http://schemas.microsoft.com/office/drawing/2014/main" id="{42021345-5ED3-23AA-889F-312CC045F7EA}"/>
              </a:ext>
            </a:extLst>
          </p:cNvPr>
          <p:cNvSpPr>
            <a:spLocks noGrp="1"/>
          </p:cNvSpPr>
          <p:nvPr>
            <p:ph type="pic" sz="quarter" idx="16"/>
          </p:nvPr>
        </p:nvSpPr>
        <p:spPr>
          <a:xfrm>
            <a:off x="-14600" y="-47065"/>
            <a:ext cx="9180322" cy="5227451"/>
          </a:xfrm>
          <a:custGeom>
            <a:avLst/>
            <a:gdLst>
              <a:gd name="connsiteX0" fmla="*/ 0 w 9158600"/>
              <a:gd name="connsiteY0" fmla="*/ 0 h 5148263"/>
              <a:gd name="connsiteX1" fmla="*/ 8300539 w 9158600"/>
              <a:gd name="connsiteY1" fmla="*/ 0 h 5148263"/>
              <a:gd name="connsiteX2" fmla="*/ 9158600 w 9158600"/>
              <a:gd name="connsiteY2" fmla="*/ 858061 h 5148263"/>
              <a:gd name="connsiteX3" fmla="*/ 9158600 w 9158600"/>
              <a:gd name="connsiteY3" fmla="*/ 5148263 h 5148263"/>
              <a:gd name="connsiteX4" fmla="*/ 0 w 9158600"/>
              <a:gd name="connsiteY4" fmla="*/ 5148263 h 5148263"/>
              <a:gd name="connsiteX5" fmla="*/ 0 w 9158600"/>
              <a:gd name="connsiteY5" fmla="*/ 0 h 5148263"/>
              <a:gd name="connsiteX0" fmla="*/ 0 w 9158600"/>
              <a:gd name="connsiteY0" fmla="*/ 2787650 h 5148263"/>
              <a:gd name="connsiteX1" fmla="*/ 8300539 w 9158600"/>
              <a:gd name="connsiteY1" fmla="*/ 0 h 5148263"/>
              <a:gd name="connsiteX2" fmla="*/ 9158600 w 9158600"/>
              <a:gd name="connsiteY2" fmla="*/ 858061 h 5148263"/>
              <a:gd name="connsiteX3" fmla="*/ 9158600 w 9158600"/>
              <a:gd name="connsiteY3" fmla="*/ 5148263 h 5148263"/>
              <a:gd name="connsiteX4" fmla="*/ 0 w 9158600"/>
              <a:gd name="connsiteY4" fmla="*/ 5148263 h 5148263"/>
              <a:gd name="connsiteX5" fmla="*/ 0 w 9158600"/>
              <a:gd name="connsiteY5" fmla="*/ 2787650 h 5148263"/>
              <a:gd name="connsiteX0" fmla="*/ 0 w 9158600"/>
              <a:gd name="connsiteY0" fmla="*/ 2787650 h 5148263"/>
              <a:gd name="connsiteX1" fmla="*/ 2515689 w 9158600"/>
              <a:gd name="connsiteY1" fmla="*/ 0 h 5148263"/>
              <a:gd name="connsiteX2" fmla="*/ 9158600 w 9158600"/>
              <a:gd name="connsiteY2" fmla="*/ 858061 h 5148263"/>
              <a:gd name="connsiteX3" fmla="*/ 9158600 w 9158600"/>
              <a:gd name="connsiteY3" fmla="*/ 5148263 h 5148263"/>
              <a:gd name="connsiteX4" fmla="*/ 0 w 9158600"/>
              <a:gd name="connsiteY4" fmla="*/ 5148263 h 5148263"/>
              <a:gd name="connsiteX5" fmla="*/ 0 w 9158600"/>
              <a:gd name="connsiteY5" fmla="*/ 2787650 h 5148263"/>
              <a:gd name="connsiteX0" fmla="*/ 0 w 9177650"/>
              <a:gd name="connsiteY0" fmla="*/ 2787650 h 5148263"/>
              <a:gd name="connsiteX1" fmla="*/ 2515689 w 9177650"/>
              <a:gd name="connsiteY1" fmla="*/ 0 h 5148263"/>
              <a:gd name="connsiteX2" fmla="*/ 9177650 w 9177650"/>
              <a:gd name="connsiteY2" fmla="*/ 13511 h 5148263"/>
              <a:gd name="connsiteX3" fmla="*/ 9158600 w 9177650"/>
              <a:gd name="connsiteY3" fmla="*/ 5148263 h 5148263"/>
              <a:gd name="connsiteX4" fmla="*/ 0 w 9177650"/>
              <a:gd name="connsiteY4" fmla="*/ 5148263 h 5148263"/>
              <a:gd name="connsiteX5" fmla="*/ 0 w 9177650"/>
              <a:gd name="connsiteY5" fmla="*/ 2787650 h 5148263"/>
              <a:gd name="connsiteX0" fmla="*/ 0 w 9177650"/>
              <a:gd name="connsiteY0" fmla="*/ 2787650 h 5173663"/>
              <a:gd name="connsiteX1" fmla="*/ 2515689 w 9177650"/>
              <a:gd name="connsiteY1" fmla="*/ 0 h 5173663"/>
              <a:gd name="connsiteX2" fmla="*/ 9177650 w 9177650"/>
              <a:gd name="connsiteY2" fmla="*/ 13511 h 5173663"/>
              <a:gd name="connsiteX3" fmla="*/ 9152250 w 9177650"/>
              <a:gd name="connsiteY3" fmla="*/ 5173663 h 5173663"/>
              <a:gd name="connsiteX4" fmla="*/ 0 w 9177650"/>
              <a:gd name="connsiteY4" fmla="*/ 5148263 h 5173663"/>
              <a:gd name="connsiteX5" fmla="*/ 0 w 9177650"/>
              <a:gd name="connsiteY5" fmla="*/ 2787650 h 5173663"/>
              <a:gd name="connsiteX0" fmla="*/ 0 w 9177650"/>
              <a:gd name="connsiteY0" fmla="*/ 2787650 h 5180326"/>
              <a:gd name="connsiteX1" fmla="*/ 2515689 w 9177650"/>
              <a:gd name="connsiteY1" fmla="*/ 0 h 5180326"/>
              <a:gd name="connsiteX2" fmla="*/ 9177650 w 9177650"/>
              <a:gd name="connsiteY2" fmla="*/ 13511 h 5180326"/>
              <a:gd name="connsiteX3" fmla="*/ 9172421 w 9177650"/>
              <a:gd name="connsiteY3" fmla="*/ 5180326 h 5180326"/>
              <a:gd name="connsiteX4" fmla="*/ 0 w 9177650"/>
              <a:gd name="connsiteY4" fmla="*/ 5148263 h 5180326"/>
              <a:gd name="connsiteX5" fmla="*/ 0 w 9177650"/>
              <a:gd name="connsiteY5" fmla="*/ 2787650 h 5180326"/>
              <a:gd name="connsiteX0" fmla="*/ 0 w 9180322"/>
              <a:gd name="connsiteY0" fmla="*/ 2787650 h 5180326"/>
              <a:gd name="connsiteX1" fmla="*/ 2515689 w 9180322"/>
              <a:gd name="connsiteY1" fmla="*/ 0 h 5180326"/>
              <a:gd name="connsiteX2" fmla="*/ 9177650 w 9180322"/>
              <a:gd name="connsiteY2" fmla="*/ 13511 h 5180326"/>
              <a:gd name="connsiteX3" fmla="*/ 9172421 w 9180322"/>
              <a:gd name="connsiteY3" fmla="*/ 5180326 h 5180326"/>
              <a:gd name="connsiteX4" fmla="*/ 0 w 9180322"/>
              <a:gd name="connsiteY4" fmla="*/ 5148263 h 5180326"/>
              <a:gd name="connsiteX5" fmla="*/ 0 w 9180322"/>
              <a:gd name="connsiteY5" fmla="*/ 2787650 h 5180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80322" h="5180326">
                <a:moveTo>
                  <a:pt x="0" y="2787650"/>
                </a:moveTo>
                <a:lnTo>
                  <a:pt x="2515689" y="0"/>
                </a:lnTo>
                <a:lnTo>
                  <a:pt x="9177650" y="13511"/>
                </a:lnTo>
                <a:cubicBezTo>
                  <a:pt x="9175907" y="1735783"/>
                  <a:pt x="9187611" y="3391424"/>
                  <a:pt x="9172421" y="5180326"/>
                </a:cubicBezTo>
                <a:lnTo>
                  <a:pt x="0" y="5148263"/>
                </a:lnTo>
                <a:lnTo>
                  <a:pt x="0" y="2787650"/>
                </a:lnTo>
                <a:close/>
              </a:path>
            </a:pathLst>
          </a:custGeom>
          <a:ln>
            <a:noFill/>
          </a:ln>
        </p:spPr>
        <p:txBody>
          <a:bodyPr/>
          <a:lstStyle>
            <a:lvl1pPr marL="0" indent="0" algn="r">
              <a:buNone/>
              <a:defRPr sz="1400"/>
            </a:lvl1pPr>
          </a:lstStyle>
          <a:p>
            <a:endParaRPr lang="en-US" dirty="0"/>
          </a:p>
        </p:txBody>
      </p:sp>
      <p:sp>
        <p:nvSpPr>
          <p:cNvPr id="11" name="Title Placeholder 1">
            <a:extLst>
              <a:ext uri="{FF2B5EF4-FFF2-40B4-BE49-F238E27FC236}">
                <a16:creationId xmlns:a16="http://schemas.microsoft.com/office/drawing/2014/main" id="{BCC5618F-F2ED-6DEB-0BD8-A15C80397A0A}"/>
              </a:ext>
            </a:extLst>
          </p:cNvPr>
          <p:cNvSpPr>
            <a:spLocks noGrp="1"/>
          </p:cNvSpPr>
          <p:nvPr>
            <p:ph type="title" hasCustomPrompt="1"/>
          </p:nvPr>
        </p:nvSpPr>
        <p:spPr>
          <a:xfrm>
            <a:off x="1879600" y="2370300"/>
            <a:ext cx="6343650" cy="978729"/>
          </a:xfrm>
          <a:prstGeom prst="rect">
            <a:avLst/>
          </a:prstGeom>
        </p:spPr>
        <p:txBody>
          <a:bodyPr vert="horz" wrap="square" lIns="91440" tIns="45720" rIns="91440" bIns="45720" rtlCol="0" anchor="b" anchorCtr="0">
            <a:spAutoFit/>
          </a:bodyPr>
          <a:lstStyle>
            <a:lvl1pPr>
              <a:defRPr sz="3200" b="0" cap="none">
                <a:solidFill>
                  <a:srgbClr val="FFFFFF"/>
                </a:solidFill>
              </a:defRPr>
            </a:lvl1pPr>
          </a:lstStyle>
          <a:p>
            <a:r>
              <a:rPr lang="en-US" dirty="0"/>
              <a:t>Click to Add Your </a:t>
            </a:r>
            <a:br>
              <a:rPr lang="en-US" dirty="0"/>
            </a:br>
            <a:r>
              <a:rPr lang="en-US" dirty="0"/>
              <a:t>Title Here</a:t>
            </a:r>
          </a:p>
        </p:txBody>
      </p:sp>
      <p:sp>
        <p:nvSpPr>
          <p:cNvPr id="12" name="Text Placeholder 2">
            <a:extLst>
              <a:ext uri="{FF2B5EF4-FFF2-40B4-BE49-F238E27FC236}">
                <a16:creationId xmlns:a16="http://schemas.microsoft.com/office/drawing/2014/main" id="{D18A7D90-A140-B358-477B-008CE11FCBAC}"/>
              </a:ext>
            </a:extLst>
          </p:cNvPr>
          <p:cNvSpPr>
            <a:spLocks noGrp="1"/>
          </p:cNvSpPr>
          <p:nvPr>
            <p:ph type="body" sz="quarter" idx="15" hasCustomPrompt="1"/>
          </p:nvPr>
        </p:nvSpPr>
        <p:spPr>
          <a:xfrm>
            <a:off x="1879600" y="3325514"/>
            <a:ext cx="6343650" cy="419251"/>
          </a:xfrm>
          <a:prstGeom prst="rect">
            <a:avLst/>
          </a:prstGeom>
        </p:spPr>
        <p:txBody>
          <a:bodyPr>
            <a:noAutofit/>
          </a:bodyPr>
          <a:lstStyle>
            <a:lvl1pPr marL="0" indent="0">
              <a:buNone/>
              <a:defRPr sz="1400" b="1">
                <a:solidFill>
                  <a:schemeClr val="accent4"/>
                </a:solidFill>
              </a:defRPr>
            </a:lvl1pPr>
            <a:lvl2pPr marL="171292" indent="0">
              <a:buNone/>
              <a:defRPr sz="1499">
                <a:solidFill>
                  <a:schemeClr val="tx2"/>
                </a:solidFill>
              </a:defRPr>
            </a:lvl2pPr>
            <a:lvl3pPr marL="285486" indent="0">
              <a:buNone/>
              <a:defRPr sz="1499">
                <a:solidFill>
                  <a:schemeClr val="tx2"/>
                </a:solidFill>
              </a:defRPr>
            </a:lvl3pPr>
            <a:lvl4pPr marL="1370331" indent="0">
              <a:buNone/>
              <a:defRPr sz="1499">
                <a:solidFill>
                  <a:schemeClr val="tx2"/>
                </a:solidFill>
              </a:defRPr>
            </a:lvl4pPr>
            <a:lvl5pPr marL="1827108" indent="0">
              <a:buNone/>
              <a:defRPr sz="1499">
                <a:solidFill>
                  <a:schemeClr val="tx2"/>
                </a:solidFill>
              </a:defRPr>
            </a:lvl5pPr>
          </a:lstStyle>
          <a:p>
            <a:pPr lvl="0"/>
            <a:r>
              <a:rPr lang="en-US" dirty="0"/>
              <a:t>CLICK TO EDIT MASTER TEXT STYLES</a:t>
            </a:r>
          </a:p>
        </p:txBody>
      </p:sp>
    </p:spTree>
    <p:extLst>
      <p:ext uri="{BB962C8B-B14F-4D97-AF65-F5344CB8AC3E}">
        <p14:creationId xmlns:p14="http://schemas.microsoft.com/office/powerpoint/2010/main" val="226380675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itle Slide - Water 1">
  <p:cSld name="Title Slide - Water 1">
    <p:bg>
      <p:bgPr>
        <a:solidFill>
          <a:srgbClr val="FFFFFF"/>
        </a:solidFill>
        <a:effectLst/>
      </p:bgPr>
    </p:bg>
    <p:spTree>
      <p:nvGrpSpPr>
        <p:cNvPr id="1" name="Shape 11"/>
        <p:cNvGrpSpPr/>
        <p:nvPr/>
      </p:nvGrpSpPr>
      <p:grpSpPr>
        <a:xfrm>
          <a:off x="0" y="0"/>
          <a:ext cx="0" cy="0"/>
          <a:chOff x="0" y="0"/>
          <a:chExt cx="0" cy="0"/>
        </a:xfrm>
      </p:grpSpPr>
      <p:sp>
        <p:nvSpPr>
          <p:cNvPr id="12" name="Google Shape;12;p32"/>
          <p:cNvSpPr txBox="1">
            <a:spLocks noGrp="1"/>
          </p:cNvSpPr>
          <p:nvPr>
            <p:ph type="ctrTitle"/>
          </p:nvPr>
        </p:nvSpPr>
        <p:spPr>
          <a:xfrm>
            <a:off x="571500" y="2954773"/>
            <a:ext cx="7366000" cy="503168"/>
          </a:xfrm>
          <a:prstGeom prst="rect">
            <a:avLst/>
          </a:prstGeom>
          <a:noFill/>
          <a:ln>
            <a:noFill/>
          </a:ln>
        </p:spPr>
        <p:txBody>
          <a:bodyPr spcFirstLastPara="1" wrap="square" lIns="91425" tIns="45700" rIns="91425" bIns="45700" anchor="t" anchorCtr="0">
            <a:spAutoFit/>
          </a:bodyPr>
          <a:lstStyle>
            <a:lvl1pPr marR="0" lvl="0" algn="l" rtl="0">
              <a:lnSpc>
                <a:spcPct val="100000"/>
              </a:lnSpc>
              <a:spcBef>
                <a:spcPts val="0"/>
              </a:spcBef>
              <a:spcAft>
                <a:spcPts val="0"/>
              </a:spcAft>
              <a:buClr>
                <a:srgbClr val="FFFFFF"/>
              </a:buClr>
              <a:buSzPts val="3200"/>
              <a:buFont typeface="Arial"/>
              <a:buNone/>
              <a:defRPr sz="3200" b="1" i="0" u="none" strike="noStrike" cap="none">
                <a:solidFill>
                  <a:srgbClr val="FFFFFF"/>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3" name="Google Shape;13;p32"/>
          <p:cNvSpPr txBox="1">
            <a:spLocks noGrp="1"/>
          </p:cNvSpPr>
          <p:nvPr>
            <p:ph type="body" idx="1"/>
          </p:nvPr>
        </p:nvSpPr>
        <p:spPr>
          <a:xfrm>
            <a:off x="571500" y="4172503"/>
            <a:ext cx="6286500" cy="308062"/>
          </a:xfrm>
          <a:prstGeom prst="rect">
            <a:avLst/>
          </a:prstGeom>
          <a:noFill/>
          <a:ln>
            <a:noFill/>
          </a:ln>
        </p:spPr>
        <p:txBody>
          <a:bodyPr spcFirstLastPara="1" wrap="square" lIns="91425" tIns="45700" rIns="91425" bIns="45700" anchor="t" anchorCtr="0">
            <a:spAutoFit/>
          </a:bodyPr>
          <a:lstStyle>
            <a:lvl1pPr marL="457200" marR="0" lvl="0" indent="-228600" algn="l" rtl="0">
              <a:spcBef>
                <a:spcPts val="280"/>
              </a:spcBef>
              <a:spcAft>
                <a:spcPts val="0"/>
              </a:spcAft>
              <a:buClr>
                <a:srgbClr val="B5BDBE"/>
              </a:buClr>
              <a:buSzPts val="1400"/>
              <a:buFont typeface="Arial"/>
              <a:buNone/>
              <a:defRPr sz="1400" b="1" i="0" u="none" strike="noStrike" cap="none">
                <a:solidFill>
                  <a:srgbClr val="B5BDBE"/>
                </a:solidFill>
                <a:latin typeface="Arial"/>
                <a:ea typeface="Arial"/>
                <a:cs typeface="Arial"/>
                <a:sym typeface="Arial"/>
              </a:defRPr>
            </a:lvl1pPr>
            <a:lvl2pPr marL="914400" marR="0" lvl="1" indent="-406400" algn="l" rtl="0">
              <a:spcBef>
                <a:spcPts val="560"/>
              </a:spcBef>
              <a:spcAft>
                <a:spcPts val="0"/>
              </a:spcAft>
              <a:buClr>
                <a:schemeClr val="dk1"/>
              </a:buClr>
              <a:buSzPts val="2800"/>
              <a:buFont typeface="Arial"/>
              <a:buChar char="–"/>
              <a:defRPr sz="2800" b="0" i="0" u="none" strike="noStrike" cap="none">
                <a:solidFill>
                  <a:schemeClr val="dk1"/>
                </a:solidFill>
                <a:latin typeface="Arial"/>
                <a:ea typeface="Arial"/>
                <a:cs typeface="Arial"/>
                <a:sym typeface="Arial"/>
              </a:defRPr>
            </a:lvl2pPr>
            <a:lvl3pPr marL="1371600" marR="0" lvl="2" indent="-381000" algn="l" rtl="0">
              <a:spcBef>
                <a:spcPts val="48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3pPr>
            <a:lvl4pPr marL="1828800" marR="0" lvl="3"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4pPr>
            <a:lvl5pPr marL="2286000" marR="0" lvl="4"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14" name="Google Shape;14;p32"/>
          <p:cNvSpPr txBox="1">
            <a:spLocks noGrp="1"/>
          </p:cNvSpPr>
          <p:nvPr>
            <p:ph type="body" idx="2"/>
          </p:nvPr>
        </p:nvSpPr>
        <p:spPr>
          <a:xfrm>
            <a:off x="571500" y="4415850"/>
            <a:ext cx="6286500" cy="308062"/>
          </a:xfrm>
          <a:prstGeom prst="rect">
            <a:avLst/>
          </a:prstGeom>
          <a:noFill/>
          <a:ln>
            <a:noFill/>
          </a:ln>
        </p:spPr>
        <p:txBody>
          <a:bodyPr spcFirstLastPara="1" wrap="square" lIns="91425" tIns="45700" rIns="91425" bIns="45700" anchor="t" anchorCtr="0">
            <a:spAutoFit/>
          </a:bodyPr>
          <a:lstStyle>
            <a:lvl1pPr marL="457200" marR="0" lvl="0" indent="-228600" algn="l" rtl="0">
              <a:spcBef>
                <a:spcPts val="280"/>
              </a:spcBef>
              <a:spcAft>
                <a:spcPts val="0"/>
              </a:spcAft>
              <a:buClr>
                <a:srgbClr val="B5BDBE"/>
              </a:buClr>
              <a:buSzPts val="1400"/>
              <a:buFont typeface="Arial"/>
              <a:buNone/>
              <a:defRPr sz="1400" b="0" i="0" u="none" strike="noStrike" cap="none">
                <a:solidFill>
                  <a:srgbClr val="B5BDBE"/>
                </a:solidFill>
                <a:latin typeface="Arial"/>
                <a:ea typeface="Arial"/>
                <a:cs typeface="Arial"/>
                <a:sym typeface="Arial"/>
              </a:defRPr>
            </a:lvl1pPr>
            <a:lvl2pPr marL="914400" marR="0" lvl="1" indent="-406400" algn="l" rtl="0">
              <a:spcBef>
                <a:spcPts val="560"/>
              </a:spcBef>
              <a:spcAft>
                <a:spcPts val="0"/>
              </a:spcAft>
              <a:buClr>
                <a:schemeClr val="dk1"/>
              </a:buClr>
              <a:buSzPts val="2800"/>
              <a:buFont typeface="Arial"/>
              <a:buChar char="–"/>
              <a:defRPr sz="2800" b="0" i="0" u="none" strike="noStrike" cap="none">
                <a:solidFill>
                  <a:schemeClr val="dk1"/>
                </a:solidFill>
                <a:latin typeface="Arial"/>
                <a:ea typeface="Arial"/>
                <a:cs typeface="Arial"/>
                <a:sym typeface="Arial"/>
              </a:defRPr>
            </a:lvl2pPr>
            <a:lvl3pPr marL="1371600" marR="0" lvl="2" indent="-381000" algn="l" rtl="0">
              <a:spcBef>
                <a:spcPts val="48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3pPr>
            <a:lvl4pPr marL="1828800" marR="0" lvl="3"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4pPr>
            <a:lvl5pPr marL="2286000" marR="0" lvl="4"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9pPr>
          </a:lstStyle>
          <a:p>
            <a:endParaRPr/>
          </a:p>
        </p:txBody>
      </p:sp>
      <p:cxnSp>
        <p:nvCxnSpPr>
          <p:cNvPr id="15" name="Google Shape;15;p32"/>
          <p:cNvCxnSpPr/>
          <p:nvPr/>
        </p:nvCxnSpPr>
        <p:spPr>
          <a:xfrm>
            <a:off x="571502" y="4051311"/>
            <a:ext cx="8004735" cy="0"/>
          </a:xfrm>
          <a:prstGeom prst="straightConnector1">
            <a:avLst/>
          </a:prstGeom>
          <a:noFill/>
          <a:ln w="9525" cap="flat" cmpd="sng">
            <a:solidFill>
              <a:schemeClr val="lt1"/>
            </a:solidFill>
            <a:prstDash val="dot"/>
            <a:round/>
            <a:headEnd type="none" w="sm" len="sm"/>
            <a:tailEnd type="none" w="sm" len="sm"/>
          </a:ln>
        </p:spPr>
      </p:cxnSp>
      <p:sp>
        <p:nvSpPr>
          <p:cNvPr id="16" name="Google Shape;16;p32"/>
          <p:cNvSpPr txBox="1">
            <a:spLocks noGrp="1"/>
          </p:cNvSpPr>
          <p:nvPr>
            <p:ph type="sldNum" idx="12"/>
          </p:nvPr>
        </p:nvSpPr>
        <p:spPr>
          <a:xfrm>
            <a:off x="8547103" y="4814579"/>
            <a:ext cx="512231" cy="253559"/>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1050" b="0" i="0" u="none" strike="noStrike" cap="none">
                <a:solidFill>
                  <a:schemeClr val="dk1"/>
                </a:solidFill>
                <a:latin typeface="Arial"/>
                <a:ea typeface="Arial"/>
                <a:cs typeface="Arial"/>
                <a:sym typeface="Arial"/>
              </a:defRPr>
            </a:lvl1pPr>
            <a:lvl2pPr marL="0" marR="0" lvl="1" indent="0" algn="l" rtl="0">
              <a:spcBef>
                <a:spcPts val="0"/>
              </a:spcBef>
              <a:buNone/>
              <a:defRPr sz="1050" b="0" i="0" u="none" strike="noStrike" cap="none">
                <a:solidFill>
                  <a:schemeClr val="dk1"/>
                </a:solidFill>
                <a:latin typeface="Arial"/>
                <a:ea typeface="Arial"/>
                <a:cs typeface="Arial"/>
                <a:sym typeface="Arial"/>
              </a:defRPr>
            </a:lvl2pPr>
            <a:lvl3pPr marL="0" marR="0" lvl="2" indent="0" algn="l" rtl="0">
              <a:spcBef>
                <a:spcPts val="0"/>
              </a:spcBef>
              <a:buNone/>
              <a:defRPr sz="1050" b="0" i="0" u="none" strike="noStrike" cap="none">
                <a:solidFill>
                  <a:schemeClr val="dk1"/>
                </a:solidFill>
                <a:latin typeface="Arial"/>
                <a:ea typeface="Arial"/>
                <a:cs typeface="Arial"/>
                <a:sym typeface="Arial"/>
              </a:defRPr>
            </a:lvl3pPr>
            <a:lvl4pPr marL="0" marR="0" lvl="3" indent="0" algn="l" rtl="0">
              <a:spcBef>
                <a:spcPts val="0"/>
              </a:spcBef>
              <a:buNone/>
              <a:defRPr sz="1050" b="0" i="0" u="none" strike="noStrike" cap="none">
                <a:solidFill>
                  <a:schemeClr val="dk1"/>
                </a:solidFill>
                <a:latin typeface="Arial"/>
                <a:ea typeface="Arial"/>
                <a:cs typeface="Arial"/>
                <a:sym typeface="Arial"/>
              </a:defRPr>
            </a:lvl4pPr>
            <a:lvl5pPr marL="0" marR="0" lvl="4" indent="0" algn="l" rtl="0">
              <a:spcBef>
                <a:spcPts val="0"/>
              </a:spcBef>
              <a:buNone/>
              <a:defRPr sz="1050" b="0" i="0" u="none" strike="noStrike" cap="none">
                <a:solidFill>
                  <a:schemeClr val="dk1"/>
                </a:solidFill>
                <a:latin typeface="Arial"/>
                <a:ea typeface="Arial"/>
                <a:cs typeface="Arial"/>
                <a:sym typeface="Arial"/>
              </a:defRPr>
            </a:lvl5pPr>
            <a:lvl6pPr marL="0" marR="0" lvl="5" indent="0" algn="l" rtl="0">
              <a:spcBef>
                <a:spcPts val="0"/>
              </a:spcBef>
              <a:buNone/>
              <a:defRPr sz="1050" b="0" i="0" u="none" strike="noStrike" cap="none">
                <a:solidFill>
                  <a:schemeClr val="dk1"/>
                </a:solidFill>
                <a:latin typeface="Arial"/>
                <a:ea typeface="Arial"/>
                <a:cs typeface="Arial"/>
                <a:sym typeface="Arial"/>
              </a:defRPr>
            </a:lvl6pPr>
            <a:lvl7pPr marL="0" marR="0" lvl="6" indent="0" algn="l" rtl="0">
              <a:spcBef>
                <a:spcPts val="0"/>
              </a:spcBef>
              <a:buNone/>
              <a:defRPr sz="1050" b="0" i="0" u="none" strike="noStrike" cap="none">
                <a:solidFill>
                  <a:schemeClr val="dk1"/>
                </a:solidFill>
                <a:latin typeface="Arial"/>
                <a:ea typeface="Arial"/>
                <a:cs typeface="Arial"/>
                <a:sym typeface="Arial"/>
              </a:defRPr>
            </a:lvl7pPr>
            <a:lvl8pPr marL="0" marR="0" lvl="7" indent="0" algn="l" rtl="0">
              <a:spcBef>
                <a:spcPts val="0"/>
              </a:spcBef>
              <a:buNone/>
              <a:defRPr sz="1050" b="0" i="0" u="none" strike="noStrike" cap="none">
                <a:solidFill>
                  <a:schemeClr val="dk1"/>
                </a:solidFill>
                <a:latin typeface="Arial"/>
                <a:ea typeface="Arial"/>
                <a:cs typeface="Arial"/>
                <a:sym typeface="Arial"/>
              </a:defRPr>
            </a:lvl8pPr>
            <a:lvl9pPr marL="0" marR="0" lvl="8" indent="0" algn="l" rtl="0">
              <a:spcBef>
                <a:spcPts val="0"/>
              </a:spcBef>
              <a:buNone/>
              <a:defRPr sz="1050" b="0" i="0" u="none" strike="noStrike" cap="none">
                <a:solidFill>
                  <a:schemeClr val="dk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863223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FFFFFE"/>
        </a:solidFill>
        <a:effectLst/>
      </p:bgPr>
    </p:bg>
    <p:spTree>
      <p:nvGrpSpPr>
        <p:cNvPr id="1" name=""/>
        <p:cNvGrpSpPr/>
        <p:nvPr/>
      </p:nvGrpSpPr>
      <p:grpSpPr>
        <a:xfrm>
          <a:off x="0" y="0"/>
          <a:ext cx="0" cy="0"/>
          <a:chOff x="0" y="0"/>
          <a:chExt cx="0" cy="0"/>
        </a:xfrm>
      </p:grpSpPr>
      <p:sp>
        <p:nvSpPr>
          <p:cNvPr id="13" name="Content Placeholder 2">
            <a:extLst>
              <a:ext uri="{FF2B5EF4-FFF2-40B4-BE49-F238E27FC236}">
                <a16:creationId xmlns:a16="http://schemas.microsoft.com/office/drawing/2014/main" id="{F77BB139-DA52-7640-8E0F-BEE14F8C3840}"/>
              </a:ext>
            </a:extLst>
          </p:cNvPr>
          <p:cNvSpPr>
            <a:spLocks noGrp="1"/>
          </p:cNvSpPr>
          <p:nvPr>
            <p:ph idx="1"/>
          </p:nvPr>
        </p:nvSpPr>
        <p:spPr>
          <a:xfrm>
            <a:off x="2597170" y="1162750"/>
            <a:ext cx="6189133" cy="2841881"/>
          </a:xfrm>
          <a:prstGeom prst="rect">
            <a:avLst/>
          </a:prstGeom>
        </p:spPr>
        <p:txBody>
          <a:bodyPr/>
          <a:lstStyle>
            <a:lvl1pPr marL="174625" indent="-174625">
              <a:buClr>
                <a:srgbClr val="E2211B"/>
              </a:buClr>
              <a:buFont typeface="System Font Regular"/>
              <a:buChar char="»"/>
              <a:tabLst/>
              <a:defRPr sz="1400">
                <a:solidFill>
                  <a:schemeClr val="tx1"/>
                </a:solidFill>
              </a:defRPr>
            </a:lvl1pPr>
          </a:lstStyle>
          <a:p>
            <a:endParaRPr lang="en-US" dirty="0"/>
          </a:p>
        </p:txBody>
      </p:sp>
      <p:sp>
        <p:nvSpPr>
          <p:cNvPr id="17" name="Title Placeholder 1">
            <a:extLst>
              <a:ext uri="{FF2B5EF4-FFF2-40B4-BE49-F238E27FC236}">
                <a16:creationId xmlns:a16="http://schemas.microsoft.com/office/drawing/2014/main" id="{C11644EC-EE84-721C-8DF2-D22C079BC9FA}"/>
              </a:ext>
            </a:extLst>
          </p:cNvPr>
          <p:cNvSpPr>
            <a:spLocks noGrp="1"/>
          </p:cNvSpPr>
          <p:nvPr>
            <p:ph type="title" hasCustomPrompt="1"/>
          </p:nvPr>
        </p:nvSpPr>
        <p:spPr>
          <a:xfrm>
            <a:off x="2597170" y="291592"/>
            <a:ext cx="6101471" cy="461345"/>
          </a:xfrm>
          <a:prstGeom prst="rect">
            <a:avLst/>
          </a:prstGeom>
        </p:spPr>
        <p:txBody>
          <a:bodyPr vert="horz" wrap="square" lIns="91440" tIns="45720" rIns="91440" bIns="45720" rtlCol="0" anchor="ctr">
            <a:spAutoFit/>
          </a:bodyPr>
          <a:lstStyle>
            <a:lvl1pPr algn="l">
              <a:defRPr sz="2400" b="0" cap="none">
                <a:solidFill>
                  <a:schemeClr val="accent1"/>
                </a:solidFill>
              </a:defRPr>
            </a:lvl1pPr>
          </a:lstStyle>
          <a:p>
            <a:r>
              <a:rPr lang="en-US" dirty="0"/>
              <a:t>Click to Add Title</a:t>
            </a:r>
          </a:p>
        </p:txBody>
      </p:sp>
      <p:sp>
        <p:nvSpPr>
          <p:cNvPr id="18" name="Text Placeholder 2">
            <a:extLst>
              <a:ext uri="{FF2B5EF4-FFF2-40B4-BE49-F238E27FC236}">
                <a16:creationId xmlns:a16="http://schemas.microsoft.com/office/drawing/2014/main" id="{33784E96-21CC-7591-E7E6-CE5BB507949B}"/>
              </a:ext>
            </a:extLst>
          </p:cNvPr>
          <p:cNvSpPr>
            <a:spLocks noGrp="1"/>
          </p:cNvSpPr>
          <p:nvPr>
            <p:ph type="body" sz="quarter" idx="15"/>
          </p:nvPr>
        </p:nvSpPr>
        <p:spPr>
          <a:xfrm>
            <a:off x="2597170" y="622300"/>
            <a:ext cx="6101471" cy="349250"/>
          </a:xfrm>
          <a:prstGeom prst="rect">
            <a:avLst/>
          </a:prstGeom>
        </p:spPr>
        <p:txBody>
          <a:bodyPr>
            <a:noAutofit/>
          </a:bodyPr>
          <a:lstStyle>
            <a:lvl1pPr marL="0" indent="0">
              <a:buNone/>
              <a:defRPr sz="1300">
                <a:solidFill>
                  <a:schemeClr val="bg1"/>
                </a:solidFill>
              </a:defRPr>
            </a:lvl1pPr>
            <a:lvl2pPr marL="171292" indent="0">
              <a:buNone/>
              <a:defRPr sz="1499">
                <a:solidFill>
                  <a:schemeClr val="tx2"/>
                </a:solidFill>
              </a:defRPr>
            </a:lvl2pPr>
            <a:lvl3pPr marL="285486" indent="0">
              <a:buNone/>
              <a:defRPr sz="1499">
                <a:solidFill>
                  <a:schemeClr val="tx2"/>
                </a:solidFill>
              </a:defRPr>
            </a:lvl3pPr>
            <a:lvl4pPr marL="1370331" indent="0">
              <a:buNone/>
              <a:defRPr sz="1499">
                <a:solidFill>
                  <a:schemeClr val="tx2"/>
                </a:solidFill>
              </a:defRPr>
            </a:lvl4pPr>
            <a:lvl5pPr marL="1827108" indent="0">
              <a:buNone/>
              <a:defRPr sz="1499">
                <a:solidFill>
                  <a:schemeClr val="tx2"/>
                </a:solidFill>
              </a:defRPr>
            </a:lvl5pPr>
          </a:lstStyle>
          <a:p>
            <a:pPr lvl="0"/>
            <a:r>
              <a:rPr lang="en-US" dirty="0"/>
              <a:t>Click to edit Master text styles</a:t>
            </a:r>
          </a:p>
        </p:txBody>
      </p:sp>
      <p:grpSp>
        <p:nvGrpSpPr>
          <p:cNvPr id="2" name="Group 1">
            <a:extLst>
              <a:ext uri="{FF2B5EF4-FFF2-40B4-BE49-F238E27FC236}">
                <a16:creationId xmlns:a16="http://schemas.microsoft.com/office/drawing/2014/main" id="{3FDA8A86-31E7-2B7A-1235-220383EAC613}"/>
              </a:ext>
            </a:extLst>
          </p:cNvPr>
          <p:cNvGrpSpPr/>
          <p:nvPr userDrawn="1"/>
        </p:nvGrpSpPr>
        <p:grpSpPr>
          <a:xfrm>
            <a:off x="2452686" y="4761712"/>
            <a:ext cx="6699594" cy="192599"/>
            <a:chOff x="2362536" y="4468488"/>
            <a:chExt cx="6699594" cy="218102"/>
          </a:xfrm>
        </p:grpSpPr>
        <p:sp>
          <p:nvSpPr>
            <p:cNvPr id="3" name="Right Triangle 14">
              <a:extLst>
                <a:ext uri="{FF2B5EF4-FFF2-40B4-BE49-F238E27FC236}">
                  <a16:creationId xmlns:a16="http://schemas.microsoft.com/office/drawing/2014/main" id="{3FA426CC-62C5-B78B-7E0F-400127030ECF}"/>
                </a:ext>
              </a:extLst>
            </p:cNvPr>
            <p:cNvSpPr/>
            <p:nvPr userDrawn="1"/>
          </p:nvSpPr>
          <p:spPr>
            <a:xfrm flipH="1">
              <a:off x="8867979" y="4468488"/>
              <a:ext cx="194151" cy="216293"/>
            </a:xfrm>
            <a:custGeom>
              <a:avLst/>
              <a:gdLst>
                <a:gd name="connsiteX0" fmla="*/ 0 w 1959428"/>
                <a:gd name="connsiteY0" fmla="*/ 1815679 h 1815679"/>
                <a:gd name="connsiteX1" fmla="*/ 0 w 1959428"/>
                <a:gd name="connsiteY1" fmla="*/ 0 h 1815679"/>
                <a:gd name="connsiteX2" fmla="*/ 1959428 w 1959428"/>
                <a:gd name="connsiteY2" fmla="*/ 1815679 h 1815679"/>
                <a:gd name="connsiteX3" fmla="*/ 0 w 1959428"/>
                <a:gd name="connsiteY3" fmla="*/ 1815679 h 1815679"/>
                <a:gd name="connsiteX0" fmla="*/ 0 w 1959428"/>
                <a:gd name="connsiteY0" fmla="*/ 2173854 h 2173854"/>
                <a:gd name="connsiteX1" fmla="*/ 8428 w 1959428"/>
                <a:gd name="connsiteY1" fmla="*/ 0 h 2173854"/>
                <a:gd name="connsiteX2" fmla="*/ 1959428 w 1959428"/>
                <a:gd name="connsiteY2" fmla="*/ 2173854 h 2173854"/>
                <a:gd name="connsiteX3" fmla="*/ 0 w 1959428"/>
                <a:gd name="connsiteY3" fmla="*/ 2173854 h 2173854"/>
                <a:gd name="connsiteX0" fmla="*/ 0 w 1959428"/>
                <a:gd name="connsiteY0" fmla="*/ 1566147 h 2173854"/>
                <a:gd name="connsiteX1" fmla="*/ 8428 w 1959428"/>
                <a:gd name="connsiteY1" fmla="*/ 0 h 2173854"/>
                <a:gd name="connsiteX2" fmla="*/ 1959428 w 1959428"/>
                <a:gd name="connsiteY2" fmla="*/ 2173854 h 2173854"/>
                <a:gd name="connsiteX3" fmla="*/ 0 w 1959428"/>
                <a:gd name="connsiteY3" fmla="*/ 1566147 h 2173854"/>
                <a:gd name="connsiteX0" fmla="*/ 0 w 1419875"/>
                <a:gd name="connsiteY0" fmla="*/ 1566147 h 1588865"/>
                <a:gd name="connsiteX1" fmla="*/ 8428 w 1419875"/>
                <a:gd name="connsiteY1" fmla="*/ 0 h 1588865"/>
                <a:gd name="connsiteX2" fmla="*/ 1419875 w 1419875"/>
                <a:gd name="connsiteY2" fmla="*/ 1588865 h 1588865"/>
                <a:gd name="connsiteX3" fmla="*/ 0 w 1419875"/>
                <a:gd name="connsiteY3" fmla="*/ 1566147 h 1588865"/>
                <a:gd name="connsiteX0" fmla="*/ 0 w 1426225"/>
                <a:gd name="connsiteY0" fmla="*/ 1582022 h 1588865"/>
                <a:gd name="connsiteX1" fmla="*/ 14778 w 1426225"/>
                <a:gd name="connsiteY1" fmla="*/ 0 h 1588865"/>
                <a:gd name="connsiteX2" fmla="*/ 1426225 w 1426225"/>
                <a:gd name="connsiteY2" fmla="*/ 1588865 h 1588865"/>
                <a:gd name="connsiteX3" fmla="*/ 0 w 1426225"/>
                <a:gd name="connsiteY3" fmla="*/ 1582022 h 1588865"/>
              </a:gdLst>
              <a:ahLst/>
              <a:cxnLst>
                <a:cxn ang="0">
                  <a:pos x="connsiteX0" y="connsiteY0"/>
                </a:cxn>
                <a:cxn ang="0">
                  <a:pos x="connsiteX1" y="connsiteY1"/>
                </a:cxn>
                <a:cxn ang="0">
                  <a:pos x="connsiteX2" y="connsiteY2"/>
                </a:cxn>
                <a:cxn ang="0">
                  <a:pos x="connsiteX3" y="connsiteY3"/>
                </a:cxn>
              </a:cxnLst>
              <a:rect l="l" t="t" r="r" b="b"/>
              <a:pathLst>
                <a:path w="1426225" h="1588865">
                  <a:moveTo>
                    <a:pt x="0" y="1582022"/>
                  </a:moveTo>
                  <a:cubicBezTo>
                    <a:pt x="2809" y="857404"/>
                    <a:pt x="11969" y="724618"/>
                    <a:pt x="14778" y="0"/>
                  </a:cubicBezTo>
                  <a:lnTo>
                    <a:pt x="1426225" y="1588865"/>
                  </a:lnTo>
                  <a:lnTo>
                    <a:pt x="0" y="1582022"/>
                  </a:ln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a:extLst>
                <a:ext uri="{FF2B5EF4-FFF2-40B4-BE49-F238E27FC236}">
                  <a16:creationId xmlns:a16="http://schemas.microsoft.com/office/drawing/2014/main" id="{15E0B5FB-525B-E336-723D-DE3D4BD99D69}"/>
                </a:ext>
              </a:extLst>
            </p:cNvPr>
            <p:cNvSpPr/>
            <p:nvPr userDrawn="1"/>
          </p:nvSpPr>
          <p:spPr>
            <a:xfrm>
              <a:off x="2362536" y="4475397"/>
              <a:ext cx="6625889" cy="211193"/>
            </a:xfrm>
            <a:custGeom>
              <a:avLst/>
              <a:gdLst>
                <a:gd name="connsiteX0" fmla="*/ 0 w 8791575"/>
                <a:gd name="connsiteY0" fmla="*/ 0 h 271335"/>
                <a:gd name="connsiteX1" fmla="*/ 8791575 w 8791575"/>
                <a:gd name="connsiteY1" fmla="*/ 0 h 271335"/>
                <a:gd name="connsiteX2" fmla="*/ 8791575 w 8791575"/>
                <a:gd name="connsiteY2" fmla="*/ 271335 h 271335"/>
                <a:gd name="connsiteX3" fmla="*/ 0 w 8791575"/>
                <a:gd name="connsiteY3" fmla="*/ 271335 h 271335"/>
                <a:gd name="connsiteX4" fmla="*/ 0 w 8791575"/>
                <a:gd name="connsiteY4" fmla="*/ 0 h 271335"/>
                <a:gd name="connsiteX0" fmla="*/ 0 w 9010650"/>
                <a:gd name="connsiteY0" fmla="*/ 0 h 271335"/>
                <a:gd name="connsiteX1" fmla="*/ 9010650 w 9010650"/>
                <a:gd name="connsiteY1" fmla="*/ 9525 h 271335"/>
                <a:gd name="connsiteX2" fmla="*/ 8791575 w 9010650"/>
                <a:gd name="connsiteY2" fmla="*/ 271335 h 271335"/>
                <a:gd name="connsiteX3" fmla="*/ 0 w 9010650"/>
                <a:gd name="connsiteY3" fmla="*/ 271335 h 271335"/>
                <a:gd name="connsiteX4" fmla="*/ 0 w 9010650"/>
                <a:gd name="connsiteY4" fmla="*/ 0 h 271335"/>
                <a:gd name="connsiteX0" fmla="*/ 0 w 9010650"/>
                <a:gd name="connsiteY0" fmla="*/ 0 h 274510"/>
                <a:gd name="connsiteX1" fmla="*/ 9010650 w 9010650"/>
                <a:gd name="connsiteY1" fmla="*/ 9525 h 274510"/>
                <a:gd name="connsiteX2" fmla="*/ 8769350 w 9010650"/>
                <a:gd name="connsiteY2" fmla="*/ 274510 h 274510"/>
                <a:gd name="connsiteX3" fmla="*/ 0 w 9010650"/>
                <a:gd name="connsiteY3" fmla="*/ 271335 h 274510"/>
                <a:gd name="connsiteX4" fmla="*/ 0 w 9010650"/>
                <a:gd name="connsiteY4" fmla="*/ 0 h 274510"/>
                <a:gd name="connsiteX0" fmla="*/ 0 w 8988887"/>
                <a:gd name="connsiteY0" fmla="*/ 0 h 274510"/>
                <a:gd name="connsiteX1" fmla="*/ 8988887 w 8988887"/>
                <a:gd name="connsiteY1" fmla="*/ 13120 h 274510"/>
                <a:gd name="connsiteX2" fmla="*/ 8769350 w 8988887"/>
                <a:gd name="connsiteY2" fmla="*/ 274510 h 274510"/>
                <a:gd name="connsiteX3" fmla="*/ 0 w 8988887"/>
                <a:gd name="connsiteY3" fmla="*/ 271335 h 274510"/>
                <a:gd name="connsiteX4" fmla="*/ 0 w 8988887"/>
                <a:gd name="connsiteY4" fmla="*/ 0 h 274510"/>
                <a:gd name="connsiteX0" fmla="*/ 0 w 8988887"/>
                <a:gd name="connsiteY0" fmla="*/ 0 h 271335"/>
                <a:gd name="connsiteX1" fmla="*/ 8988887 w 8988887"/>
                <a:gd name="connsiteY1" fmla="*/ 13120 h 271335"/>
                <a:gd name="connsiteX2" fmla="*/ 8809766 w 8988887"/>
                <a:gd name="connsiteY2" fmla="*/ 265271 h 271335"/>
                <a:gd name="connsiteX3" fmla="*/ 0 w 8988887"/>
                <a:gd name="connsiteY3" fmla="*/ 271335 h 271335"/>
                <a:gd name="connsiteX4" fmla="*/ 0 w 8988887"/>
                <a:gd name="connsiteY4" fmla="*/ 0 h 271335"/>
                <a:gd name="connsiteX0" fmla="*/ 0 w 8988887"/>
                <a:gd name="connsiteY0" fmla="*/ 0 h 271335"/>
                <a:gd name="connsiteX1" fmla="*/ 8988887 w 8988887"/>
                <a:gd name="connsiteY1" fmla="*/ 13120 h 271335"/>
                <a:gd name="connsiteX2" fmla="*/ 8825311 w 8988887"/>
                <a:gd name="connsiteY2" fmla="*/ 265271 h 271335"/>
                <a:gd name="connsiteX3" fmla="*/ 0 w 8988887"/>
                <a:gd name="connsiteY3" fmla="*/ 271335 h 271335"/>
                <a:gd name="connsiteX4" fmla="*/ 0 w 8988887"/>
                <a:gd name="connsiteY4" fmla="*/ 0 h 271335"/>
                <a:gd name="connsiteX0" fmla="*/ 0 w 8988887"/>
                <a:gd name="connsiteY0" fmla="*/ 0 h 271335"/>
                <a:gd name="connsiteX1" fmla="*/ 8988887 w 8988887"/>
                <a:gd name="connsiteY1" fmla="*/ 13120 h 271335"/>
                <a:gd name="connsiteX2" fmla="*/ 8825311 w 8988887"/>
                <a:gd name="connsiteY2" fmla="*/ 265271 h 271335"/>
                <a:gd name="connsiteX3" fmla="*/ 0 w 8988887"/>
                <a:gd name="connsiteY3" fmla="*/ 271335 h 271335"/>
                <a:gd name="connsiteX4" fmla="*/ 0 w 8988887"/>
                <a:gd name="connsiteY4" fmla="*/ 0 h 271335"/>
                <a:gd name="connsiteX0" fmla="*/ 0 w 8988887"/>
                <a:gd name="connsiteY0" fmla="*/ 0 h 271335"/>
                <a:gd name="connsiteX1" fmla="*/ 8988887 w 8988887"/>
                <a:gd name="connsiteY1" fmla="*/ 13120 h 271335"/>
                <a:gd name="connsiteX2" fmla="*/ 8769316 w 8988887"/>
                <a:gd name="connsiteY2" fmla="*/ 265271 h 271335"/>
                <a:gd name="connsiteX3" fmla="*/ 0 w 8988887"/>
                <a:gd name="connsiteY3" fmla="*/ 271335 h 271335"/>
                <a:gd name="connsiteX4" fmla="*/ 0 w 8988887"/>
                <a:gd name="connsiteY4" fmla="*/ 0 h 271335"/>
                <a:gd name="connsiteX0" fmla="*/ 0 w 8988887"/>
                <a:gd name="connsiteY0" fmla="*/ 0 h 271335"/>
                <a:gd name="connsiteX1" fmla="*/ 8988887 w 8988887"/>
                <a:gd name="connsiteY1" fmla="*/ 13120 h 271335"/>
                <a:gd name="connsiteX2" fmla="*/ 8769316 w 8988887"/>
                <a:gd name="connsiteY2" fmla="*/ 265271 h 271335"/>
                <a:gd name="connsiteX3" fmla="*/ 0 w 8988887"/>
                <a:gd name="connsiteY3" fmla="*/ 271335 h 271335"/>
                <a:gd name="connsiteX4" fmla="*/ 0 w 8988887"/>
                <a:gd name="connsiteY4" fmla="*/ 0 h 271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88887" h="271335">
                  <a:moveTo>
                    <a:pt x="0" y="0"/>
                  </a:moveTo>
                  <a:lnTo>
                    <a:pt x="8988887" y="13120"/>
                  </a:lnTo>
                  <a:cubicBezTo>
                    <a:pt x="8934362" y="97170"/>
                    <a:pt x="8770889" y="259750"/>
                    <a:pt x="8769316" y="265271"/>
                  </a:cubicBezTo>
                  <a:lnTo>
                    <a:pt x="0" y="271335"/>
                  </a:lnTo>
                  <a:lnTo>
                    <a:pt x="0" y="0"/>
                  </a:lnTo>
                  <a:close/>
                </a:path>
              </a:pathLst>
            </a:custGeom>
            <a:gradFill>
              <a:gsLst>
                <a:gs pos="27000">
                  <a:srgbClr val="FFFFFF"/>
                </a:gs>
                <a:gs pos="56000">
                  <a:schemeClr val="tx2"/>
                </a:gs>
                <a:gs pos="76000">
                  <a:srgbClr val="222323">
                    <a:alpha val="90000"/>
                  </a:srgbClr>
                </a:gs>
              </a:gsLst>
              <a:lin ang="27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5" name="TextBox 4">
            <a:extLst>
              <a:ext uri="{FF2B5EF4-FFF2-40B4-BE49-F238E27FC236}">
                <a16:creationId xmlns:a16="http://schemas.microsoft.com/office/drawing/2014/main" id="{D780A35B-58DC-DBB6-AF3C-86B7CE683992}"/>
              </a:ext>
            </a:extLst>
          </p:cNvPr>
          <p:cNvSpPr txBox="1"/>
          <p:nvPr userDrawn="1"/>
        </p:nvSpPr>
        <p:spPr>
          <a:xfrm>
            <a:off x="3125091" y="4793933"/>
            <a:ext cx="2354782" cy="184666"/>
          </a:xfrm>
          <a:prstGeom prst="rect">
            <a:avLst/>
          </a:prstGeom>
          <a:noFill/>
        </p:spPr>
        <p:txBody>
          <a:bodyPr wrap="square" rtlCol="0">
            <a:spAutoFit/>
          </a:bodyPr>
          <a:lstStyle/>
          <a:p>
            <a:pPr algn="l"/>
            <a:r>
              <a:rPr lang="en-US" sz="600" kern="1200" dirty="0">
                <a:solidFill>
                  <a:schemeClr val="tx1">
                    <a:lumMod val="75000"/>
                  </a:schemeClr>
                </a:solidFill>
                <a:latin typeface="+mn-lt"/>
                <a:ea typeface="+mn-ea"/>
                <a:cs typeface="+mn-cs"/>
              </a:rPr>
              <a:t>©2024  ITRON CONFIDENTIAL PROPRIETARY</a:t>
            </a:r>
            <a:endParaRPr lang="en-US" sz="600" dirty="0">
              <a:solidFill>
                <a:schemeClr val="tx1">
                  <a:lumMod val="75000"/>
                </a:schemeClr>
              </a:solidFill>
            </a:endParaRPr>
          </a:p>
        </p:txBody>
      </p:sp>
      <p:sp>
        <p:nvSpPr>
          <p:cNvPr id="6" name="TextBox 5">
            <a:extLst>
              <a:ext uri="{FF2B5EF4-FFF2-40B4-BE49-F238E27FC236}">
                <a16:creationId xmlns:a16="http://schemas.microsoft.com/office/drawing/2014/main" id="{6714002D-7991-9A6E-9628-D7BD9CC171A9}"/>
              </a:ext>
            </a:extLst>
          </p:cNvPr>
          <p:cNvSpPr txBox="1"/>
          <p:nvPr userDrawn="1"/>
        </p:nvSpPr>
        <p:spPr>
          <a:xfrm>
            <a:off x="8475386" y="4753803"/>
            <a:ext cx="455782" cy="200055"/>
          </a:xfrm>
          <a:prstGeom prst="rect">
            <a:avLst/>
          </a:prstGeom>
          <a:noFill/>
        </p:spPr>
        <p:txBody>
          <a:bodyPr wrap="square" rtlCol="0">
            <a:spAutoFit/>
          </a:bodyPr>
          <a:lstStyle/>
          <a:p>
            <a:pPr algn="r"/>
            <a:fld id="{18F304E0-9389-474D-9F39-0E8F22127D84}" type="slidenum">
              <a:rPr lang="en-US" sz="700" b="1" smtClean="0">
                <a:solidFill>
                  <a:srgbClr val="FFFFFF"/>
                </a:solidFill>
              </a:rPr>
              <a:t>‹#›</a:t>
            </a:fld>
            <a:endParaRPr lang="en-US" sz="700" b="1" dirty="0">
              <a:solidFill>
                <a:srgbClr val="FFFFFF"/>
              </a:solidFill>
            </a:endParaRPr>
          </a:p>
        </p:txBody>
      </p:sp>
      <p:pic>
        <p:nvPicPr>
          <p:cNvPr id="7" name="Picture 6" descr="A red and yellow logo&#10;&#10;Description automatically generated">
            <a:extLst>
              <a:ext uri="{FF2B5EF4-FFF2-40B4-BE49-F238E27FC236}">
                <a16:creationId xmlns:a16="http://schemas.microsoft.com/office/drawing/2014/main" id="{0FCB19D5-8BF4-C7EB-B0DD-F50C45AC9B4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660894" y="4770559"/>
            <a:ext cx="399083" cy="168900"/>
          </a:xfrm>
          <a:prstGeom prst="rect">
            <a:avLst/>
          </a:prstGeom>
        </p:spPr>
      </p:pic>
      <p:sp>
        <p:nvSpPr>
          <p:cNvPr id="8" name="Footer Placeholder 5">
            <a:extLst>
              <a:ext uri="{FF2B5EF4-FFF2-40B4-BE49-F238E27FC236}">
                <a16:creationId xmlns:a16="http://schemas.microsoft.com/office/drawing/2014/main" id="{49BD0D1B-2F0B-4411-0B13-E2ECBA3CD1A6}"/>
              </a:ext>
            </a:extLst>
          </p:cNvPr>
          <p:cNvSpPr>
            <a:spLocks noGrp="1"/>
          </p:cNvSpPr>
          <p:nvPr>
            <p:ph type="ftr" sz="quarter" idx="3"/>
          </p:nvPr>
        </p:nvSpPr>
        <p:spPr>
          <a:xfrm>
            <a:off x="5627281" y="4772759"/>
            <a:ext cx="3086100" cy="168900"/>
          </a:xfrm>
          <a:prstGeom prst="rect">
            <a:avLst/>
          </a:prstGeom>
        </p:spPr>
        <p:txBody>
          <a:bodyPr vert="horz" lIns="91440" tIns="45720" rIns="91440" bIns="45720" rtlCol="0" anchor="ctr"/>
          <a:lstStyle>
            <a:lvl1pPr algn="r">
              <a:defRPr sz="700" b="1">
                <a:solidFill>
                  <a:srgbClr val="FFFFFF"/>
                </a:solidFill>
              </a:defRPr>
            </a:lvl1pPr>
          </a:lstStyle>
          <a:p>
            <a:endParaRPr lang="en-US" dirty="0"/>
          </a:p>
        </p:txBody>
      </p:sp>
      <p:sp>
        <p:nvSpPr>
          <p:cNvPr id="12" name="Picture Placeholder 11">
            <a:extLst>
              <a:ext uri="{FF2B5EF4-FFF2-40B4-BE49-F238E27FC236}">
                <a16:creationId xmlns:a16="http://schemas.microsoft.com/office/drawing/2014/main" id="{9C1B67BD-658F-6E42-B65C-76A498D1340F}"/>
              </a:ext>
            </a:extLst>
          </p:cNvPr>
          <p:cNvSpPr>
            <a:spLocks noGrp="1"/>
          </p:cNvSpPr>
          <p:nvPr>
            <p:ph type="pic" sz="quarter" idx="10" hasCustomPrompt="1"/>
          </p:nvPr>
        </p:nvSpPr>
        <p:spPr>
          <a:xfrm>
            <a:off x="0" y="0"/>
            <a:ext cx="2452687" cy="5148263"/>
          </a:xfrm>
          <a:prstGeom prst="rect">
            <a:avLst/>
          </a:prstGeom>
        </p:spPr>
        <p:txBody>
          <a:bodyPr/>
          <a:lstStyle>
            <a:lvl1pPr marL="0" indent="0">
              <a:buNone/>
              <a:defRPr sz="1400"/>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sz="1800" dirty="0"/>
              <a:t>Click to insert custom image. Refer to image folder for selections</a:t>
            </a:r>
          </a:p>
        </p:txBody>
      </p:sp>
    </p:spTree>
    <p:extLst>
      <p:ext uri="{BB962C8B-B14F-4D97-AF65-F5344CB8AC3E}">
        <p14:creationId xmlns:p14="http://schemas.microsoft.com/office/powerpoint/2010/main" val="4069994401"/>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7_Title Slide">
    <p:bg>
      <p:bgPr>
        <a:solidFill>
          <a:srgbClr val="FFFFFE"/>
        </a:solidFill>
        <a:effectLst/>
      </p:bgPr>
    </p:bg>
    <p:spTree>
      <p:nvGrpSpPr>
        <p:cNvPr id="1" name=""/>
        <p:cNvGrpSpPr/>
        <p:nvPr/>
      </p:nvGrpSpPr>
      <p:grpSpPr>
        <a:xfrm>
          <a:off x="0" y="0"/>
          <a:ext cx="0" cy="0"/>
          <a:chOff x="0" y="0"/>
          <a:chExt cx="0" cy="0"/>
        </a:xfrm>
      </p:grpSpPr>
      <p:sp>
        <p:nvSpPr>
          <p:cNvPr id="13" name="Content Placeholder 2">
            <a:extLst>
              <a:ext uri="{FF2B5EF4-FFF2-40B4-BE49-F238E27FC236}">
                <a16:creationId xmlns:a16="http://schemas.microsoft.com/office/drawing/2014/main" id="{F77BB139-DA52-7640-8E0F-BEE14F8C3840}"/>
              </a:ext>
            </a:extLst>
          </p:cNvPr>
          <p:cNvSpPr>
            <a:spLocks noGrp="1"/>
          </p:cNvSpPr>
          <p:nvPr>
            <p:ph idx="1"/>
          </p:nvPr>
        </p:nvSpPr>
        <p:spPr>
          <a:xfrm>
            <a:off x="368006" y="1162750"/>
            <a:ext cx="6189133" cy="3077357"/>
          </a:xfrm>
          <a:prstGeom prst="rect">
            <a:avLst/>
          </a:prstGeom>
        </p:spPr>
        <p:txBody>
          <a:bodyPr/>
          <a:lstStyle>
            <a:lvl1pPr marL="174625" indent="-174625">
              <a:buClr>
                <a:srgbClr val="E2211B"/>
              </a:buClr>
              <a:buFont typeface="System Font Regular"/>
              <a:buChar char="»"/>
              <a:tabLst/>
              <a:defRPr sz="1400">
                <a:solidFill>
                  <a:schemeClr val="tx1"/>
                </a:solidFill>
              </a:defRPr>
            </a:lvl1pPr>
          </a:lstStyle>
          <a:p>
            <a:endParaRPr lang="en-US" dirty="0"/>
          </a:p>
        </p:txBody>
      </p:sp>
      <p:sp>
        <p:nvSpPr>
          <p:cNvPr id="17" name="Title Placeholder 1">
            <a:extLst>
              <a:ext uri="{FF2B5EF4-FFF2-40B4-BE49-F238E27FC236}">
                <a16:creationId xmlns:a16="http://schemas.microsoft.com/office/drawing/2014/main" id="{C11644EC-EE84-721C-8DF2-D22C079BC9FA}"/>
              </a:ext>
            </a:extLst>
          </p:cNvPr>
          <p:cNvSpPr>
            <a:spLocks noGrp="1"/>
          </p:cNvSpPr>
          <p:nvPr>
            <p:ph type="title" hasCustomPrompt="1"/>
          </p:nvPr>
        </p:nvSpPr>
        <p:spPr>
          <a:xfrm>
            <a:off x="368006" y="291592"/>
            <a:ext cx="6101471" cy="461345"/>
          </a:xfrm>
          <a:prstGeom prst="rect">
            <a:avLst/>
          </a:prstGeom>
        </p:spPr>
        <p:txBody>
          <a:bodyPr vert="horz" wrap="square" lIns="91440" tIns="45720" rIns="91440" bIns="45720" rtlCol="0" anchor="ctr">
            <a:spAutoFit/>
          </a:bodyPr>
          <a:lstStyle>
            <a:lvl1pPr algn="l">
              <a:defRPr sz="2400" b="0" cap="none">
                <a:solidFill>
                  <a:schemeClr val="accent1"/>
                </a:solidFill>
              </a:defRPr>
            </a:lvl1pPr>
          </a:lstStyle>
          <a:p>
            <a:r>
              <a:rPr lang="en-US" dirty="0"/>
              <a:t>Click to Add Title</a:t>
            </a:r>
          </a:p>
        </p:txBody>
      </p:sp>
      <p:sp>
        <p:nvSpPr>
          <p:cNvPr id="18" name="Text Placeholder 2">
            <a:extLst>
              <a:ext uri="{FF2B5EF4-FFF2-40B4-BE49-F238E27FC236}">
                <a16:creationId xmlns:a16="http://schemas.microsoft.com/office/drawing/2014/main" id="{33784E96-21CC-7591-E7E6-CE5BB507949B}"/>
              </a:ext>
            </a:extLst>
          </p:cNvPr>
          <p:cNvSpPr>
            <a:spLocks noGrp="1"/>
          </p:cNvSpPr>
          <p:nvPr>
            <p:ph type="body" sz="quarter" idx="15"/>
          </p:nvPr>
        </p:nvSpPr>
        <p:spPr>
          <a:xfrm>
            <a:off x="368006" y="622300"/>
            <a:ext cx="6101471" cy="349250"/>
          </a:xfrm>
          <a:prstGeom prst="rect">
            <a:avLst/>
          </a:prstGeom>
        </p:spPr>
        <p:txBody>
          <a:bodyPr>
            <a:noAutofit/>
          </a:bodyPr>
          <a:lstStyle>
            <a:lvl1pPr marL="0" indent="0">
              <a:buNone/>
              <a:defRPr sz="1300">
                <a:solidFill>
                  <a:schemeClr val="bg1"/>
                </a:solidFill>
              </a:defRPr>
            </a:lvl1pPr>
            <a:lvl2pPr marL="171292" indent="0">
              <a:buNone/>
              <a:defRPr sz="1499">
                <a:solidFill>
                  <a:schemeClr val="tx2"/>
                </a:solidFill>
              </a:defRPr>
            </a:lvl2pPr>
            <a:lvl3pPr marL="285486" indent="0">
              <a:buNone/>
              <a:defRPr sz="1499">
                <a:solidFill>
                  <a:schemeClr val="tx2"/>
                </a:solidFill>
              </a:defRPr>
            </a:lvl3pPr>
            <a:lvl4pPr marL="1370331" indent="0">
              <a:buNone/>
              <a:defRPr sz="1499">
                <a:solidFill>
                  <a:schemeClr val="tx2"/>
                </a:solidFill>
              </a:defRPr>
            </a:lvl4pPr>
            <a:lvl5pPr marL="1827108" indent="0">
              <a:buNone/>
              <a:defRPr sz="1499">
                <a:solidFill>
                  <a:schemeClr val="tx2"/>
                </a:solidFill>
              </a:defRPr>
            </a:lvl5pPr>
          </a:lstStyle>
          <a:p>
            <a:pPr lvl="0"/>
            <a:r>
              <a:rPr lang="en-US" dirty="0"/>
              <a:t>Click to edit Master text styles</a:t>
            </a:r>
          </a:p>
        </p:txBody>
      </p:sp>
      <p:sp>
        <p:nvSpPr>
          <p:cNvPr id="12" name="Picture Placeholder 11">
            <a:extLst>
              <a:ext uri="{FF2B5EF4-FFF2-40B4-BE49-F238E27FC236}">
                <a16:creationId xmlns:a16="http://schemas.microsoft.com/office/drawing/2014/main" id="{9C1B67BD-658F-6E42-B65C-76A498D1340F}"/>
              </a:ext>
            </a:extLst>
          </p:cNvPr>
          <p:cNvSpPr>
            <a:spLocks noGrp="1"/>
          </p:cNvSpPr>
          <p:nvPr>
            <p:ph type="pic" sz="quarter" idx="10" hasCustomPrompt="1"/>
          </p:nvPr>
        </p:nvSpPr>
        <p:spPr>
          <a:xfrm>
            <a:off x="6691313" y="0"/>
            <a:ext cx="2452687" cy="5148263"/>
          </a:xfrm>
          <a:prstGeom prst="rect">
            <a:avLst/>
          </a:prstGeom>
        </p:spPr>
        <p:txBody>
          <a:bodyPr/>
          <a:lstStyle>
            <a:lvl1pPr marL="0" indent="0">
              <a:buNone/>
              <a:defRPr sz="1400"/>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sz="1800" dirty="0"/>
              <a:t>Click to insert custom image. Refer to image folder for selections</a:t>
            </a:r>
            <a:endParaRPr lang="en-US" dirty="0"/>
          </a:p>
        </p:txBody>
      </p:sp>
      <p:grpSp>
        <p:nvGrpSpPr>
          <p:cNvPr id="11" name="Group 10">
            <a:extLst>
              <a:ext uri="{FF2B5EF4-FFF2-40B4-BE49-F238E27FC236}">
                <a16:creationId xmlns:a16="http://schemas.microsoft.com/office/drawing/2014/main" id="{7FA8531A-AF93-32AE-CE00-05CE95580410}"/>
              </a:ext>
            </a:extLst>
          </p:cNvPr>
          <p:cNvGrpSpPr/>
          <p:nvPr userDrawn="1"/>
        </p:nvGrpSpPr>
        <p:grpSpPr>
          <a:xfrm>
            <a:off x="-8281" y="4761712"/>
            <a:ext cx="6699594" cy="192599"/>
            <a:chOff x="2362536" y="4468488"/>
            <a:chExt cx="6699594" cy="218102"/>
          </a:xfrm>
        </p:grpSpPr>
        <p:sp>
          <p:nvSpPr>
            <p:cNvPr id="14" name="Right Triangle 14">
              <a:extLst>
                <a:ext uri="{FF2B5EF4-FFF2-40B4-BE49-F238E27FC236}">
                  <a16:creationId xmlns:a16="http://schemas.microsoft.com/office/drawing/2014/main" id="{DCA3B186-D64A-7C1F-ED99-2EDB818D0A8E}"/>
                </a:ext>
              </a:extLst>
            </p:cNvPr>
            <p:cNvSpPr/>
            <p:nvPr userDrawn="1"/>
          </p:nvSpPr>
          <p:spPr>
            <a:xfrm flipH="1">
              <a:off x="8867979" y="4468488"/>
              <a:ext cx="194151" cy="216293"/>
            </a:xfrm>
            <a:custGeom>
              <a:avLst/>
              <a:gdLst>
                <a:gd name="connsiteX0" fmla="*/ 0 w 1959428"/>
                <a:gd name="connsiteY0" fmla="*/ 1815679 h 1815679"/>
                <a:gd name="connsiteX1" fmla="*/ 0 w 1959428"/>
                <a:gd name="connsiteY1" fmla="*/ 0 h 1815679"/>
                <a:gd name="connsiteX2" fmla="*/ 1959428 w 1959428"/>
                <a:gd name="connsiteY2" fmla="*/ 1815679 h 1815679"/>
                <a:gd name="connsiteX3" fmla="*/ 0 w 1959428"/>
                <a:gd name="connsiteY3" fmla="*/ 1815679 h 1815679"/>
                <a:gd name="connsiteX0" fmla="*/ 0 w 1959428"/>
                <a:gd name="connsiteY0" fmla="*/ 2173854 h 2173854"/>
                <a:gd name="connsiteX1" fmla="*/ 8428 w 1959428"/>
                <a:gd name="connsiteY1" fmla="*/ 0 h 2173854"/>
                <a:gd name="connsiteX2" fmla="*/ 1959428 w 1959428"/>
                <a:gd name="connsiteY2" fmla="*/ 2173854 h 2173854"/>
                <a:gd name="connsiteX3" fmla="*/ 0 w 1959428"/>
                <a:gd name="connsiteY3" fmla="*/ 2173854 h 2173854"/>
                <a:gd name="connsiteX0" fmla="*/ 0 w 1959428"/>
                <a:gd name="connsiteY0" fmla="*/ 1566147 h 2173854"/>
                <a:gd name="connsiteX1" fmla="*/ 8428 w 1959428"/>
                <a:gd name="connsiteY1" fmla="*/ 0 h 2173854"/>
                <a:gd name="connsiteX2" fmla="*/ 1959428 w 1959428"/>
                <a:gd name="connsiteY2" fmla="*/ 2173854 h 2173854"/>
                <a:gd name="connsiteX3" fmla="*/ 0 w 1959428"/>
                <a:gd name="connsiteY3" fmla="*/ 1566147 h 2173854"/>
                <a:gd name="connsiteX0" fmla="*/ 0 w 1419875"/>
                <a:gd name="connsiteY0" fmla="*/ 1566147 h 1588865"/>
                <a:gd name="connsiteX1" fmla="*/ 8428 w 1419875"/>
                <a:gd name="connsiteY1" fmla="*/ 0 h 1588865"/>
                <a:gd name="connsiteX2" fmla="*/ 1419875 w 1419875"/>
                <a:gd name="connsiteY2" fmla="*/ 1588865 h 1588865"/>
                <a:gd name="connsiteX3" fmla="*/ 0 w 1419875"/>
                <a:gd name="connsiteY3" fmla="*/ 1566147 h 1588865"/>
                <a:gd name="connsiteX0" fmla="*/ 0 w 1426225"/>
                <a:gd name="connsiteY0" fmla="*/ 1582022 h 1588865"/>
                <a:gd name="connsiteX1" fmla="*/ 14778 w 1426225"/>
                <a:gd name="connsiteY1" fmla="*/ 0 h 1588865"/>
                <a:gd name="connsiteX2" fmla="*/ 1426225 w 1426225"/>
                <a:gd name="connsiteY2" fmla="*/ 1588865 h 1588865"/>
                <a:gd name="connsiteX3" fmla="*/ 0 w 1426225"/>
                <a:gd name="connsiteY3" fmla="*/ 1582022 h 1588865"/>
              </a:gdLst>
              <a:ahLst/>
              <a:cxnLst>
                <a:cxn ang="0">
                  <a:pos x="connsiteX0" y="connsiteY0"/>
                </a:cxn>
                <a:cxn ang="0">
                  <a:pos x="connsiteX1" y="connsiteY1"/>
                </a:cxn>
                <a:cxn ang="0">
                  <a:pos x="connsiteX2" y="connsiteY2"/>
                </a:cxn>
                <a:cxn ang="0">
                  <a:pos x="connsiteX3" y="connsiteY3"/>
                </a:cxn>
              </a:cxnLst>
              <a:rect l="l" t="t" r="r" b="b"/>
              <a:pathLst>
                <a:path w="1426225" h="1588865">
                  <a:moveTo>
                    <a:pt x="0" y="1582022"/>
                  </a:moveTo>
                  <a:cubicBezTo>
                    <a:pt x="2809" y="857404"/>
                    <a:pt x="11969" y="724618"/>
                    <a:pt x="14778" y="0"/>
                  </a:cubicBezTo>
                  <a:lnTo>
                    <a:pt x="1426225" y="1588865"/>
                  </a:lnTo>
                  <a:lnTo>
                    <a:pt x="0" y="1582022"/>
                  </a:ln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3">
              <a:extLst>
                <a:ext uri="{FF2B5EF4-FFF2-40B4-BE49-F238E27FC236}">
                  <a16:creationId xmlns:a16="http://schemas.microsoft.com/office/drawing/2014/main" id="{86A6A173-5363-A612-8C9E-46574F0E6C3E}"/>
                </a:ext>
              </a:extLst>
            </p:cNvPr>
            <p:cNvSpPr/>
            <p:nvPr userDrawn="1"/>
          </p:nvSpPr>
          <p:spPr>
            <a:xfrm>
              <a:off x="2362536" y="4475397"/>
              <a:ext cx="6625889" cy="211193"/>
            </a:xfrm>
            <a:custGeom>
              <a:avLst/>
              <a:gdLst>
                <a:gd name="connsiteX0" fmla="*/ 0 w 8791575"/>
                <a:gd name="connsiteY0" fmla="*/ 0 h 271335"/>
                <a:gd name="connsiteX1" fmla="*/ 8791575 w 8791575"/>
                <a:gd name="connsiteY1" fmla="*/ 0 h 271335"/>
                <a:gd name="connsiteX2" fmla="*/ 8791575 w 8791575"/>
                <a:gd name="connsiteY2" fmla="*/ 271335 h 271335"/>
                <a:gd name="connsiteX3" fmla="*/ 0 w 8791575"/>
                <a:gd name="connsiteY3" fmla="*/ 271335 h 271335"/>
                <a:gd name="connsiteX4" fmla="*/ 0 w 8791575"/>
                <a:gd name="connsiteY4" fmla="*/ 0 h 271335"/>
                <a:gd name="connsiteX0" fmla="*/ 0 w 9010650"/>
                <a:gd name="connsiteY0" fmla="*/ 0 h 271335"/>
                <a:gd name="connsiteX1" fmla="*/ 9010650 w 9010650"/>
                <a:gd name="connsiteY1" fmla="*/ 9525 h 271335"/>
                <a:gd name="connsiteX2" fmla="*/ 8791575 w 9010650"/>
                <a:gd name="connsiteY2" fmla="*/ 271335 h 271335"/>
                <a:gd name="connsiteX3" fmla="*/ 0 w 9010650"/>
                <a:gd name="connsiteY3" fmla="*/ 271335 h 271335"/>
                <a:gd name="connsiteX4" fmla="*/ 0 w 9010650"/>
                <a:gd name="connsiteY4" fmla="*/ 0 h 271335"/>
                <a:gd name="connsiteX0" fmla="*/ 0 w 9010650"/>
                <a:gd name="connsiteY0" fmla="*/ 0 h 274510"/>
                <a:gd name="connsiteX1" fmla="*/ 9010650 w 9010650"/>
                <a:gd name="connsiteY1" fmla="*/ 9525 h 274510"/>
                <a:gd name="connsiteX2" fmla="*/ 8769350 w 9010650"/>
                <a:gd name="connsiteY2" fmla="*/ 274510 h 274510"/>
                <a:gd name="connsiteX3" fmla="*/ 0 w 9010650"/>
                <a:gd name="connsiteY3" fmla="*/ 271335 h 274510"/>
                <a:gd name="connsiteX4" fmla="*/ 0 w 9010650"/>
                <a:gd name="connsiteY4" fmla="*/ 0 h 274510"/>
                <a:gd name="connsiteX0" fmla="*/ 0 w 8988887"/>
                <a:gd name="connsiteY0" fmla="*/ 0 h 274510"/>
                <a:gd name="connsiteX1" fmla="*/ 8988887 w 8988887"/>
                <a:gd name="connsiteY1" fmla="*/ 13120 h 274510"/>
                <a:gd name="connsiteX2" fmla="*/ 8769350 w 8988887"/>
                <a:gd name="connsiteY2" fmla="*/ 274510 h 274510"/>
                <a:gd name="connsiteX3" fmla="*/ 0 w 8988887"/>
                <a:gd name="connsiteY3" fmla="*/ 271335 h 274510"/>
                <a:gd name="connsiteX4" fmla="*/ 0 w 8988887"/>
                <a:gd name="connsiteY4" fmla="*/ 0 h 274510"/>
                <a:gd name="connsiteX0" fmla="*/ 0 w 8988887"/>
                <a:gd name="connsiteY0" fmla="*/ 0 h 271335"/>
                <a:gd name="connsiteX1" fmla="*/ 8988887 w 8988887"/>
                <a:gd name="connsiteY1" fmla="*/ 13120 h 271335"/>
                <a:gd name="connsiteX2" fmla="*/ 8809766 w 8988887"/>
                <a:gd name="connsiteY2" fmla="*/ 265271 h 271335"/>
                <a:gd name="connsiteX3" fmla="*/ 0 w 8988887"/>
                <a:gd name="connsiteY3" fmla="*/ 271335 h 271335"/>
                <a:gd name="connsiteX4" fmla="*/ 0 w 8988887"/>
                <a:gd name="connsiteY4" fmla="*/ 0 h 271335"/>
                <a:gd name="connsiteX0" fmla="*/ 0 w 8988887"/>
                <a:gd name="connsiteY0" fmla="*/ 0 h 271335"/>
                <a:gd name="connsiteX1" fmla="*/ 8988887 w 8988887"/>
                <a:gd name="connsiteY1" fmla="*/ 13120 h 271335"/>
                <a:gd name="connsiteX2" fmla="*/ 8825311 w 8988887"/>
                <a:gd name="connsiteY2" fmla="*/ 265271 h 271335"/>
                <a:gd name="connsiteX3" fmla="*/ 0 w 8988887"/>
                <a:gd name="connsiteY3" fmla="*/ 271335 h 271335"/>
                <a:gd name="connsiteX4" fmla="*/ 0 w 8988887"/>
                <a:gd name="connsiteY4" fmla="*/ 0 h 271335"/>
                <a:gd name="connsiteX0" fmla="*/ 0 w 8988887"/>
                <a:gd name="connsiteY0" fmla="*/ 0 h 271335"/>
                <a:gd name="connsiteX1" fmla="*/ 8988887 w 8988887"/>
                <a:gd name="connsiteY1" fmla="*/ 13120 h 271335"/>
                <a:gd name="connsiteX2" fmla="*/ 8825311 w 8988887"/>
                <a:gd name="connsiteY2" fmla="*/ 265271 h 271335"/>
                <a:gd name="connsiteX3" fmla="*/ 0 w 8988887"/>
                <a:gd name="connsiteY3" fmla="*/ 271335 h 271335"/>
                <a:gd name="connsiteX4" fmla="*/ 0 w 8988887"/>
                <a:gd name="connsiteY4" fmla="*/ 0 h 271335"/>
                <a:gd name="connsiteX0" fmla="*/ 0 w 8988887"/>
                <a:gd name="connsiteY0" fmla="*/ 0 h 271335"/>
                <a:gd name="connsiteX1" fmla="*/ 8988887 w 8988887"/>
                <a:gd name="connsiteY1" fmla="*/ 13120 h 271335"/>
                <a:gd name="connsiteX2" fmla="*/ 8769316 w 8988887"/>
                <a:gd name="connsiteY2" fmla="*/ 265271 h 271335"/>
                <a:gd name="connsiteX3" fmla="*/ 0 w 8988887"/>
                <a:gd name="connsiteY3" fmla="*/ 271335 h 271335"/>
                <a:gd name="connsiteX4" fmla="*/ 0 w 8988887"/>
                <a:gd name="connsiteY4" fmla="*/ 0 h 271335"/>
                <a:gd name="connsiteX0" fmla="*/ 0 w 8988887"/>
                <a:gd name="connsiteY0" fmla="*/ 0 h 271335"/>
                <a:gd name="connsiteX1" fmla="*/ 8988887 w 8988887"/>
                <a:gd name="connsiteY1" fmla="*/ 13120 h 271335"/>
                <a:gd name="connsiteX2" fmla="*/ 8769316 w 8988887"/>
                <a:gd name="connsiteY2" fmla="*/ 265271 h 271335"/>
                <a:gd name="connsiteX3" fmla="*/ 0 w 8988887"/>
                <a:gd name="connsiteY3" fmla="*/ 271335 h 271335"/>
                <a:gd name="connsiteX4" fmla="*/ 0 w 8988887"/>
                <a:gd name="connsiteY4" fmla="*/ 0 h 271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88887" h="271335">
                  <a:moveTo>
                    <a:pt x="0" y="0"/>
                  </a:moveTo>
                  <a:lnTo>
                    <a:pt x="8988887" y="13120"/>
                  </a:lnTo>
                  <a:cubicBezTo>
                    <a:pt x="8934362" y="97170"/>
                    <a:pt x="8770889" y="259750"/>
                    <a:pt x="8769316" y="265271"/>
                  </a:cubicBezTo>
                  <a:lnTo>
                    <a:pt x="0" y="271335"/>
                  </a:lnTo>
                  <a:lnTo>
                    <a:pt x="0" y="0"/>
                  </a:lnTo>
                  <a:close/>
                </a:path>
              </a:pathLst>
            </a:custGeom>
            <a:gradFill>
              <a:gsLst>
                <a:gs pos="27000">
                  <a:srgbClr val="FFFFFF"/>
                </a:gs>
                <a:gs pos="56000">
                  <a:schemeClr val="tx2"/>
                </a:gs>
                <a:gs pos="76000">
                  <a:srgbClr val="222323">
                    <a:alpha val="90000"/>
                  </a:srgbClr>
                </a:gs>
              </a:gsLst>
              <a:lin ang="27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16" name="TextBox 15">
            <a:extLst>
              <a:ext uri="{FF2B5EF4-FFF2-40B4-BE49-F238E27FC236}">
                <a16:creationId xmlns:a16="http://schemas.microsoft.com/office/drawing/2014/main" id="{053A036A-198E-4D36-3F5B-801E089AC315}"/>
              </a:ext>
            </a:extLst>
          </p:cNvPr>
          <p:cNvSpPr txBox="1"/>
          <p:nvPr userDrawn="1"/>
        </p:nvSpPr>
        <p:spPr>
          <a:xfrm>
            <a:off x="664124" y="4793933"/>
            <a:ext cx="2354782" cy="184666"/>
          </a:xfrm>
          <a:prstGeom prst="rect">
            <a:avLst/>
          </a:prstGeom>
          <a:noFill/>
        </p:spPr>
        <p:txBody>
          <a:bodyPr wrap="square" rtlCol="0">
            <a:spAutoFit/>
          </a:bodyPr>
          <a:lstStyle/>
          <a:p>
            <a:pPr algn="l"/>
            <a:r>
              <a:rPr lang="en-US" sz="600" kern="1200" dirty="0">
                <a:solidFill>
                  <a:schemeClr val="tx1">
                    <a:lumMod val="75000"/>
                  </a:schemeClr>
                </a:solidFill>
                <a:latin typeface="+mn-lt"/>
                <a:ea typeface="+mn-ea"/>
                <a:cs typeface="+mn-cs"/>
              </a:rPr>
              <a:t>©2024  ITRON CONFIDENTIAL PROPRIETARY</a:t>
            </a:r>
            <a:endParaRPr lang="en-US" sz="600" dirty="0">
              <a:solidFill>
                <a:schemeClr val="tx1">
                  <a:lumMod val="75000"/>
                </a:schemeClr>
              </a:solidFill>
            </a:endParaRPr>
          </a:p>
        </p:txBody>
      </p:sp>
      <p:sp>
        <p:nvSpPr>
          <p:cNvPr id="19" name="TextBox 18">
            <a:extLst>
              <a:ext uri="{FF2B5EF4-FFF2-40B4-BE49-F238E27FC236}">
                <a16:creationId xmlns:a16="http://schemas.microsoft.com/office/drawing/2014/main" id="{F5C1A889-1CAB-AA0B-5F27-B3C57D8352CD}"/>
              </a:ext>
            </a:extLst>
          </p:cNvPr>
          <p:cNvSpPr txBox="1"/>
          <p:nvPr userDrawn="1"/>
        </p:nvSpPr>
        <p:spPr>
          <a:xfrm>
            <a:off x="6014419" y="4753803"/>
            <a:ext cx="455782" cy="200055"/>
          </a:xfrm>
          <a:prstGeom prst="rect">
            <a:avLst/>
          </a:prstGeom>
          <a:noFill/>
        </p:spPr>
        <p:txBody>
          <a:bodyPr wrap="square" rtlCol="0">
            <a:spAutoFit/>
          </a:bodyPr>
          <a:lstStyle/>
          <a:p>
            <a:pPr algn="r"/>
            <a:fld id="{18F304E0-9389-474D-9F39-0E8F22127D84}" type="slidenum">
              <a:rPr lang="en-US" sz="700" b="1" smtClean="0">
                <a:solidFill>
                  <a:srgbClr val="FFFFFF"/>
                </a:solidFill>
              </a:rPr>
              <a:t>‹#›</a:t>
            </a:fld>
            <a:endParaRPr lang="en-US" sz="700" b="1" dirty="0">
              <a:solidFill>
                <a:srgbClr val="FFFFFF"/>
              </a:solidFill>
            </a:endParaRPr>
          </a:p>
        </p:txBody>
      </p:sp>
      <p:pic>
        <p:nvPicPr>
          <p:cNvPr id="20" name="Picture 19" descr="A red and yellow logo&#10;&#10;Description automatically generated">
            <a:extLst>
              <a:ext uri="{FF2B5EF4-FFF2-40B4-BE49-F238E27FC236}">
                <a16:creationId xmlns:a16="http://schemas.microsoft.com/office/drawing/2014/main" id="{E3325199-F9C7-1506-4CD2-A5BD266CA82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99927" y="4770559"/>
            <a:ext cx="399083" cy="168900"/>
          </a:xfrm>
          <a:prstGeom prst="rect">
            <a:avLst/>
          </a:prstGeom>
        </p:spPr>
      </p:pic>
      <p:sp>
        <p:nvSpPr>
          <p:cNvPr id="21" name="Footer Placeholder 5">
            <a:extLst>
              <a:ext uri="{FF2B5EF4-FFF2-40B4-BE49-F238E27FC236}">
                <a16:creationId xmlns:a16="http://schemas.microsoft.com/office/drawing/2014/main" id="{738E2BB7-3785-0A29-7A9C-49EA618FCD2B}"/>
              </a:ext>
            </a:extLst>
          </p:cNvPr>
          <p:cNvSpPr>
            <a:spLocks noGrp="1"/>
          </p:cNvSpPr>
          <p:nvPr>
            <p:ph type="ftr" sz="quarter" idx="3"/>
          </p:nvPr>
        </p:nvSpPr>
        <p:spPr>
          <a:xfrm>
            <a:off x="3166314" y="4772759"/>
            <a:ext cx="3086100" cy="168900"/>
          </a:xfrm>
          <a:prstGeom prst="rect">
            <a:avLst/>
          </a:prstGeom>
        </p:spPr>
        <p:txBody>
          <a:bodyPr vert="horz" lIns="91440" tIns="45720" rIns="91440" bIns="45720" rtlCol="0" anchor="ctr"/>
          <a:lstStyle>
            <a:lvl1pPr algn="r">
              <a:defRPr sz="700" b="1">
                <a:solidFill>
                  <a:srgbClr val="FFFFFF"/>
                </a:solidFill>
              </a:defRPr>
            </a:lvl1pPr>
          </a:lstStyle>
          <a:p>
            <a:endParaRPr lang="en-US" dirty="0"/>
          </a:p>
        </p:txBody>
      </p:sp>
    </p:spTree>
    <p:extLst>
      <p:ext uri="{BB962C8B-B14F-4D97-AF65-F5344CB8AC3E}">
        <p14:creationId xmlns:p14="http://schemas.microsoft.com/office/powerpoint/2010/main" val="1736735214"/>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4_Title Slide">
    <p:bg>
      <p:bgPr>
        <a:solidFill>
          <a:srgbClr val="FFFFFE"/>
        </a:solidFill>
        <a:effectLst/>
      </p:bgPr>
    </p:bg>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9C1B67BD-658F-6E42-B65C-76A498D1340F}"/>
              </a:ext>
            </a:extLst>
          </p:cNvPr>
          <p:cNvSpPr>
            <a:spLocks noGrp="1"/>
          </p:cNvSpPr>
          <p:nvPr>
            <p:ph type="pic" sz="quarter" idx="10" hasCustomPrompt="1"/>
          </p:nvPr>
        </p:nvSpPr>
        <p:spPr>
          <a:xfrm>
            <a:off x="0" y="1"/>
            <a:ext cx="9144000" cy="1650044"/>
          </a:xfrm>
          <a:prstGeom prst="rect">
            <a:avLst/>
          </a:prstGeom>
        </p:spPr>
        <p:txBody>
          <a:bodyPr/>
          <a:lstStyle>
            <a:lvl1pPr marL="0" indent="0" algn="ctr">
              <a:buNone/>
              <a:defRPr sz="1400"/>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sz="1800" dirty="0"/>
              <a:t>Click to insert custom image. Refer to image folder for selections</a:t>
            </a:r>
          </a:p>
          <a:p>
            <a:endParaRPr lang="en-US" dirty="0"/>
          </a:p>
        </p:txBody>
      </p:sp>
      <p:sp>
        <p:nvSpPr>
          <p:cNvPr id="19" name="Title Placeholder 1">
            <a:extLst>
              <a:ext uri="{FF2B5EF4-FFF2-40B4-BE49-F238E27FC236}">
                <a16:creationId xmlns:a16="http://schemas.microsoft.com/office/drawing/2014/main" id="{E52615CE-37EF-75DD-79E7-552ECD35C236}"/>
              </a:ext>
            </a:extLst>
          </p:cNvPr>
          <p:cNvSpPr>
            <a:spLocks noGrp="1"/>
          </p:cNvSpPr>
          <p:nvPr>
            <p:ph type="title" hasCustomPrompt="1"/>
          </p:nvPr>
        </p:nvSpPr>
        <p:spPr>
          <a:xfrm>
            <a:off x="361950" y="1824599"/>
            <a:ext cx="8229600" cy="461665"/>
          </a:xfrm>
          <a:prstGeom prst="rect">
            <a:avLst/>
          </a:prstGeom>
        </p:spPr>
        <p:txBody>
          <a:bodyPr vert="horz" lIns="91440" tIns="45720" rIns="91440" bIns="45720" rtlCol="0" anchor="ctr">
            <a:spAutoFit/>
          </a:bodyPr>
          <a:lstStyle>
            <a:lvl1pPr algn="l">
              <a:defRPr sz="2400" b="0" cap="none">
                <a:solidFill>
                  <a:schemeClr val="accent1"/>
                </a:solidFill>
              </a:defRPr>
            </a:lvl1pPr>
          </a:lstStyle>
          <a:p>
            <a:r>
              <a:rPr lang="en-US" dirty="0"/>
              <a:t>Click to Add Title</a:t>
            </a:r>
          </a:p>
        </p:txBody>
      </p:sp>
      <p:sp>
        <p:nvSpPr>
          <p:cNvPr id="20" name="Text Placeholder 2">
            <a:extLst>
              <a:ext uri="{FF2B5EF4-FFF2-40B4-BE49-F238E27FC236}">
                <a16:creationId xmlns:a16="http://schemas.microsoft.com/office/drawing/2014/main" id="{A12023A9-4111-3AE3-F1CC-1D11E069DAE3}"/>
              </a:ext>
            </a:extLst>
          </p:cNvPr>
          <p:cNvSpPr>
            <a:spLocks noGrp="1"/>
          </p:cNvSpPr>
          <p:nvPr>
            <p:ph type="body" sz="quarter" idx="15"/>
          </p:nvPr>
        </p:nvSpPr>
        <p:spPr>
          <a:xfrm>
            <a:off x="361950" y="2155467"/>
            <a:ext cx="8229600" cy="349250"/>
          </a:xfrm>
          <a:prstGeom prst="rect">
            <a:avLst/>
          </a:prstGeom>
        </p:spPr>
        <p:txBody>
          <a:bodyPr>
            <a:noAutofit/>
          </a:bodyPr>
          <a:lstStyle>
            <a:lvl1pPr marL="0" indent="0" algn="l">
              <a:buNone/>
              <a:defRPr sz="1300">
                <a:solidFill>
                  <a:schemeClr val="bg1"/>
                </a:solidFill>
              </a:defRPr>
            </a:lvl1pPr>
            <a:lvl2pPr marL="171292" indent="0">
              <a:buNone/>
              <a:defRPr sz="1499">
                <a:solidFill>
                  <a:schemeClr val="tx2"/>
                </a:solidFill>
              </a:defRPr>
            </a:lvl2pPr>
            <a:lvl3pPr marL="285486" indent="0">
              <a:buNone/>
              <a:defRPr sz="1499">
                <a:solidFill>
                  <a:schemeClr val="tx2"/>
                </a:solidFill>
              </a:defRPr>
            </a:lvl3pPr>
            <a:lvl4pPr marL="1370331" indent="0">
              <a:buNone/>
              <a:defRPr sz="1499">
                <a:solidFill>
                  <a:schemeClr val="tx2"/>
                </a:solidFill>
              </a:defRPr>
            </a:lvl4pPr>
            <a:lvl5pPr marL="1827108" indent="0">
              <a:buNone/>
              <a:defRPr sz="1499">
                <a:solidFill>
                  <a:schemeClr val="tx2"/>
                </a:solidFill>
              </a:defRPr>
            </a:lvl5pPr>
          </a:lstStyle>
          <a:p>
            <a:pPr lvl="0"/>
            <a:r>
              <a:rPr lang="en-US" dirty="0"/>
              <a:t>Click to edit Master text styles</a:t>
            </a:r>
          </a:p>
        </p:txBody>
      </p:sp>
      <p:sp>
        <p:nvSpPr>
          <p:cNvPr id="21" name="Content Placeholder 2">
            <a:extLst>
              <a:ext uri="{FF2B5EF4-FFF2-40B4-BE49-F238E27FC236}">
                <a16:creationId xmlns:a16="http://schemas.microsoft.com/office/drawing/2014/main" id="{35C93C86-84E6-4D28-3FA6-ED1217CF8613}"/>
              </a:ext>
            </a:extLst>
          </p:cNvPr>
          <p:cNvSpPr>
            <a:spLocks noGrp="1"/>
          </p:cNvSpPr>
          <p:nvPr>
            <p:ph idx="1"/>
          </p:nvPr>
        </p:nvSpPr>
        <p:spPr>
          <a:xfrm>
            <a:off x="361950" y="2643546"/>
            <a:ext cx="8229600" cy="1786280"/>
          </a:xfrm>
          <a:prstGeom prst="rect">
            <a:avLst/>
          </a:prstGeom>
        </p:spPr>
        <p:txBody>
          <a:bodyPr/>
          <a:lstStyle>
            <a:lvl1pPr marL="0" indent="0">
              <a:buClr>
                <a:schemeClr val="accent1"/>
              </a:buClr>
              <a:buNone/>
              <a:tabLst/>
              <a:defRPr sz="1399">
                <a:solidFill>
                  <a:schemeClr val="tx1"/>
                </a:solidFill>
              </a:defRPr>
            </a:lvl1pPr>
            <a:lvl2pPr marL="171450" indent="-165100">
              <a:buClr>
                <a:schemeClr val="accent1"/>
              </a:buClr>
              <a:buFont typeface="System Font Regular"/>
              <a:buChar char="»"/>
              <a:tabLst/>
              <a:defRPr sz="1399">
                <a:solidFill>
                  <a:schemeClr val="tx1"/>
                </a:solidFill>
              </a:defRPr>
            </a:lvl2pPr>
            <a:lvl3pPr marL="342900" indent="-171450">
              <a:buClr>
                <a:schemeClr val="accent1"/>
              </a:buClr>
              <a:tabLst/>
              <a:defRPr sz="1399">
                <a:solidFill>
                  <a:schemeClr val="tx1"/>
                </a:solidFill>
              </a:defRPr>
            </a:lvl3pPr>
            <a:lvl4pPr marL="514350" indent="-171450">
              <a:buClr>
                <a:schemeClr val="accent1"/>
              </a:buClr>
              <a:buSzPct val="80000"/>
              <a:buFont typeface="Courier New" panose="02070309020205020404" pitchFamily="49" charset="0"/>
              <a:buChar char="o"/>
              <a:tabLst/>
              <a:defRPr sz="1399">
                <a:solidFill>
                  <a:schemeClr val="tx1"/>
                </a:solidFill>
              </a:defRPr>
            </a:lvl4pPr>
            <a:lvl5pPr marL="685800" indent="-171450">
              <a:buClr>
                <a:schemeClr val="accent1"/>
              </a:buClr>
              <a:buFont typeface=".AppleSystemUIFont"/>
              <a:buChar char="–"/>
              <a:tabLst/>
              <a:defRPr sz="1399">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2" name="Group 1">
            <a:extLst>
              <a:ext uri="{FF2B5EF4-FFF2-40B4-BE49-F238E27FC236}">
                <a16:creationId xmlns:a16="http://schemas.microsoft.com/office/drawing/2014/main" id="{3A8A6FFA-195D-1184-4004-36FEB2508DE1}"/>
              </a:ext>
            </a:extLst>
          </p:cNvPr>
          <p:cNvGrpSpPr/>
          <p:nvPr userDrawn="1"/>
        </p:nvGrpSpPr>
        <p:grpSpPr>
          <a:xfrm>
            <a:off x="0" y="4761709"/>
            <a:ext cx="9152280" cy="192598"/>
            <a:chOff x="-90150" y="4468488"/>
            <a:chExt cx="9152280" cy="218101"/>
          </a:xfrm>
        </p:grpSpPr>
        <p:sp>
          <p:nvSpPr>
            <p:cNvPr id="3" name="Right Triangle 14">
              <a:extLst>
                <a:ext uri="{FF2B5EF4-FFF2-40B4-BE49-F238E27FC236}">
                  <a16:creationId xmlns:a16="http://schemas.microsoft.com/office/drawing/2014/main" id="{15DE1789-A537-A35F-CA60-ED516AE02D22}"/>
                </a:ext>
              </a:extLst>
            </p:cNvPr>
            <p:cNvSpPr/>
            <p:nvPr userDrawn="1"/>
          </p:nvSpPr>
          <p:spPr>
            <a:xfrm flipH="1">
              <a:off x="8867979" y="4468488"/>
              <a:ext cx="194151" cy="216293"/>
            </a:xfrm>
            <a:custGeom>
              <a:avLst/>
              <a:gdLst>
                <a:gd name="connsiteX0" fmla="*/ 0 w 1959428"/>
                <a:gd name="connsiteY0" fmla="*/ 1815679 h 1815679"/>
                <a:gd name="connsiteX1" fmla="*/ 0 w 1959428"/>
                <a:gd name="connsiteY1" fmla="*/ 0 h 1815679"/>
                <a:gd name="connsiteX2" fmla="*/ 1959428 w 1959428"/>
                <a:gd name="connsiteY2" fmla="*/ 1815679 h 1815679"/>
                <a:gd name="connsiteX3" fmla="*/ 0 w 1959428"/>
                <a:gd name="connsiteY3" fmla="*/ 1815679 h 1815679"/>
                <a:gd name="connsiteX0" fmla="*/ 0 w 1959428"/>
                <a:gd name="connsiteY0" fmla="*/ 2173854 h 2173854"/>
                <a:gd name="connsiteX1" fmla="*/ 8428 w 1959428"/>
                <a:gd name="connsiteY1" fmla="*/ 0 h 2173854"/>
                <a:gd name="connsiteX2" fmla="*/ 1959428 w 1959428"/>
                <a:gd name="connsiteY2" fmla="*/ 2173854 h 2173854"/>
                <a:gd name="connsiteX3" fmla="*/ 0 w 1959428"/>
                <a:gd name="connsiteY3" fmla="*/ 2173854 h 2173854"/>
                <a:gd name="connsiteX0" fmla="*/ 0 w 1959428"/>
                <a:gd name="connsiteY0" fmla="*/ 1566147 h 2173854"/>
                <a:gd name="connsiteX1" fmla="*/ 8428 w 1959428"/>
                <a:gd name="connsiteY1" fmla="*/ 0 h 2173854"/>
                <a:gd name="connsiteX2" fmla="*/ 1959428 w 1959428"/>
                <a:gd name="connsiteY2" fmla="*/ 2173854 h 2173854"/>
                <a:gd name="connsiteX3" fmla="*/ 0 w 1959428"/>
                <a:gd name="connsiteY3" fmla="*/ 1566147 h 2173854"/>
                <a:gd name="connsiteX0" fmla="*/ 0 w 1419875"/>
                <a:gd name="connsiteY0" fmla="*/ 1566147 h 1588865"/>
                <a:gd name="connsiteX1" fmla="*/ 8428 w 1419875"/>
                <a:gd name="connsiteY1" fmla="*/ 0 h 1588865"/>
                <a:gd name="connsiteX2" fmla="*/ 1419875 w 1419875"/>
                <a:gd name="connsiteY2" fmla="*/ 1588865 h 1588865"/>
                <a:gd name="connsiteX3" fmla="*/ 0 w 1419875"/>
                <a:gd name="connsiteY3" fmla="*/ 1566147 h 1588865"/>
                <a:gd name="connsiteX0" fmla="*/ 0 w 1426225"/>
                <a:gd name="connsiteY0" fmla="*/ 1582022 h 1588865"/>
                <a:gd name="connsiteX1" fmla="*/ 14778 w 1426225"/>
                <a:gd name="connsiteY1" fmla="*/ 0 h 1588865"/>
                <a:gd name="connsiteX2" fmla="*/ 1426225 w 1426225"/>
                <a:gd name="connsiteY2" fmla="*/ 1588865 h 1588865"/>
                <a:gd name="connsiteX3" fmla="*/ 0 w 1426225"/>
                <a:gd name="connsiteY3" fmla="*/ 1582022 h 1588865"/>
              </a:gdLst>
              <a:ahLst/>
              <a:cxnLst>
                <a:cxn ang="0">
                  <a:pos x="connsiteX0" y="connsiteY0"/>
                </a:cxn>
                <a:cxn ang="0">
                  <a:pos x="connsiteX1" y="connsiteY1"/>
                </a:cxn>
                <a:cxn ang="0">
                  <a:pos x="connsiteX2" y="connsiteY2"/>
                </a:cxn>
                <a:cxn ang="0">
                  <a:pos x="connsiteX3" y="connsiteY3"/>
                </a:cxn>
              </a:cxnLst>
              <a:rect l="l" t="t" r="r" b="b"/>
              <a:pathLst>
                <a:path w="1426225" h="1588865">
                  <a:moveTo>
                    <a:pt x="0" y="1582022"/>
                  </a:moveTo>
                  <a:cubicBezTo>
                    <a:pt x="2809" y="857404"/>
                    <a:pt x="11969" y="724618"/>
                    <a:pt x="14778" y="0"/>
                  </a:cubicBezTo>
                  <a:lnTo>
                    <a:pt x="1426225" y="1588865"/>
                  </a:lnTo>
                  <a:lnTo>
                    <a:pt x="0" y="1582022"/>
                  </a:ln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a:extLst>
                <a:ext uri="{FF2B5EF4-FFF2-40B4-BE49-F238E27FC236}">
                  <a16:creationId xmlns:a16="http://schemas.microsoft.com/office/drawing/2014/main" id="{9B3FDF19-AB82-AB7C-A2F0-A01492CC8370}"/>
                </a:ext>
              </a:extLst>
            </p:cNvPr>
            <p:cNvSpPr/>
            <p:nvPr userDrawn="1"/>
          </p:nvSpPr>
          <p:spPr>
            <a:xfrm>
              <a:off x="-90150" y="4475396"/>
              <a:ext cx="9078576" cy="211193"/>
            </a:xfrm>
            <a:custGeom>
              <a:avLst/>
              <a:gdLst>
                <a:gd name="connsiteX0" fmla="*/ 0 w 8791575"/>
                <a:gd name="connsiteY0" fmla="*/ 0 h 271335"/>
                <a:gd name="connsiteX1" fmla="*/ 8791575 w 8791575"/>
                <a:gd name="connsiteY1" fmla="*/ 0 h 271335"/>
                <a:gd name="connsiteX2" fmla="*/ 8791575 w 8791575"/>
                <a:gd name="connsiteY2" fmla="*/ 271335 h 271335"/>
                <a:gd name="connsiteX3" fmla="*/ 0 w 8791575"/>
                <a:gd name="connsiteY3" fmla="*/ 271335 h 271335"/>
                <a:gd name="connsiteX4" fmla="*/ 0 w 8791575"/>
                <a:gd name="connsiteY4" fmla="*/ 0 h 271335"/>
                <a:gd name="connsiteX0" fmla="*/ 0 w 9010650"/>
                <a:gd name="connsiteY0" fmla="*/ 0 h 271335"/>
                <a:gd name="connsiteX1" fmla="*/ 9010650 w 9010650"/>
                <a:gd name="connsiteY1" fmla="*/ 9525 h 271335"/>
                <a:gd name="connsiteX2" fmla="*/ 8791575 w 9010650"/>
                <a:gd name="connsiteY2" fmla="*/ 271335 h 271335"/>
                <a:gd name="connsiteX3" fmla="*/ 0 w 9010650"/>
                <a:gd name="connsiteY3" fmla="*/ 271335 h 271335"/>
                <a:gd name="connsiteX4" fmla="*/ 0 w 9010650"/>
                <a:gd name="connsiteY4" fmla="*/ 0 h 271335"/>
                <a:gd name="connsiteX0" fmla="*/ 0 w 9010650"/>
                <a:gd name="connsiteY0" fmla="*/ 0 h 274510"/>
                <a:gd name="connsiteX1" fmla="*/ 9010650 w 9010650"/>
                <a:gd name="connsiteY1" fmla="*/ 9525 h 274510"/>
                <a:gd name="connsiteX2" fmla="*/ 8769350 w 9010650"/>
                <a:gd name="connsiteY2" fmla="*/ 274510 h 274510"/>
                <a:gd name="connsiteX3" fmla="*/ 0 w 9010650"/>
                <a:gd name="connsiteY3" fmla="*/ 271335 h 274510"/>
                <a:gd name="connsiteX4" fmla="*/ 0 w 9010650"/>
                <a:gd name="connsiteY4" fmla="*/ 0 h 274510"/>
                <a:gd name="connsiteX0" fmla="*/ 0 w 8988887"/>
                <a:gd name="connsiteY0" fmla="*/ 0 h 274510"/>
                <a:gd name="connsiteX1" fmla="*/ 8988887 w 8988887"/>
                <a:gd name="connsiteY1" fmla="*/ 13120 h 274510"/>
                <a:gd name="connsiteX2" fmla="*/ 8769350 w 8988887"/>
                <a:gd name="connsiteY2" fmla="*/ 274510 h 274510"/>
                <a:gd name="connsiteX3" fmla="*/ 0 w 8988887"/>
                <a:gd name="connsiteY3" fmla="*/ 271335 h 274510"/>
                <a:gd name="connsiteX4" fmla="*/ 0 w 8988887"/>
                <a:gd name="connsiteY4" fmla="*/ 0 h 274510"/>
                <a:gd name="connsiteX0" fmla="*/ 0 w 8988887"/>
                <a:gd name="connsiteY0" fmla="*/ 0 h 271335"/>
                <a:gd name="connsiteX1" fmla="*/ 8988887 w 8988887"/>
                <a:gd name="connsiteY1" fmla="*/ 13120 h 271335"/>
                <a:gd name="connsiteX2" fmla="*/ 8809766 w 8988887"/>
                <a:gd name="connsiteY2" fmla="*/ 265271 h 271335"/>
                <a:gd name="connsiteX3" fmla="*/ 0 w 8988887"/>
                <a:gd name="connsiteY3" fmla="*/ 271335 h 271335"/>
                <a:gd name="connsiteX4" fmla="*/ 0 w 8988887"/>
                <a:gd name="connsiteY4" fmla="*/ 0 h 271335"/>
                <a:gd name="connsiteX0" fmla="*/ 0 w 8988887"/>
                <a:gd name="connsiteY0" fmla="*/ 0 h 271335"/>
                <a:gd name="connsiteX1" fmla="*/ 8988887 w 8988887"/>
                <a:gd name="connsiteY1" fmla="*/ 13120 h 271335"/>
                <a:gd name="connsiteX2" fmla="*/ 8825311 w 8988887"/>
                <a:gd name="connsiteY2" fmla="*/ 265271 h 271335"/>
                <a:gd name="connsiteX3" fmla="*/ 0 w 8988887"/>
                <a:gd name="connsiteY3" fmla="*/ 271335 h 271335"/>
                <a:gd name="connsiteX4" fmla="*/ 0 w 8988887"/>
                <a:gd name="connsiteY4" fmla="*/ 0 h 271335"/>
                <a:gd name="connsiteX0" fmla="*/ 0 w 8988887"/>
                <a:gd name="connsiteY0" fmla="*/ 0 h 271335"/>
                <a:gd name="connsiteX1" fmla="*/ 8988887 w 8988887"/>
                <a:gd name="connsiteY1" fmla="*/ 13120 h 271335"/>
                <a:gd name="connsiteX2" fmla="*/ 8825311 w 8988887"/>
                <a:gd name="connsiteY2" fmla="*/ 265271 h 271335"/>
                <a:gd name="connsiteX3" fmla="*/ 0 w 8988887"/>
                <a:gd name="connsiteY3" fmla="*/ 271335 h 271335"/>
                <a:gd name="connsiteX4" fmla="*/ 0 w 8988887"/>
                <a:gd name="connsiteY4" fmla="*/ 0 h 271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88887" h="271335">
                  <a:moveTo>
                    <a:pt x="0" y="0"/>
                  </a:moveTo>
                  <a:lnTo>
                    <a:pt x="8988887" y="13120"/>
                  </a:lnTo>
                  <a:cubicBezTo>
                    <a:pt x="8934362" y="97170"/>
                    <a:pt x="8994868" y="5689"/>
                    <a:pt x="8825311" y="265271"/>
                  </a:cubicBezTo>
                  <a:lnTo>
                    <a:pt x="0" y="271335"/>
                  </a:lnTo>
                  <a:lnTo>
                    <a:pt x="0" y="0"/>
                  </a:lnTo>
                  <a:close/>
                </a:path>
              </a:pathLst>
            </a:custGeom>
            <a:gradFill>
              <a:gsLst>
                <a:gs pos="27000">
                  <a:srgbClr val="FFFFFF"/>
                </a:gs>
                <a:gs pos="56000">
                  <a:schemeClr val="tx2"/>
                </a:gs>
                <a:gs pos="76000">
                  <a:srgbClr val="222323">
                    <a:alpha val="90000"/>
                  </a:srgbClr>
                </a:gs>
              </a:gsLst>
              <a:lin ang="27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5" name="TextBox 4">
            <a:extLst>
              <a:ext uri="{FF2B5EF4-FFF2-40B4-BE49-F238E27FC236}">
                <a16:creationId xmlns:a16="http://schemas.microsoft.com/office/drawing/2014/main" id="{B3217424-3E47-DEA5-EEFE-13F180540C68}"/>
              </a:ext>
            </a:extLst>
          </p:cNvPr>
          <p:cNvSpPr txBox="1"/>
          <p:nvPr userDrawn="1"/>
        </p:nvSpPr>
        <p:spPr>
          <a:xfrm>
            <a:off x="930256" y="4800657"/>
            <a:ext cx="2354782" cy="184666"/>
          </a:xfrm>
          <a:prstGeom prst="rect">
            <a:avLst/>
          </a:prstGeom>
          <a:noFill/>
        </p:spPr>
        <p:txBody>
          <a:bodyPr wrap="square" rtlCol="0">
            <a:spAutoFit/>
          </a:bodyPr>
          <a:lstStyle/>
          <a:p>
            <a:pPr algn="l"/>
            <a:r>
              <a:rPr lang="en-US" sz="600" kern="1200" dirty="0">
                <a:solidFill>
                  <a:schemeClr val="tx1">
                    <a:lumMod val="75000"/>
                  </a:schemeClr>
                </a:solidFill>
                <a:latin typeface="+mn-lt"/>
                <a:ea typeface="+mn-ea"/>
                <a:cs typeface="+mn-cs"/>
              </a:rPr>
              <a:t>©2024  ITRON CONFIDENTIAL PROPRIETARY</a:t>
            </a:r>
            <a:endParaRPr lang="en-US" sz="600" dirty="0">
              <a:solidFill>
                <a:schemeClr val="tx1">
                  <a:lumMod val="75000"/>
                </a:schemeClr>
              </a:solidFill>
            </a:endParaRPr>
          </a:p>
        </p:txBody>
      </p:sp>
      <p:sp>
        <p:nvSpPr>
          <p:cNvPr id="6" name="TextBox 5">
            <a:extLst>
              <a:ext uri="{FF2B5EF4-FFF2-40B4-BE49-F238E27FC236}">
                <a16:creationId xmlns:a16="http://schemas.microsoft.com/office/drawing/2014/main" id="{251C0416-9DC5-AC31-87CF-BA07C4F12EE3}"/>
              </a:ext>
            </a:extLst>
          </p:cNvPr>
          <p:cNvSpPr txBox="1"/>
          <p:nvPr userDrawn="1"/>
        </p:nvSpPr>
        <p:spPr>
          <a:xfrm>
            <a:off x="8475386" y="4753803"/>
            <a:ext cx="455782" cy="200055"/>
          </a:xfrm>
          <a:prstGeom prst="rect">
            <a:avLst/>
          </a:prstGeom>
          <a:noFill/>
        </p:spPr>
        <p:txBody>
          <a:bodyPr wrap="square" rtlCol="0">
            <a:spAutoFit/>
          </a:bodyPr>
          <a:lstStyle/>
          <a:p>
            <a:pPr algn="r"/>
            <a:fld id="{18F304E0-9389-474D-9F39-0E8F22127D84}" type="slidenum">
              <a:rPr lang="en-US" sz="700" b="1" smtClean="0">
                <a:solidFill>
                  <a:srgbClr val="FFFFFF"/>
                </a:solidFill>
              </a:rPr>
              <a:t>‹#›</a:t>
            </a:fld>
            <a:endParaRPr lang="en-US" sz="700" b="1" dirty="0">
              <a:solidFill>
                <a:srgbClr val="FFFFFF"/>
              </a:solidFill>
            </a:endParaRPr>
          </a:p>
        </p:txBody>
      </p:sp>
      <p:pic>
        <p:nvPicPr>
          <p:cNvPr id="7" name="Picture 6" descr="A red and yellow logo&#10;&#10;Description automatically generated">
            <a:extLst>
              <a:ext uri="{FF2B5EF4-FFF2-40B4-BE49-F238E27FC236}">
                <a16:creationId xmlns:a16="http://schemas.microsoft.com/office/drawing/2014/main" id="{6D508AC5-8208-AAE6-CDE1-593857C6A64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6059" y="4770559"/>
            <a:ext cx="399083" cy="168900"/>
          </a:xfrm>
          <a:prstGeom prst="rect">
            <a:avLst/>
          </a:prstGeom>
        </p:spPr>
      </p:pic>
      <p:sp>
        <p:nvSpPr>
          <p:cNvPr id="8" name="Footer Placeholder 5">
            <a:extLst>
              <a:ext uri="{FF2B5EF4-FFF2-40B4-BE49-F238E27FC236}">
                <a16:creationId xmlns:a16="http://schemas.microsoft.com/office/drawing/2014/main" id="{53A5EE6B-AA0E-8F20-A95B-81CA8DA5398B}"/>
              </a:ext>
            </a:extLst>
          </p:cNvPr>
          <p:cNvSpPr>
            <a:spLocks noGrp="1"/>
          </p:cNvSpPr>
          <p:nvPr>
            <p:ph type="ftr" sz="quarter" idx="3"/>
          </p:nvPr>
        </p:nvSpPr>
        <p:spPr>
          <a:xfrm>
            <a:off x="5627281" y="4772759"/>
            <a:ext cx="3086100" cy="168900"/>
          </a:xfrm>
          <a:prstGeom prst="rect">
            <a:avLst/>
          </a:prstGeom>
        </p:spPr>
        <p:txBody>
          <a:bodyPr vert="horz" lIns="91440" tIns="45720" rIns="91440" bIns="45720" rtlCol="0" anchor="ctr"/>
          <a:lstStyle>
            <a:lvl1pPr algn="r">
              <a:defRPr sz="700" b="1">
                <a:solidFill>
                  <a:srgbClr val="FFFFFF"/>
                </a:solidFill>
              </a:defRPr>
            </a:lvl1pPr>
          </a:lstStyle>
          <a:p>
            <a:endParaRPr lang="en-US" dirty="0"/>
          </a:p>
        </p:txBody>
      </p:sp>
    </p:spTree>
    <p:extLst>
      <p:ext uri="{BB962C8B-B14F-4D97-AF65-F5344CB8AC3E}">
        <p14:creationId xmlns:p14="http://schemas.microsoft.com/office/powerpoint/2010/main" val="2718247010"/>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_Title Slide">
    <p:bg>
      <p:bgPr>
        <a:solidFill>
          <a:srgbClr val="FFFFFE"/>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4000" cy="5148263"/>
          </a:xfrm>
          <a:prstGeom prst="rect">
            <a:avLst/>
          </a:prstGeom>
        </p:spPr>
        <p:txBody>
          <a:bodyPr vert="horz"/>
          <a:lstStyle>
            <a:lvl1pPr marL="0" indent="0">
              <a:buNone/>
              <a:defRPr sz="1600"/>
            </a:lvl1pPr>
          </a:lstStyle>
          <a:p>
            <a:endParaRPr lang="en-US" dirty="0"/>
          </a:p>
        </p:txBody>
      </p:sp>
    </p:spTree>
    <p:extLst>
      <p:ext uri="{BB962C8B-B14F-4D97-AF65-F5344CB8AC3E}">
        <p14:creationId xmlns:p14="http://schemas.microsoft.com/office/powerpoint/2010/main" val="394530958"/>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rgbClr val="FFFFFF"/>
        </a:solidFill>
        <a:effectLst/>
      </p:bgPr>
    </p:bg>
    <p:spTree>
      <p:nvGrpSpPr>
        <p:cNvPr id="1" name=""/>
        <p:cNvGrpSpPr/>
        <p:nvPr/>
      </p:nvGrpSpPr>
      <p:grpSpPr>
        <a:xfrm>
          <a:off x="0" y="0"/>
          <a:ext cx="0" cy="0"/>
          <a:chOff x="0" y="0"/>
          <a:chExt cx="0" cy="0"/>
        </a:xfrm>
      </p:grpSpPr>
      <p:pic>
        <p:nvPicPr>
          <p:cNvPr id="7" name="Picture 6" descr="A grey and white background&#10;&#10;Description automatically generated">
            <a:extLst>
              <a:ext uri="{FF2B5EF4-FFF2-40B4-BE49-F238E27FC236}">
                <a16:creationId xmlns:a16="http://schemas.microsoft.com/office/drawing/2014/main" id="{78C8F104-CB1A-2D11-F7A6-4C4354EF184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657" r="-1"/>
          <a:stretch/>
        </p:blipFill>
        <p:spPr>
          <a:xfrm>
            <a:off x="6904" y="-99184"/>
            <a:ext cx="9137096" cy="5247448"/>
          </a:xfrm>
          <a:prstGeom prst="rect">
            <a:avLst/>
          </a:prstGeom>
        </p:spPr>
      </p:pic>
      <p:sp>
        <p:nvSpPr>
          <p:cNvPr id="14" name="Rectangle 13">
            <a:extLst>
              <a:ext uri="{FF2B5EF4-FFF2-40B4-BE49-F238E27FC236}">
                <a16:creationId xmlns:a16="http://schemas.microsoft.com/office/drawing/2014/main" id="{91B704FB-B558-220B-47BF-CC9F337FD6BD}"/>
              </a:ext>
            </a:extLst>
          </p:cNvPr>
          <p:cNvSpPr/>
          <p:nvPr userDrawn="1"/>
        </p:nvSpPr>
        <p:spPr>
          <a:xfrm>
            <a:off x="6904" y="-99184"/>
            <a:ext cx="9153656" cy="5247448"/>
          </a:xfrm>
          <a:prstGeom prst="rect">
            <a:avLst/>
          </a:prstGeom>
          <a:gradFill>
            <a:gsLst>
              <a:gs pos="8000">
                <a:srgbClr val="AA3727">
                  <a:alpha val="77298"/>
                </a:srgbClr>
              </a:gs>
              <a:gs pos="48000">
                <a:schemeClr val="accent1"/>
              </a:gs>
              <a:gs pos="27000">
                <a:schemeClr val="accent1"/>
              </a:gs>
            </a:gsLst>
            <a:lin ang="2700000" scaled="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 name="Title Placeholder 1">
            <a:extLst>
              <a:ext uri="{FF2B5EF4-FFF2-40B4-BE49-F238E27FC236}">
                <a16:creationId xmlns:a16="http://schemas.microsoft.com/office/drawing/2014/main" id="{B2D9C375-8BFD-FD43-AEC0-6880B934CD49}"/>
              </a:ext>
            </a:extLst>
          </p:cNvPr>
          <p:cNvSpPr>
            <a:spLocks noGrp="1"/>
          </p:cNvSpPr>
          <p:nvPr>
            <p:ph type="title" hasCustomPrompt="1"/>
          </p:nvPr>
        </p:nvSpPr>
        <p:spPr>
          <a:xfrm>
            <a:off x="470950" y="2946104"/>
            <a:ext cx="8083494" cy="461665"/>
          </a:xfrm>
          <a:prstGeom prst="rect">
            <a:avLst/>
          </a:prstGeom>
        </p:spPr>
        <p:txBody>
          <a:bodyPr vert="horz" wrap="square" lIns="91440" tIns="45720" rIns="91440" bIns="45720" rtlCol="0" anchor="ctr">
            <a:spAutoFit/>
          </a:bodyPr>
          <a:lstStyle>
            <a:lvl1pPr algn="l">
              <a:defRPr sz="2400" b="0">
                <a:solidFill>
                  <a:srgbClr val="FFFFFE"/>
                </a:solidFill>
              </a:defRPr>
            </a:lvl1pPr>
          </a:lstStyle>
          <a:p>
            <a:r>
              <a:rPr lang="en-US" dirty="0"/>
              <a:t>Click to Edit Master Title Style</a:t>
            </a:r>
          </a:p>
        </p:txBody>
      </p:sp>
      <p:sp>
        <p:nvSpPr>
          <p:cNvPr id="5" name="Text Placeholder 2">
            <a:extLst>
              <a:ext uri="{FF2B5EF4-FFF2-40B4-BE49-F238E27FC236}">
                <a16:creationId xmlns:a16="http://schemas.microsoft.com/office/drawing/2014/main" id="{E61EEE4B-227A-844E-9302-1534CF015B00}"/>
              </a:ext>
            </a:extLst>
          </p:cNvPr>
          <p:cNvSpPr>
            <a:spLocks noGrp="1"/>
          </p:cNvSpPr>
          <p:nvPr>
            <p:ph type="body" sz="quarter" idx="15"/>
          </p:nvPr>
        </p:nvSpPr>
        <p:spPr>
          <a:xfrm>
            <a:off x="470950" y="3296024"/>
            <a:ext cx="8083494" cy="304800"/>
          </a:xfrm>
          <a:prstGeom prst="rect">
            <a:avLst/>
          </a:prstGeom>
        </p:spPr>
        <p:txBody>
          <a:bodyPr>
            <a:noAutofit/>
          </a:bodyPr>
          <a:lstStyle>
            <a:lvl1pPr marL="0" indent="0">
              <a:buNone/>
              <a:defRPr sz="1300">
                <a:solidFill>
                  <a:srgbClr val="FFFFFE"/>
                </a:solidFill>
              </a:defRPr>
            </a:lvl1pPr>
            <a:lvl2pPr marL="171450" indent="0">
              <a:buNone/>
              <a:defRPr sz="1500"/>
            </a:lvl2pPr>
            <a:lvl3pPr marL="285750" indent="0">
              <a:buNone/>
              <a:defRPr sz="1500"/>
            </a:lvl3pPr>
            <a:lvl4pPr marL="1371600" indent="0">
              <a:buNone/>
              <a:defRPr sz="1500"/>
            </a:lvl4pPr>
            <a:lvl5pPr marL="1828800" indent="0">
              <a:buNone/>
              <a:defRPr sz="1500"/>
            </a:lvl5pPr>
          </a:lstStyle>
          <a:p>
            <a:pPr lvl="0"/>
            <a:r>
              <a:rPr lang="en-US" dirty="0"/>
              <a:t>Click to edit Master text styles</a:t>
            </a:r>
          </a:p>
        </p:txBody>
      </p:sp>
      <p:sp>
        <p:nvSpPr>
          <p:cNvPr id="13" name="Text Placeholder 2">
            <a:extLst>
              <a:ext uri="{FF2B5EF4-FFF2-40B4-BE49-F238E27FC236}">
                <a16:creationId xmlns:a16="http://schemas.microsoft.com/office/drawing/2014/main" id="{8FAE9A8B-7A7E-48C8-5104-AF4096A15107}"/>
              </a:ext>
            </a:extLst>
          </p:cNvPr>
          <p:cNvSpPr>
            <a:spLocks noGrp="1"/>
          </p:cNvSpPr>
          <p:nvPr>
            <p:ph type="body" sz="quarter" idx="16"/>
          </p:nvPr>
        </p:nvSpPr>
        <p:spPr>
          <a:xfrm>
            <a:off x="470950" y="3296024"/>
            <a:ext cx="8083494" cy="304800"/>
          </a:xfrm>
          <a:prstGeom prst="rect">
            <a:avLst/>
          </a:prstGeom>
        </p:spPr>
        <p:txBody>
          <a:bodyPr>
            <a:noAutofit/>
          </a:bodyPr>
          <a:lstStyle>
            <a:lvl1pPr marL="0" indent="0">
              <a:buNone/>
              <a:defRPr sz="1300">
                <a:solidFill>
                  <a:srgbClr val="FFFFFE"/>
                </a:solidFill>
              </a:defRPr>
            </a:lvl1pPr>
            <a:lvl2pPr marL="171450" indent="0">
              <a:buNone/>
              <a:defRPr sz="1500"/>
            </a:lvl2pPr>
            <a:lvl3pPr marL="285750" indent="0">
              <a:buNone/>
              <a:defRPr sz="1500"/>
            </a:lvl3pPr>
            <a:lvl4pPr marL="1371600" indent="0">
              <a:buNone/>
              <a:defRPr sz="1500"/>
            </a:lvl4pPr>
            <a:lvl5pPr marL="1828800" indent="0">
              <a:buNone/>
              <a:defRPr sz="1500"/>
            </a:lvl5pPr>
          </a:lstStyle>
          <a:p>
            <a:pPr lvl="0"/>
            <a:r>
              <a:rPr lang="en-US" dirty="0"/>
              <a:t>Click to edit Master text styles</a:t>
            </a:r>
          </a:p>
        </p:txBody>
      </p:sp>
    </p:spTree>
    <p:extLst>
      <p:ext uri="{BB962C8B-B14F-4D97-AF65-F5344CB8AC3E}">
        <p14:creationId xmlns:p14="http://schemas.microsoft.com/office/powerpoint/2010/main" val="3926141356"/>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rgbClr val="FFFFFF"/>
        </a:solidFill>
        <a:effectLst/>
      </p:bgPr>
    </p:bg>
    <p:spTree>
      <p:nvGrpSpPr>
        <p:cNvPr id="1" name=""/>
        <p:cNvGrpSpPr/>
        <p:nvPr/>
      </p:nvGrpSpPr>
      <p:grpSpPr>
        <a:xfrm>
          <a:off x="0" y="0"/>
          <a:ext cx="0" cy="0"/>
          <a:chOff x="0" y="0"/>
          <a:chExt cx="0" cy="0"/>
        </a:xfrm>
      </p:grpSpPr>
      <p:pic>
        <p:nvPicPr>
          <p:cNvPr id="22" name="Picture 21" descr="A grey and white background&#10;&#10;Description automatically generated">
            <a:extLst>
              <a:ext uri="{FF2B5EF4-FFF2-40B4-BE49-F238E27FC236}">
                <a16:creationId xmlns:a16="http://schemas.microsoft.com/office/drawing/2014/main" id="{A5703CEB-ED7C-4E3B-8D56-EDB3CCED4E1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582" r="-1"/>
          <a:stretch/>
        </p:blipFill>
        <p:spPr>
          <a:xfrm>
            <a:off x="0" y="-99184"/>
            <a:ext cx="9144000" cy="5247448"/>
          </a:xfrm>
          <a:prstGeom prst="rect">
            <a:avLst/>
          </a:prstGeom>
        </p:spPr>
      </p:pic>
      <p:sp>
        <p:nvSpPr>
          <p:cNvPr id="2" name="Rectangle 1">
            <a:extLst>
              <a:ext uri="{FF2B5EF4-FFF2-40B4-BE49-F238E27FC236}">
                <a16:creationId xmlns:a16="http://schemas.microsoft.com/office/drawing/2014/main" id="{F6EDA0E0-B9F5-788F-25DA-46213F183610}"/>
              </a:ext>
            </a:extLst>
          </p:cNvPr>
          <p:cNvSpPr/>
          <p:nvPr userDrawn="1"/>
        </p:nvSpPr>
        <p:spPr>
          <a:xfrm>
            <a:off x="-8279" y="-99185"/>
            <a:ext cx="9152280" cy="5247448"/>
          </a:xfrm>
          <a:prstGeom prst="rect">
            <a:avLst/>
          </a:prstGeom>
          <a:gradFill>
            <a:gsLst>
              <a:gs pos="0">
                <a:schemeClr val="accent1">
                  <a:lumMod val="0"/>
                  <a:alpha val="60000"/>
                </a:schemeClr>
              </a:gs>
              <a:gs pos="94000">
                <a:srgbClr val="00587C"/>
              </a:gs>
              <a:gs pos="39000">
                <a:srgbClr val="00587C">
                  <a:lumMod val="90034"/>
                </a:srgbClr>
              </a:gs>
            </a:gsLst>
            <a:lin ang="27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5" name="Title Placeholder 1">
            <a:extLst>
              <a:ext uri="{FF2B5EF4-FFF2-40B4-BE49-F238E27FC236}">
                <a16:creationId xmlns:a16="http://schemas.microsoft.com/office/drawing/2014/main" id="{E638591F-91AF-E95E-5716-8A184E820D02}"/>
              </a:ext>
            </a:extLst>
          </p:cNvPr>
          <p:cNvSpPr>
            <a:spLocks noGrp="1"/>
          </p:cNvSpPr>
          <p:nvPr>
            <p:ph type="title" hasCustomPrompt="1"/>
          </p:nvPr>
        </p:nvSpPr>
        <p:spPr>
          <a:xfrm>
            <a:off x="470950" y="2946104"/>
            <a:ext cx="8083494" cy="461665"/>
          </a:xfrm>
          <a:prstGeom prst="rect">
            <a:avLst/>
          </a:prstGeom>
        </p:spPr>
        <p:txBody>
          <a:bodyPr vert="horz" wrap="square" lIns="91440" tIns="45720" rIns="91440" bIns="45720" rtlCol="0" anchor="ctr">
            <a:spAutoFit/>
          </a:bodyPr>
          <a:lstStyle>
            <a:lvl1pPr algn="l">
              <a:defRPr sz="2400" b="0">
                <a:solidFill>
                  <a:srgbClr val="FFFFFE"/>
                </a:solidFill>
              </a:defRPr>
            </a:lvl1pPr>
          </a:lstStyle>
          <a:p>
            <a:r>
              <a:rPr lang="en-US" dirty="0"/>
              <a:t>Click to Edit Master Title Style</a:t>
            </a:r>
          </a:p>
        </p:txBody>
      </p:sp>
      <p:sp>
        <p:nvSpPr>
          <p:cNvPr id="16" name="Text Placeholder 2">
            <a:extLst>
              <a:ext uri="{FF2B5EF4-FFF2-40B4-BE49-F238E27FC236}">
                <a16:creationId xmlns:a16="http://schemas.microsoft.com/office/drawing/2014/main" id="{50EEDA94-9EA8-A0E0-C748-FF01CA52554C}"/>
              </a:ext>
            </a:extLst>
          </p:cNvPr>
          <p:cNvSpPr>
            <a:spLocks noGrp="1"/>
          </p:cNvSpPr>
          <p:nvPr>
            <p:ph type="body" sz="quarter" idx="15"/>
          </p:nvPr>
        </p:nvSpPr>
        <p:spPr>
          <a:xfrm>
            <a:off x="470950" y="3296024"/>
            <a:ext cx="8083494" cy="304800"/>
          </a:xfrm>
          <a:prstGeom prst="rect">
            <a:avLst/>
          </a:prstGeom>
        </p:spPr>
        <p:txBody>
          <a:bodyPr>
            <a:noAutofit/>
          </a:bodyPr>
          <a:lstStyle>
            <a:lvl1pPr marL="0" indent="0">
              <a:buNone/>
              <a:defRPr sz="1300">
                <a:solidFill>
                  <a:srgbClr val="FFFFFE"/>
                </a:solidFill>
              </a:defRPr>
            </a:lvl1pPr>
            <a:lvl2pPr marL="171450" indent="0">
              <a:buNone/>
              <a:defRPr sz="1500"/>
            </a:lvl2pPr>
            <a:lvl3pPr marL="285750" indent="0">
              <a:buNone/>
              <a:defRPr sz="1500"/>
            </a:lvl3pPr>
            <a:lvl4pPr marL="1371600" indent="0">
              <a:buNone/>
              <a:defRPr sz="1500"/>
            </a:lvl4pPr>
            <a:lvl5pPr marL="1828800" indent="0">
              <a:buNone/>
              <a:defRPr sz="1500"/>
            </a:lvl5pPr>
          </a:lstStyle>
          <a:p>
            <a:pPr lvl="0"/>
            <a:r>
              <a:rPr lang="en-US" dirty="0"/>
              <a:t>Click to edit Master text styles</a:t>
            </a:r>
          </a:p>
        </p:txBody>
      </p:sp>
    </p:spTree>
    <p:extLst>
      <p:ext uri="{BB962C8B-B14F-4D97-AF65-F5344CB8AC3E}">
        <p14:creationId xmlns:p14="http://schemas.microsoft.com/office/powerpoint/2010/main" val="2758138986"/>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Content Slide - 1 Col HIGH">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ADAF531E-0E10-DA42-9DD1-D6277CA5E59C}"/>
              </a:ext>
            </a:extLst>
          </p:cNvPr>
          <p:cNvSpPr>
            <a:spLocks noGrp="1"/>
          </p:cNvSpPr>
          <p:nvPr>
            <p:ph idx="1"/>
          </p:nvPr>
        </p:nvSpPr>
        <p:spPr>
          <a:xfrm>
            <a:off x="361950" y="1162751"/>
            <a:ext cx="8229600" cy="3267075"/>
          </a:xfrm>
          <a:prstGeom prst="rect">
            <a:avLst/>
          </a:prstGeom>
        </p:spPr>
        <p:txBody>
          <a:bodyPr/>
          <a:lstStyle>
            <a:lvl1pPr>
              <a:defRPr sz="1399">
                <a:solidFill>
                  <a:schemeClr val="tx1"/>
                </a:solidFill>
              </a:defRPr>
            </a:lvl1pPr>
            <a:lvl2pPr>
              <a:defRPr sz="1399">
                <a:solidFill>
                  <a:schemeClr val="tx1"/>
                </a:solidFill>
              </a:defRPr>
            </a:lvl2pPr>
            <a:lvl3pPr>
              <a:defRPr sz="1399">
                <a:solidFill>
                  <a:schemeClr val="tx1"/>
                </a:solidFill>
              </a:defRPr>
            </a:lvl3pPr>
            <a:lvl4pPr marL="634413" indent="-174464">
              <a:buClr>
                <a:schemeClr val="accent1"/>
              </a:buClr>
              <a:buSzPct val="80000"/>
              <a:buFont typeface="Courier New" panose="02070309020205020404" pitchFamily="49" charset="0"/>
              <a:buChar char="o"/>
              <a:tabLst/>
              <a:defRPr sz="1399">
                <a:solidFill>
                  <a:schemeClr val="tx1"/>
                </a:solidFill>
              </a:defRPr>
            </a:lvl4pPr>
            <a:lvl5pPr marL="799360" indent="-164948">
              <a:buClr>
                <a:schemeClr val="accent1"/>
              </a:buClr>
              <a:buFont typeface=".AppleSystemUIFont"/>
              <a:buChar char="–"/>
              <a:tabLst/>
              <a:defRPr sz="1399">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Placeholder 1">
            <a:extLst>
              <a:ext uri="{FF2B5EF4-FFF2-40B4-BE49-F238E27FC236}">
                <a16:creationId xmlns:a16="http://schemas.microsoft.com/office/drawing/2014/main" id="{FC760D2B-0637-D94D-8A76-42674071E7F5}"/>
              </a:ext>
            </a:extLst>
          </p:cNvPr>
          <p:cNvSpPr>
            <a:spLocks noGrp="1"/>
          </p:cNvSpPr>
          <p:nvPr>
            <p:ph type="title" hasCustomPrompt="1"/>
          </p:nvPr>
        </p:nvSpPr>
        <p:spPr>
          <a:xfrm>
            <a:off x="361950" y="291592"/>
            <a:ext cx="8229600" cy="461345"/>
          </a:xfrm>
          <a:prstGeom prst="rect">
            <a:avLst/>
          </a:prstGeom>
        </p:spPr>
        <p:txBody>
          <a:bodyPr vert="horz" lIns="91440" tIns="45720" rIns="91440" bIns="45720" rtlCol="0" anchor="ctr">
            <a:spAutoFit/>
          </a:bodyPr>
          <a:lstStyle>
            <a:lvl1pPr>
              <a:defRPr b="0" cap="none">
                <a:solidFill>
                  <a:schemeClr val="accent1"/>
                </a:solidFill>
              </a:defRPr>
            </a:lvl1pPr>
          </a:lstStyle>
          <a:p>
            <a:r>
              <a:rPr lang="en-US" dirty="0"/>
              <a:t>Click to Add Title</a:t>
            </a:r>
          </a:p>
        </p:txBody>
      </p:sp>
      <p:sp>
        <p:nvSpPr>
          <p:cNvPr id="10" name="Text Placeholder 2">
            <a:extLst>
              <a:ext uri="{FF2B5EF4-FFF2-40B4-BE49-F238E27FC236}">
                <a16:creationId xmlns:a16="http://schemas.microsoft.com/office/drawing/2014/main" id="{E7417283-673C-AD4A-8C19-CF0D191AAAD2}"/>
              </a:ext>
            </a:extLst>
          </p:cNvPr>
          <p:cNvSpPr>
            <a:spLocks noGrp="1"/>
          </p:cNvSpPr>
          <p:nvPr>
            <p:ph type="body" sz="quarter" idx="15"/>
          </p:nvPr>
        </p:nvSpPr>
        <p:spPr>
          <a:xfrm>
            <a:off x="361950" y="622300"/>
            <a:ext cx="8229600" cy="349250"/>
          </a:xfrm>
          <a:prstGeom prst="rect">
            <a:avLst/>
          </a:prstGeom>
        </p:spPr>
        <p:txBody>
          <a:bodyPr>
            <a:noAutofit/>
          </a:bodyPr>
          <a:lstStyle>
            <a:lvl1pPr marL="0" indent="0">
              <a:buNone/>
              <a:defRPr sz="1300">
                <a:solidFill>
                  <a:schemeClr val="bg1"/>
                </a:solidFill>
              </a:defRPr>
            </a:lvl1pPr>
            <a:lvl2pPr marL="171292" indent="0">
              <a:buNone/>
              <a:defRPr sz="1499">
                <a:solidFill>
                  <a:schemeClr val="tx2"/>
                </a:solidFill>
              </a:defRPr>
            </a:lvl2pPr>
            <a:lvl3pPr marL="285486" indent="0">
              <a:buNone/>
              <a:defRPr sz="1499">
                <a:solidFill>
                  <a:schemeClr val="tx2"/>
                </a:solidFill>
              </a:defRPr>
            </a:lvl3pPr>
            <a:lvl4pPr marL="1370331" indent="0">
              <a:buNone/>
              <a:defRPr sz="1499">
                <a:solidFill>
                  <a:schemeClr val="tx2"/>
                </a:solidFill>
              </a:defRPr>
            </a:lvl4pPr>
            <a:lvl5pPr marL="1827108" indent="0">
              <a:buNone/>
              <a:defRPr sz="1499">
                <a:solidFill>
                  <a:schemeClr val="tx2"/>
                </a:solidFill>
              </a:defRPr>
            </a:lvl5pPr>
          </a:lstStyle>
          <a:p>
            <a:pPr lvl="0"/>
            <a:r>
              <a:rPr lang="en-US" dirty="0"/>
              <a:t>Click to edit Master text styles</a:t>
            </a:r>
          </a:p>
        </p:txBody>
      </p:sp>
      <p:sp>
        <p:nvSpPr>
          <p:cNvPr id="3" name="Footer Placeholder 5">
            <a:extLst>
              <a:ext uri="{FF2B5EF4-FFF2-40B4-BE49-F238E27FC236}">
                <a16:creationId xmlns:a16="http://schemas.microsoft.com/office/drawing/2014/main" id="{984DC991-A186-0D12-14A2-5F4420459921}"/>
              </a:ext>
            </a:extLst>
          </p:cNvPr>
          <p:cNvSpPr>
            <a:spLocks noGrp="1"/>
          </p:cNvSpPr>
          <p:nvPr>
            <p:ph type="ftr" sz="quarter" idx="3"/>
          </p:nvPr>
        </p:nvSpPr>
        <p:spPr>
          <a:xfrm>
            <a:off x="5778500" y="4839481"/>
            <a:ext cx="3086100" cy="273050"/>
          </a:xfrm>
          <a:prstGeom prst="rect">
            <a:avLst/>
          </a:prstGeom>
        </p:spPr>
        <p:txBody>
          <a:bodyPr vert="horz" lIns="91440" tIns="45720" rIns="91440" bIns="45720" rtlCol="0" anchor="ctr"/>
          <a:lstStyle>
            <a:lvl1pPr algn="r">
              <a:defRPr sz="799">
                <a:solidFill>
                  <a:schemeClr val="tx2"/>
                </a:solidFill>
              </a:defRPr>
            </a:lvl1pPr>
          </a:lstStyle>
          <a:p>
            <a:endParaRPr lang="en-US" dirty="0"/>
          </a:p>
        </p:txBody>
      </p:sp>
    </p:spTree>
    <p:extLst>
      <p:ext uri="{BB962C8B-B14F-4D97-AF65-F5344CB8AC3E}">
        <p14:creationId xmlns:p14="http://schemas.microsoft.com/office/powerpoint/2010/main" val="3653630547"/>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6_Title Slide">
    <p:bg>
      <p:bgPr>
        <a:solidFill>
          <a:srgbClr val="FFFFFF"/>
        </a:solidFill>
        <a:effectLst/>
      </p:bgPr>
    </p:bg>
    <p:spTree>
      <p:nvGrpSpPr>
        <p:cNvPr id="1" name=""/>
        <p:cNvGrpSpPr/>
        <p:nvPr/>
      </p:nvGrpSpPr>
      <p:grpSpPr>
        <a:xfrm>
          <a:off x="0" y="0"/>
          <a:ext cx="0" cy="0"/>
          <a:chOff x="0" y="0"/>
          <a:chExt cx="0" cy="0"/>
        </a:xfrm>
      </p:grpSpPr>
      <p:pic>
        <p:nvPicPr>
          <p:cNvPr id="12" name="Picture 11" descr="A grey and white background&#10;&#10;Description automatically generated">
            <a:extLst>
              <a:ext uri="{FF2B5EF4-FFF2-40B4-BE49-F238E27FC236}">
                <a16:creationId xmlns:a16="http://schemas.microsoft.com/office/drawing/2014/main" id="{3DD50BDF-420D-A68A-0CB7-D45B88B7672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582" r="-1"/>
          <a:stretch/>
        </p:blipFill>
        <p:spPr>
          <a:xfrm>
            <a:off x="0" y="-99184"/>
            <a:ext cx="9144000" cy="5247448"/>
          </a:xfrm>
          <a:prstGeom prst="rect">
            <a:avLst/>
          </a:prstGeom>
        </p:spPr>
      </p:pic>
      <p:sp>
        <p:nvSpPr>
          <p:cNvPr id="6" name="Rectangle 5">
            <a:extLst>
              <a:ext uri="{FF2B5EF4-FFF2-40B4-BE49-F238E27FC236}">
                <a16:creationId xmlns:a16="http://schemas.microsoft.com/office/drawing/2014/main" id="{24F197F4-BE7B-46B6-BFD4-184D130FE280}"/>
              </a:ext>
            </a:extLst>
          </p:cNvPr>
          <p:cNvSpPr/>
          <p:nvPr userDrawn="1"/>
        </p:nvSpPr>
        <p:spPr>
          <a:xfrm>
            <a:off x="0" y="-99184"/>
            <a:ext cx="9156813" cy="5275582"/>
          </a:xfrm>
          <a:prstGeom prst="rect">
            <a:avLst/>
          </a:prstGeom>
          <a:gradFill>
            <a:gsLst>
              <a:gs pos="0">
                <a:srgbClr val="002060">
                  <a:alpha val="59403"/>
                  <a:lumMod val="33478"/>
                </a:srgbClr>
              </a:gs>
              <a:gs pos="82000">
                <a:schemeClr val="accent2"/>
              </a:gs>
              <a:gs pos="37000">
                <a:schemeClr val="accent2"/>
              </a:gs>
            </a:gsLst>
            <a:lin ang="27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Placeholder 1">
            <a:extLst>
              <a:ext uri="{FF2B5EF4-FFF2-40B4-BE49-F238E27FC236}">
                <a16:creationId xmlns:a16="http://schemas.microsoft.com/office/drawing/2014/main" id="{6963DE1B-935C-298D-293E-7411F5EF9D43}"/>
              </a:ext>
            </a:extLst>
          </p:cNvPr>
          <p:cNvSpPr>
            <a:spLocks noGrp="1"/>
          </p:cNvSpPr>
          <p:nvPr>
            <p:ph type="title" hasCustomPrompt="1"/>
          </p:nvPr>
        </p:nvSpPr>
        <p:spPr>
          <a:xfrm>
            <a:off x="470950" y="2946104"/>
            <a:ext cx="8083494" cy="461665"/>
          </a:xfrm>
          <a:prstGeom prst="rect">
            <a:avLst/>
          </a:prstGeom>
        </p:spPr>
        <p:txBody>
          <a:bodyPr vert="horz" wrap="square" lIns="91440" tIns="45720" rIns="91440" bIns="45720" rtlCol="0" anchor="ctr">
            <a:spAutoFit/>
          </a:bodyPr>
          <a:lstStyle>
            <a:lvl1pPr algn="l">
              <a:defRPr sz="2400" b="0">
                <a:solidFill>
                  <a:srgbClr val="FFFFFE"/>
                </a:solidFill>
              </a:defRPr>
            </a:lvl1pPr>
          </a:lstStyle>
          <a:p>
            <a:r>
              <a:rPr lang="en-US" dirty="0"/>
              <a:t>Click to Edit Master Title Style</a:t>
            </a:r>
          </a:p>
        </p:txBody>
      </p:sp>
      <p:sp>
        <p:nvSpPr>
          <p:cNvPr id="22" name="Text Placeholder 2">
            <a:extLst>
              <a:ext uri="{FF2B5EF4-FFF2-40B4-BE49-F238E27FC236}">
                <a16:creationId xmlns:a16="http://schemas.microsoft.com/office/drawing/2014/main" id="{B4BF2A63-34D7-C884-A5BE-00FE9BC19A57}"/>
              </a:ext>
            </a:extLst>
          </p:cNvPr>
          <p:cNvSpPr>
            <a:spLocks noGrp="1"/>
          </p:cNvSpPr>
          <p:nvPr>
            <p:ph type="body" sz="quarter" idx="15"/>
          </p:nvPr>
        </p:nvSpPr>
        <p:spPr>
          <a:xfrm>
            <a:off x="470950" y="3296024"/>
            <a:ext cx="8083494" cy="304800"/>
          </a:xfrm>
          <a:prstGeom prst="rect">
            <a:avLst/>
          </a:prstGeom>
        </p:spPr>
        <p:txBody>
          <a:bodyPr>
            <a:noAutofit/>
          </a:bodyPr>
          <a:lstStyle>
            <a:lvl1pPr marL="0" indent="0">
              <a:buNone/>
              <a:defRPr sz="1300">
                <a:solidFill>
                  <a:srgbClr val="FFFFFE"/>
                </a:solidFill>
              </a:defRPr>
            </a:lvl1pPr>
            <a:lvl2pPr marL="171450" indent="0">
              <a:buNone/>
              <a:defRPr sz="1500"/>
            </a:lvl2pPr>
            <a:lvl3pPr marL="285750" indent="0">
              <a:buNone/>
              <a:defRPr sz="1500"/>
            </a:lvl3pPr>
            <a:lvl4pPr marL="1371600" indent="0">
              <a:buNone/>
              <a:defRPr sz="1500"/>
            </a:lvl4pPr>
            <a:lvl5pPr marL="1828800" indent="0">
              <a:buNone/>
              <a:defRPr sz="1500"/>
            </a:lvl5pPr>
          </a:lstStyle>
          <a:p>
            <a:pPr lvl="0"/>
            <a:r>
              <a:rPr lang="en-US" dirty="0"/>
              <a:t>Click to edit Master text styles</a:t>
            </a:r>
          </a:p>
        </p:txBody>
      </p:sp>
    </p:spTree>
    <p:extLst>
      <p:ext uri="{BB962C8B-B14F-4D97-AF65-F5344CB8AC3E}">
        <p14:creationId xmlns:p14="http://schemas.microsoft.com/office/powerpoint/2010/main" val="2222108271"/>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8_Title Slide">
    <p:bg>
      <p:bgPr>
        <a:solidFill>
          <a:srgbClr val="FFFFFF"/>
        </a:solidFill>
        <a:effectLst/>
      </p:bgPr>
    </p:bg>
    <p:spTree>
      <p:nvGrpSpPr>
        <p:cNvPr id="1" name=""/>
        <p:cNvGrpSpPr/>
        <p:nvPr/>
      </p:nvGrpSpPr>
      <p:grpSpPr>
        <a:xfrm>
          <a:off x="0" y="0"/>
          <a:ext cx="0" cy="0"/>
          <a:chOff x="0" y="0"/>
          <a:chExt cx="0" cy="0"/>
        </a:xfrm>
      </p:grpSpPr>
      <p:pic>
        <p:nvPicPr>
          <p:cNvPr id="12" name="Picture 11" descr="A grey and white background&#10;&#10;Description automatically generated">
            <a:extLst>
              <a:ext uri="{FF2B5EF4-FFF2-40B4-BE49-F238E27FC236}">
                <a16:creationId xmlns:a16="http://schemas.microsoft.com/office/drawing/2014/main" id="{3DD50BDF-420D-A68A-0CB7-D45B88B7672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582" r="-1"/>
          <a:stretch/>
        </p:blipFill>
        <p:spPr>
          <a:xfrm>
            <a:off x="0" y="-99184"/>
            <a:ext cx="9144000" cy="5247448"/>
          </a:xfrm>
          <a:prstGeom prst="rect">
            <a:avLst/>
          </a:prstGeom>
        </p:spPr>
      </p:pic>
      <p:sp>
        <p:nvSpPr>
          <p:cNvPr id="6" name="Rectangle 5">
            <a:extLst>
              <a:ext uri="{FF2B5EF4-FFF2-40B4-BE49-F238E27FC236}">
                <a16:creationId xmlns:a16="http://schemas.microsoft.com/office/drawing/2014/main" id="{24F197F4-BE7B-46B6-BFD4-184D130FE280}"/>
              </a:ext>
            </a:extLst>
          </p:cNvPr>
          <p:cNvSpPr/>
          <p:nvPr userDrawn="1"/>
        </p:nvSpPr>
        <p:spPr>
          <a:xfrm>
            <a:off x="0" y="-99184"/>
            <a:ext cx="9156813" cy="5275582"/>
          </a:xfrm>
          <a:prstGeom prst="rect">
            <a:avLst/>
          </a:prstGeom>
          <a:gradFill>
            <a:gsLst>
              <a:gs pos="0">
                <a:srgbClr val="002060">
                  <a:alpha val="59403"/>
                  <a:lumMod val="33000"/>
                </a:srgbClr>
              </a:gs>
              <a:gs pos="82000">
                <a:schemeClr val="tx1">
                  <a:lumMod val="50000"/>
                </a:schemeClr>
              </a:gs>
              <a:gs pos="33000">
                <a:schemeClr val="bg1">
                  <a:lumMod val="75000"/>
                </a:schemeClr>
              </a:gs>
            </a:gsLst>
            <a:lin ang="27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 name="Title Placeholder 1">
            <a:extLst>
              <a:ext uri="{FF2B5EF4-FFF2-40B4-BE49-F238E27FC236}">
                <a16:creationId xmlns:a16="http://schemas.microsoft.com/office/drawing/2014/main" id="{6963DE1B-935C-298D-293E-7411F5EF9D43}"/>
              </a:ext>
            </a:extLst>
          </p:cNvPr>
          <p:cNvSpPr>
            <a:spLocks noGrp="1"/>
          </p:cNvSpPr>
          <p:nvPr>
            <p:ph type="title" hasCustomPrompt="1"/>
          </p:nvPr>
        </p:nvSpPr>
        <p:spPr>
          <a:xfrm>
            <a:off x="470950" y="2946104"/>
            <a:ext cx="8083494" cy="461665"/>
          </a:xfrm>
          <a:prstGeom prst="rect">
            <a:avLst/>
          </a:prstGeom>
        </p:spPr>
        <p:txBody>
          <a:bodyPr vert="horz" wrap="square" lIns="91440" tIns="45720" rIns="91440" bIns="45720" rtlCol="0" anchor="ctr">
            <a:spAutoFit/>
          </a:bodyPr>
          <a:lstStyle>
            <a:lvl1pPr algn="l">
              <a:defRPr sz="2400" b="0">
                <a:solidFill>
                  <a:srgbClr val="FFFFFE"/>
                </a:solidFill>
              </a:defRPr>
            </a:lvl1pPr>
          </a:lstStyle>
          <a:p>
            <a:r>
              <a:rPr lang="en-US" dirty="0"/>
              <a:t>This Slide is assigned to a Q&amp;A Slide</a:t>
            </a:r>
          </a:p>
        </p:txBody>
      </p:sp>
      <p:sp>
        <p:nvSpPr>
          <p:cNvPr id="22" name="Text Placeholder 2">
            <a:extLst>
              <a:ext uri="{FF2B5EF4-FFF2-40B4-BE49-F238E27FC236}">
                <a16:creationId xmlns:a16="http://schemas.microsoft.com/office/drawing/2014/main" id="{B4BF2A63-34D7-C884-A5BE-00FE9BC19A57}"/>
              </a:ext>
            </a:extLst>
          </p:cNvPr>
          <p:cNvSpPr>
            <a:spLocks noGrp="1"/>
          </p:cNvSpPr>
          <p:nvPr>
            <p:ph type="body" sz="quarter" idx="15"/>
          </p:nvPr>
        </p:nvSpPr>
        <p:spPr>
          <a:xfrm>
            <a:off x="470950" y="3296024"/>
            <a:ext cx="8083494" cy="304800"/>
          </a:xfrm>
          <a:prstGeom prst="rect">
            <a:avLst/>
          </a:prstGeom>
        </p:spPr>
        <p:txBody>
          <a:bodyPr>
            <a:noAutofit/>
          </a:bodyPr>
          <a:lstStyle>
            <a:lvl1pPr marL="0" indent="0">
              <a:buNone/>
              <a:defRPr sz="1300">
                <a:solidFill>
                  <a:srgbClr val="FFFFFE"/>
                </a:solidFill>
              </a:defRPr>
            </a:lvl1pPr>
            <a:lvl2pPr marL="171450" indent="0">
              <a:buNone/>
              <a:defRPr sz="1500"/>
            </a:lvl2pPr>
            <a:lvl3pPr marL="285750" indent="0">
              <a:buNone/>
              <a:defRPr sz="1500"/>
            </a:lvl3pPr>
            <a:lvl4pPr marL="1371600" indent="0">
              <a:buNone/>
              <a:defRPr sz="1500"/>
            </a:lvl4pPr>
            <a:lvl5pPr marL="1828800" indent="0">
              <a:buNone/>
              <a:defRPr sz="1500"/>
            </a:lvl5pPr>
          </a:lstStyle>
          <a:p>
            <a:pPr lvl="0"/>
            <a:r>
              <a:rPr lang="en-US" dirty="0"/>
              <a:t>Click to edit Master text styles</a:t>
            </a:r>
          </a:p>
        </p:txBody>
      </p:sp>
    </p:spTree>
    <p:extLst>
      <p:ext uri="{BB962C8B-B14F-4D97-AF65-F5344CB8AC3E}">
        <p14:creationId xmlns:p14="http://schemas.microsoft.com/office/powerpoint/2010/main" val="3129643851"/>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1525290"/>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EB8D2D"/>
        </a:solidFill>
        <a:effectLst/>
      </p:bgPr>
    </p:bg>
    <p:spTree>
      <p:nvGrpSpPr>
        <p:cNvPr id="1" name=""/>
        <p:cNvGrpSpPr/>
        <p:nvPr/>
      </p:nvGrpSpPr>
      <p:grpSpPr>
        <a:xfrm>
          <a:off x="0" y="0"/>
          <a:ext cx="0" cy="0"/>
          <a:chOff x="0" y="0"/>
          <a:chExt cx="0" cy="0"/>
        </a:xfrm>
      </p:grpSpPr>
      <p:sp>
        <p:nvSpPr>
          <p:cNvPr id="2" name="Title 6"/>
          <p:cNvSpPr>
            <a:spLocks noGrp="1"/>
          </p:cNvSpPr>
          <p:nvPr>
            <p:ph type="title" hasCustomPrompt="1"/>
          </p:nvPr>
        </p:nvSpPr>
        <p:spPr>
          <a:xfrm>
            <a:off x="457200" y="3165997"/>
            <a:ext cx="8229600" cy="492443"/>
          </a:xfrm>
          <a:prstGeom prst="rect">
            <a:avLst/>
          </a:prstGeom>
        </p:spPr>
        <p:txBody>
          <a:bodyPr vert="horz">
            <a:spAutoFit/>
          </a:bodyPr>
          <a:lstStyle>
            <a:lvl1pPr algn="l">
              <a:defRPr sz="2600" b="0" cap="none" spc="-45">
                <a:solidFill>
                  <a:srgbClr val="FFFFFE"/>
                </a:solidFill>
                <a:latin typeface="Arial"/>
                <a:cs typeface="Arial"/>
              </a:defRPr>
            </a:lvl1pPr>
          </a:lstStyle>
          <a:p>
            <a:r>
              <a:rPr lang="en-US"/>
              <a:t>Click to edit master title style</a:t>
            </a:r>
          </a:p>
        </p:txBody>
      </p:sp>
      <p:sp>
        <p:nvSpPr>
          <p:cNvPr id="3" name="Content Placeholder 8"/>
          <p:cNvSpPr>
            <a:spLocks noGrp="1"/>
          </p:cNvSpPr>
          <p:nvPr>
            <p:ph sz="quarter" idx="10" hasCustomPrompt="1"/>
          </p:nvPr>
        </p:nvSpPr>
        <p:spPr>
          <a:xfrm>
            <a:off x="457200" y="3585216"/>
            <a:ext cx="8229600" cy="323464"/>
          </a:xfrm>
          <a:prstGeom prst="rect">
            <a:avLst/>
          </a:prstGeom>
        </p:spPr>
        <p:txBody>
          <a:bodyPr vert="horz" wrap="square">
            <a:spAutoFit/>
          </a:bodyPr>
          <a:lstStyle>
            <a:lvl1pPr marL="0" indent="0">
              <a:buNone/>
              <a:defRPr sz="1600" baseline="0">
                <a:solidFill>
                  <a:srgbClr val="FFFFFE"/>
                </a:solidFill>
                <a:latin typeface="Arial"/>
                <a:cs typeface="Arial"/>
              </a:defRPr>
            </a:lvl1pPr>
          </a:lstStyle>
          <a:p>
            <a:pPr lvl="0"/>
            <a:r>
              <a:rPr lang="en-US" sz="1500">
                <a:latin typeface="Arial"/>
                <a:cs typeface="Arial"/>
              </a:rPr>
              <a:t>Click to edit subtitle.</a:t>
            </a:r>
            <a:endParaRPr lang="en-US"/>
          </a:p>
        </p:txBody>
      </p:sp>
      <p:pic>
        <p:nvPicPr>
          <p:cNvPr id="5" name="Picture 4" descr="A picture containing black, darkness&#10;&#10;Description automatically generated">
            <a:extLst>
              <a:ext uri="{FF2B5EF4-FFF2-40B4-BE49-F238E27FC236}">
                <a16:creationId xmlns:a16="http://schemas.microsoft.com/office/drawing/2014/main" id="{76331411-7A1C-4F31-C186-012887F5F647}"/>
              </a:ext>
            </a:extLst>
          </p:cNvPr>
          <p:cNvPicPr>
            <a:picLocks noChangeAspect="1"/>
          </p:cNvPicPr>
          <p:nvPr userDrawn="1"/>
        </p:nvPicPr>
        <p:blipFill rotWithShape="1">
          <a:blip r:embed="rId2" cstate="print">
            <a:alphaModFix amt="9000"/>
            <a:extLst>
              <a:ext uri="{28A0092B-C50C-407E-A947-70E740481C1C}">
                <a14:useLocalDpi xmlns:a14="http://schemas.microsoft.com/office/drawing/2010/main"/>
              </a:ext>
            </a:extLst>
          </a:blip>
          <a:srcRect/>
          <a:stretch/>
        </p:blipFill>
        <p:spPr>
          <a:xfrm>
            <a:off x="4747536" y="1338228"/>
            <a:ext cx="4396464" cy="3810036"/>
          </a:xfrm>
          <a:prstGeom prst="rect">
            <a:avLst/>
          </a:prstGeom>
        </p:spPr>
      </p:pic>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ontent Slide - 1 Col HIGH">
    <p:spTree>
      <p:nvGrpSpPr>
        <p:cNvPr id="1" name=""/>
        <p:cNvGrpSpPr/>
        <p:nvPr/>
      </p:nvGrpSpPr>
      <p:grpSpPr>
        <a:xfrm>
          <a:off x="0" y="0"/>
          <a:ext cx="0" cy="0"/>
          <a:chOff x="0" y="0"/>
          <a:chExt cx="0" cy="0"/>
        </a:xfrm>
      </p:grpSpPr>
      <p:sp>
        <p:nvSpPr>
          <p:cNvPr id="9" name="Title Placeholder 1"/>
          <p:cNvSpPr>
            <a:spLocks noGrp="1"/>
          </p:cNvSpPr>
          <p:nvPr>
            <p:ph type="title" hasCustomPrompt="1"/>
          </p:nvPr>
        </p:nvSpPr>
        <p:spPr>
          <a:xfrm>
            <a:off x="361950" y="354931"/>
            <a:ext cx="8229600" cy="461665"/>
          </a:xfrm>
          <a:prstGeom prst="rect">
            <a:avLst/>
          </a:prstGeom>
        </p:spPr>
        <p:txBody>
          <a:bodyPr vert="horz" lIns="91440" tIns="45720" rIns="91440" bIns="45720" rtlCol="0" anchor="ctr">
            <a:spAutoFit/>
          </a:bodyPr>
          <a:lstStyle>
            <a:lvl1pPr>
              <a:defRPr sz="2400" b="0" cap="none"/>
            </a:lvl1pPr>
          </a:lstStyle>
          <a:p>
            <a:r>
              <a:rPr lang="en-US"/>
              <a:t>Click to add title</a:t>
            </a:r>
          </a:p>
        </p:txBody>
      </p:sp>
      <p:sp>
        <p:nvSpPr>
          <p:cNvPr id="3" name="Text Placeholder 2"/>
          <p:cNvSpPr>
            <a:spLocks noGrp="1"/>
          </p:cNvSpPr>
          <p:nvPr>
            <p:ph type="body" sz="quarter" idx="10"/>
          </p:nvPr>
        </p:nvSpPr>
        <p:spPr>
          <a:xfrm>
            <a:off x="361950" y="714375"/>
            <a:ext cx="8229600" cy="361950"/>
          </a:xfrm>
          <a:prstGeom prst="rect">
            <a:avLst/>
          </a:prstGeom>
        </p:spPr>
        <p:txBody>
          <a:bodyPr>
            <a:normAutofit/>
          </a:bodyPr>
          <a:lstStyle>
            <a:lvl1pPr marL="0" indent="0">
              <a:buNone/>
              <a:defRPr sz="1400">
                <a:solidFill>
                  <a:schemeClr val="tx2"/>
                </a:solidFill>
              </a:defRPr>
            </a:lvl1pPr>
          </a:lstStyle>
          <a:p>
            <a:pPr lvl="0"/>
            <a:r>
              <a:rPr lang="en-US"/>
              <a:t>Click to edit Master text styles</a:t>
            </a:r>
          </a:p>
        </p:txBody>
      </p:sp>
      <p:sp>
        <p:nvSpPr>
          <p:cNvPr id="5" name="Text Placeholder 4"/>
          <p:cNvSpPr>
            <a:spLocks noGrp="1"/>
          </p:cNvSpPr>
          <p:nvPr>
            <p:ph type="body" sz="quarter" idx="11"/>
          </p:nvPr>
        </p:nvSpPr>
        <p:spPr>
          <a:xfrm>
            <a:off x="361950" y="1235075"/>
            <a:ext cx="8229600" cy="3051175"/>
          </a:xfrm>
          <a:prstGeom prst="rect">
            <a:avLst/>
          </a:prstGeom>
        </p:spPr>
        <p:txBody>
          <a:bodyPr vert="horz"/>
          <a:lstStyle>
            <a:lvl1pPr>
              <a:defRPr sz="1500">
                <a:solidFill>
                  <a:schemeClr val="bg1"/>
                </a:solidFill>
              </a:defRPr>
            </a:lvl1pPr>
            <a:lvl2pPr>
              <a:defRPr sz="1500">
                <a:solidFill>
                  <a:schemeClr val="bg1"/>
                </a:solidFill>
              </a:defRPr>
            </a:lvl2pPr>
            <a:lvl3pPr>
              <a:defRPr sz="1500">
                <a:solidFill>
                  <a:schemeClr val="bg1"/>
                </a:solidFill>
              </a:defRPr>
            </a:lvl3pPr>
            <a:lvl4pPr>
              <a:defRPr sz="1500">
                <a:solidFill>
                  <a:schemeClr val="bg1"/>
                </a:solidFill>
              </a:defRPr>
            </a:lvl4pPr>
            <a:lvl5pPr>
              <a:defRPr sz="15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2" name="Footer Placeholder 4">
            <a:extLst>
              <a:ext uri="{FF2B5EF4-FFF2-40B4-BE49-F238E27FC236}">
                <a16:creationId xmlns:a16="http://schemas.microsoft.com/office/drawing/2014/main" id="{A752470E-A325-8632-A690-BEF9228E212A}"/>
              </a:ext>
            </a:extLst>
          </p:cNvPr>
          <p:cNvSpPr>
            <a:spLocks noGrp="1"/>
          </p:cNvSpPr>
          <p:nvPr>
            <p:ph type="ftr" sz="quarter" idx="3"/>
          </p:nvPr>
        </p:nvSpPr>
        <p:spPr>
          <a:xfrm>
            <a:off x="5835079" y="4878360"/>
            <a:ext cx="2966906" cy="273050"/>
          </a:xfrm>
          <a:prstGeom prst="rect">
            <a:avLst/>
          </a:prstGeom>
        </p:spPr>
        <p:txBody>
          <a:bodyPr/>
          <a:lstStyle>
            <a:lvl1pPr algn="r">
              <a:defRPr sz="900">
                <a:solidFill>
                  <a:schemeClr val="bg1">
                    <a:lumMod val="60000"/>
                    <a:lumOff val="40000"/>
                  </a:schemeClr>
                </a:solidFill>
              </a:defRPr>
            </a:lvl1pPr>
          </a:lstStyle>
          <a:p>
            <a:endParaRPr lang="en-US"/>
          </a:p>
        </p:txBody>
      </p:sp>
    </p:spTree>
    <p:extLst>
      <p:ext uri="{BB962C8B-B14F-4D97-AF65-F5344CB8AC3E}">
        <p14:creationId xmlns:p14="http://schemas.microsoft.com/office/powerpoint/2010/main" val="3888868456"/>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Content Slide - 1 Col HIGH">
    <p:spTree>
      <p:nvGrpSpPr>
        <p:cNvPr id="1" name=""/>
        <p:cNvGrpSpPr/>
        <p:nvPr/>
      </p:nvGrpSpPr>
      <p:grpSpPr>
        <a:xfrm>
          <a:off x="0" y="0"/>
          <a:ext cx="0" cy="0"/>
          <a:chOff x="0" y="0"/>
          <a:chExt cx="0" cy="0"/>
        </a:xfrm>
      </p:grpSpPr>
      <p:sp>
        <p:nvSpPr>
          <p:cNvPr id="9" name="Title Placeholder 1"/>
          <p:cNvSpPr>
            <a:spLocks noGrp="1"/>
          </p:cNvSpPr>
          <p:nvPr>
            <p:ph type="title" hasCustomPrompt="1"/>
          </p:nvPr>
        </p:nvSpPr>
        <p:spPr>
          <a:xfrm>
            <a:off x="361950" y="355252"/>
            <a:ext cx="8229600" cy="461024"/>
          </a:xfrm>
          <a:prstGeom prst="rect">
            <a:avLst/>
          </a:prstGeom>
        </p:spPr>
        <p:txBody>
          <a:bodyPr vert="horz" lIns="91440" tIns="45720" rIns="91440" bIns="45720" rtlCol="0" anchor="ctr">
            <a:spAutoFit/>
          </a:bodyPr>
          <a:lstStyle>
            <a:lvl1pPr>
              <a:defRPr sz="2396" b="0" cap="none"/>
            </a:lvl1pPr>
          </a:lstStyle>
          <a:p>
            <a:r>
              <a:rPr lang="en-US"/>
              <a:t>Click to add title</a:t>
            </a:r>
          </a:p>
        </p:txBody>
      </p:sp>
      <p:sp>
        <p:nvSpPr>
          <p:cNvPr id="3" name="Text Placeholder 2"/>
          <p:cNvSpPr>
            <a:spLocks noGrp="1"/>
          </p:cNvSpPr>
          <p:nvPr>
            <p:ph type="body" sz="quarter" idx="10"/>
          </p:nvPr>
        </p:nvSpPr>
        <p:spPr>
          <a:xfrm>
            <a:off x="361950" y="714375"/>
            <a:ext cx="8229600" cy="361950"/>
          </a:xfrm>
          <a:prstGeom prst="rect">
            <a:avLst/>
          </a:prstGeom>
        </p:spPr>
        <p:txBody>
          <a:bodyPr>
            <a:normAutofit/>
          </a:bodyPr>
          <a:lstStyle>
            <a:lvl1pPr marL="0" indent="0">
              <a:buNone/>
              <a:defRPr sz="1398">
                <a:solidFill>
                  <a:schemeClr val="tx2"/>
                </a:solidFill>
              </a:defRPr>
            </a:lvl1pPr>
          </a:lstStyle>
          <a:p>
            <a:pPr lvl="0"/>
            <a:r>
              <a:rPr lang="en-US"/>
              <a:t>Click to edit Master text styles</a:t>
            </a:r>
          </a:p>
        </p:txBody>
      </p:sp>
      <p:sp>
        <p:nvSpPr>
          <p:cNvPr id="5" name="Text Placeholder 4"/>
          <p:cNvSpPr>
            <a:spLocks noGrp="1"/>
          </p:cNvSpPr>
          <p:nvPr>
            <p:ph type="body" sz="quarter" idx="11"/>
          </p:nvPr>
        </p:nvSpPr>
        <p:spPr>
          <a:xfrm>
            <a:off x="361950" y="1235077"/>
            <a:ext cx="8229600" cy="3051175"/>
          </a:xfrm>
          <a:prstGeom prst="rect">
            <a:avLst/>
          </a:prstGeom>
        </p:spPr>
        <p:txBody>
          <a:bodyPr vert="horz"/>
          <a:lstStyle>
            <a:lvl1pPr>
              <a:defRPr sz="1498">
                <a:solidFill>
                  <a:schemeClr val="bg1"/>
                </a:solidFill>
              </a:defRPr>
            </a:lvl1pPr>
            <a:lvl2pPr>
              <a:defRPr sz="1498">
                <a:solidFill>
                  <a:schemeClr val="bg1"/>
                </a:solidFill>
              </a:defRPr>
            </a:lvl2pPr>
            <a:lvl3pPr>
              <a:defRPr sz="1498">
                <a:solidFill>
                  <a:schemeClr val="bg1"/>
                </a:solidFill>
              </a:defRPr>
            </a:lvl3pPr>
            <a:lvl4pPr>
              <a:defRPr sz="1498">
                <a:solidFill>
                  <a:schemeClr val="bg1"/>
                </a:solidFill>
              </a:defRPr>
            </a:lvl4pPr>
            <a:lvl5pPr>
              <a:defRPr sz="1498">
                <a:solidFill>
                  <a:schemeClr val="bg1"/>
                </a:solidFill>
              </a:defRPr>
            </a:lvl5pPr>
          </a:lstStyle>
          <a:p>
            <a:pPr lvl="0"/>
            <a:r>
              <a:rPr lang="en-US"/>
              <a:t>Click to edit Master text styles</a:t>
            </a:r>
          </a:p>
          <a:p>
            <a:pPr lvl="1"/>
            <a:r>
              <a:rPr lang="en-US"/>
              <a:t>Second level</a:t>
            </a:r>
          </a:p>
          <a:p>
            <a:pPr lvl="2"/>
            <a:r>
              <a:rPr lang="en-US"/>
              <a:t>Third level</a:t>
            </a:r>
          </a:p>
        </p:txBody>
      </p:sp>
      <p:sp>
        <p:nvSpPr>
          <p:cNvPr id="2" name="Footer Placeholder 4">
            <a:extLst>
              <a:ext uri="{FF2B5EF4-FFF2-40B4-BE49-F238E27FC236}">
                <a16:creationId xmlns:a16="http://schemas.microsoft.com/office/drawing/2014/main" id="{A752470E-A325-8632-A690-BEF9228E212A}"/>
              </a:ext>
            </a:extLst>
          </p:cNvPr>
          <p:cNvSpPr>
            <a:spLocks noGrp="1"/>
          </p:cNvSpPr>
          <p:nvPr>
            <p:ph type="ftr" sz="quarter" idx="3"/>
          </p:nvPr>
        </p:nvSpPr>
        <p:spPr>
          <a:xfrm>
            <a:off x="5835079" y="4878360"/>
            <a:ext cx="2966906" cy="273050"/>
          </a:xfrm>
          <a:prstGeom prst="rect">
            <a:avLst/>
          </a:prstGeom>
        </p:spPr>
        <p:txBody>
          <a:bodyPr/>
          <a:lstStyle>
            <a:lvl1pPr algn="r">
              <a:defRPr sz="899">
                <a:solidFill>
                  <a:schemeClr val="bg1">
                    <a:lumMod val="60000"/>
                    <a:lumOff val="40000"/>
                  </a:schemeClr>
                </a:solidFill>
              </a:defRPr>
            </a:lvl1pPr>
          </a:lstStyle>
          <a:p>
            <a:endParaRPr lang="en-US"/>
          </a:p>
        </p:txBody>
      </p:sp>
    </p:spTree>
    <p:extLst>
      <p:ext uri="{BB962C8B-B14F-4D97-AF65-F5344CB8AC3E}">
        <p14:creationId xmlns:p14="http://schemas.microsoft.com/office/powerpoint/2010/main" val="2589178479"/>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 Slide - 1 Col HIGH">
    <p:spTree>
      <p:nvGrpSpPr>
        <p:cNvPr id="1" name=""/>
        <p:cNvGrpSpPr/>
        <p:nvPr/>
      </p:nvGrpSpPr>
      <p:grpSpPr>
        <a:xfrm>
          <a:off x="0" y="0"/>
          <a:ext cx="0" cy="0"/>
          <a:chOff x="0" y="0"/>
          <a:chExt cx="0" cy="0"/>
        </a:xfrm>
      </p:grpSpPr>
      <p:sp>
        <p:nvSpPr>
          <p:cNvPr id="9" name="Title Placeholder 1"/>
          <p:cNvSpPr>
            <a:spLocks noGrp="1"/>
          </p:cNvSpPr>
          <p:nvPr>
            <p:ph type="title" hasCustomPrompt="1"/>
          </p:nvPr>
        </p:nvSpPr>
        <p:spPr>
          <a:xfrm>
            <a:off x="361950" y="290948"/>
            <a:ext cx="8229600" cy="461665"/>
          </a:xfrm>
          <a:prstGeom prst="rect">
            <a:avLst/>
          </a:prstGeom>
        </p:spPr>
        <p:txBody>
          <a:bodyPr vert="horz" lIns="91440" tIns="45720" rIns="91440" bIns="45720" rtlCol="0" anchor="ctr">
            <a:spAutoFit/>
          </a:bodyPr>
          <a:lstStyle>
            <a:lvl1pPr>
              <a:defRPr cap="all"/>
            </a:lvl1pPr>
          </a:lstStyle>
          <a:p>
            <a:r>
              <a:rPr lang="en-US" dirty="0"/>
              <a:t>CLICK TO ADD TITLE</a:t>
            </a:r>
          </a:p>
        </p:txBody>
      </p:sp>
      <p:sp>
        <p:nvSpPr>
          <p:cNvPr id="3" name="Text Placeholder 2"/>
          <p:cNvSpPr>
            <a:spLocks noGrp="1"/>
          </p:cNvSpPr>
          <p:nvPr>
            <p:ph type="body" sz="quarter" idx="15"/>
          </p:nvPr>
        </p:nvSpPr>
        <p:spPr>
          <a:xfrm>
            <a:off x="361950" y="622300"/>
            <a:ext cx="8229600" cy="349250"/>
          </a:xfrm>
          <a:prstGeom prst="rect">
            <a:avLst/>
          </a:prstGeom>
        </p:spPr>
        <p:txBody>
          <a:bodyPr>
            <a:noAutofit/>
          </a:bodyPr>
          <a:lstStyle>
            <a:lvl1pPr marL="0" indent="0">
              <a:buNone/>
              <a:defRPr sz="1499">
                <a:solidFill>
                  <a:schemeClr val="tx2"/>
                </a:solidFill>
              </a:defRPr>
            </a:lvl1pPr>
            <a:lvl2pPr marL="171296" indent="0">
              <a:buNone/>
              <a:defRPr sz="1499">
                <a:solidFill>
                  <a:schemeClr val="tx2"/>
                </a:solidFill>
              </a:defRPr>
            </a:lvl2pPr>
            <a:lvl3pPr marL="285493" indent="0">
              <a:buNone/>
              <a:defRPr sz="1499">
                <a:solidFill>
                  <a:schemeClr val="tx2"/>
                </a:solidFill>
              </a:defRPr>
            </a:lvl3pPr>
            <a:lvl4pPr marL="1370366" indent="0">
              <a:buNone/>
              <a:defRPr sz="1499">
                <a:solidFill>
                  <a:schemeClr val="tx2"/>
                </a:solidFill>
              </a:defRPr>
            </a:lvl4pPr>
            <a:lvl5pPr marL="1827154" indent="0">
              <a:buNone/>
              <a:defRPr sz="1499">
                <a:solidFill>
                  <a:schemeClr val="tx2"/>
                </a:solidFill>
              </a:defRPr>
            </a:lvl5pPr>
          </a:lstStyle>
          <a:p>
            <a:pPr lvl="0"/>
            <a:r>
              <a:rPr lang="en-US" dirty="0"/>
              <a:t>Click to edit Master text styles</a:t>
            </a:r>
          </a:p>
        </p:txBody>
      </p:sp>
      <p:sp>
        <p:nvSpPr>
          <p:cNvPr id="4" name="Text Placeholder 3"/>
          <p:cNvSpPr>
            <a:spLocks noGrp="1"/>
          </p:cNvSpPr>
          <p:nvPr>
            <p:ph type="body" sz="quarter" idx="16"/>
          </p:nvPr>
        </p:nvSpPr>
        <p:spPr>
          <a:xfrm>
            <a:off x="361950" y="1263650"/>
            <a:ext cx="8229600" cy="2622550"/>
          </a:xfrm>
          <a:prstGeom prst="rect">
            <a:avLst/>
          </a:prstGeom>
        </p:spPr>
        <p:txBody>
          <a:bodyPr vert="horz"/>
          <a:lstStyle>
            <a:lvl1pPr>
              <a:defRPr sz="1399">
                <a:solidFill>
                  <a:schemeClr val="bg1"/>
                </a:solidFill>
              </a:defRPr>
            </a:lvl1pPr>
            <a:lvl2pPr>
              <a:defRPr sz="1399">
                <a:solidFill>
                  <a:schemeClr val="bg1"/>
                </a:solidFill>
              </a:defRPr>
            </a:lvl2pPr>
            <a:lvl3pPr>
              <a:defRPr sz="1399">
                <a:solidFill>
                  <a:schemeClr val="bg1"/>
                </a:solidFill>
              </a:defRPr>
            </a:lvl3pPr>
            <a:lvl4pPr marL="628084" indent="-171296">
              <a:defRPr sz="1399">
                <a:solidFill>
                  <a:schemeClr val="bg1"/>
                </a:solidFill>
              </a:defRPr>
            </a:lvl4pPr>
            <a:lvl5pPr marL="799380" indent="-171296">
              <a:defRPr sz="1399">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3"/>
          </p:nvPr>
        </p:nvSpPr>
        <p:spPr>
          <a:xfrm>
            <a:off x="5778500" y="4839481"/>
            <a:ext cx="3086100" cy="273050"/>
          </a:xfrm>
          <a:prstGeom prst="rect">
            <a:avLst/>
          </a:prstGeom>
        </p:spPr>
        <p:txBody>
          <a:bodyPr vert="horz" lIns="91440" tIns="45720" rIns="91440" bIns="45720" rtlCol="0" anchor="ctr"/>
          <a:lstStyle>
            <a:lvl1pPr algn="r">
              <a:defRPr sz="799">
                <a:solidFill>
                  <a:schemeClr val="tx2"/>
                </a:solidFill>
              </a:defRPr>
            </a:lvl1pPr>
          </a:lstStyle>
          <a:p>
            <a:endParaRPr lang="en-US" dirty="0"/>
          </a:p>
        </p:txBody>
      </p:sp>
    </p:spTree>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4_Content Slide - 1 Col HIGH">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ADAF531E-0E10-DA42-9DD1-D6277CA5E59C}"/>
              </a:ext>
            </a:extLst>
          </p:cNvPr>
          <p:cNvSpPr>
            <a:spLocks noGrp="1"/>
          </p:cNvSpPr>
          <p:nvPr>
            <p:ph idx="1" hasCustomPrompt="1"/>
          </p:nvPr>
        </p:nvSpPr>
        <p:spPr>
          <a:xfrm>
            <a:off x="361950" y="1162751"/>
            <a:ext cx="8229600" cy="3267075"/>
          </a:xfrm>
          <a:prstGeom prst="rect">
            <a:avLst/>
          </a:prstGeom>
        </p:spPr>
        <p:txBody>
          <a:bodyPr/>
          <a:lstStyle>
            <a:lvl1pPr marL="0" indent="0">
              <a:buNone/>
              <a:defRPr sz="1399">
                <a:solidFill>
                  <a:schemeClr val="tx1"/>
                </a:solidFill>
              </a:defRPr>
            </a:lvl1pPr>
            <a:lvl2pPr marL="173038" indent="-173038">
              <a:spcBef>
                <a:spcPts val="600"/>
              </a:spcBef>
              <a:buFont typeface="System Font Regular"/>
              <a:buChar char="»"/>
              <a:tabLst/>
              <a:defRPr sz="1399">
                <a:solidFill>
                  <a:schemeClr val="tx1"/>
                </a:solidFill>
              </a:defRPr>
            </a:lvl2pPr>
            <a:lvl3pPr marL="287338" indent="-114300">
              <a:spcBef>
                <a:spcPts val="0"/>
              </a:spcBef>
              <a:buSzPct val="100000"/>
              <a:buFont typeface="Arial" panose="020B0604020202020204" pitchFamily="34" charset="0"/>
              <a:buChar char="•"/>
              <a:tabLst/>
              <a:defRPr sz="1399">
                <a:solidFill>
                  <a:schemeClr val="tx1"/>
                </a:solidFill>
              </a:defRPr>
            </a:lvl3pPr>
            <a:lvl4pPr marL="634413" indent="-174464">
              <a:buClr>
                <a:schemeClr val="accent1"/>
              </a:buClr>
              <a:buSzPct val="80000"/>
              <a:buFont typeface="Courier New" panose="02070309020205020404" pitchFamily="49" charset="0"/>
              <a:buChar char="o"/>
              <a:tabLst/>
              <a:defRPr sz="1399">
                <a:solidFill>
                  <a:schemeClr val="tx2"/>
                </a:solidFill>
              </a:defRPr>
            </a:lvl4pPr>
            <a:lvl5pPr marL="799360" indent="-164948">
              <a:buClr>
                <a:schemeClr val="accent1"/>
              </a:buClr>
              <a:buFont typeface=".AppleSystemUIFont"/>
              <a:buChar char="–"/>
              <a:tabLst/>
              <a:defRPr sz="1399">
                <a:solidFill>
                  <a:schemeClr val="tx2"/>
                </a:solidFill>
              </a:defRPr>
            </a:lvl5pPr>
          </a:lstStyle>
          <a:p>
            <a:pPr lvl="0"/>
            <a:r>
              <a:rPr lang="en-US" dirty="0"/>
              <a:t>Edit Master text styles</a:t>
            </a:r>
          </a:p>
          <a:p>
            <a:pPr lvl="1"/>
            <a:r>
              <a:rPr lang="en-US" dirty="0"/>
              <a:t>First level level</a:t>
            </a:r>
          </a:p>
          <a:p>
            <a:pPr lvl="2"/>
            <a:r>
              <a:rPr lang="en-US" dirty="0"/>
              <a:t>Second level</a:t>
            </a:r>
          </a:p>
          <a:p>
            <a:pPr lvl="1"/>
            <a:r>
              <a:rPr lang="en-US" dirty="0"/>
              <a:t>First level level</a:t>
            </a:r>
          </a:p>
          <a:p>
            <a:pPr lvl="2"/>
            <a:r>
              <a:rPr lang="en-US" dirty="0"/>
              <a:t>Second level</a:t>
            </a:r>
          </a:p>
          <a:p>
            <a:pPr lvl="2"/>
            <a:endParaRPr lang="en-US" dirty="0"/>
          </a:p>
        </p:txBody>
      </p:sp>
      <p:sp>
        <p:nvSpPr>
          <p:cNvPr id="8" name="Title Placeholder 1">
            <a:extLst>
              <a:ext uri="{FF2B5EF4-FFF2-40B4-BE49-F238E27FC236}">
                <a16:creationId xmlns:a16="http://schemas.microsoft.com/office/drawing/2014/main" id="{FC760D2B-0637-D94D-8A76-42674071E7F5}"/>
              </a:ext>
            </a:extLst>
          </p:cNvPr>
          <p:cNvSpPr>
            <a:spLocks noGrp="1"/>
          </p:cNvSpPr>
          <p:nvPr>
            <p:ph type="title" hasCustomPrompt="1"/>
          </p:nvPr>
        </p:nvSpPr>
        <p:spPr>
          <a:xfrm>
            <a:off x="361950" y="291592"/>
            <a:ext cx="8229600" cy="461345"/>
          </a:xfrm>
          <a:prstGeom prst="rect">
            <a:avLst/>
          </a:prstGeom>
        </p:spPr>
        <p:txBody>
          <a:bodyPr vert="horz" lIns="91440" tIns="45720" rIns="91440" bIns="45720" rtlCol="0" anchor="ctr">
            <a:spAutoFit/>
          </a:bodyPr>
          <a:lstStyle>
            <a:lvl1pPr>
              <a:defRPr b="0" cap="none">
                <a:solidFill>
                  <a:schemeClr val="accent1"/>
                </a:solidFill>
              </a:defRPr>
            </a:lvl1pPr>
          </a:lstStyle>
          <a:p>
            <a:r>
              <a:rPr lang="en-US" dirty="0"/>
              <a:t>Click to Add Title</a:t>
            </a:r>
          </a:p>
        </p:txBody>
      </p:sp>
      <p:sp>
        <p:nvSpPr>
          <p:cNvPr id="10" name="Text Placeholder 2">
            <a:extLst>
              <a:ext uri="{FF2B5EF4-FFF2-40B4-BE49-F238E27FC236}">
                <a16:creationId xmlns:a16="http://schemas.microsoft.com/office/drawing/2014/main" id="{E7417283-673C-AD4A-8C19-CF0D191AAAD2}"/>
              </a:ext>
            </a:extLst>
          </p:cNvPr>
          <p:cNvSpPr>
            <a:spLocks noGrp="1"/>
          </p:cNvSpPr>
          <p:nvPr>
            <p:ph type="body" sz="quarter" idx="15"/>
          </p:nvPr>
        </p:nvSpPr>
        <p:spPr>
          <a:xfrm>
            <a:off x="361950" y="622300"/>
            <a:ext cx="8229600" cy="349250"/>
          </a:xfrm>
          <a:prstGeom prst="rect">
            <a:avLst/>
          </a:prstGeom>
        </p:spPr>
        <p:txBody>
          <a:bodyPr>
            <a:noAutofit/>
          </a:bodyPr>
          <a:lstStyle>
            <a:lvl1pPr marL="0" indent="0">
              <a:buNone/>
              <a:defRPr sz="1300">
                <a:solidFill>
                  <a:schemeClr val="bg1"/>
                </a:solidFill>
              </a:defRPr>
            </a:lvl1pPr>
            <a:lvl2pPr marL="171292" indent="0">
              <a:buNone/>
              <a:defRPr sz="1499">
                <a:solidFill>
                  <a:schemeClr val="tx2"/>
                </a:solidFill>
              </a:defRPr>
            </a:lvl2pPr>
            <a:lvl3pPr marL="285486" indent="0">
              <a:buNone/>
              <a:defRPr sz="1499">
                <a:solidFill>
                  <a:schemeClr val="tx2"/>
                </a:solidFill>
              </a:defRPr>
            </a:lvl3pPr>
            <a:lvl4pPr marL="1370331" indent="0">
              <a:buNone/>
              <a:defRPr sz="1499">
                <a:solidFill>
                  <a:schemeClr val="tx2"/>
                </a:solidFill>
              </a:defRPr>
            </a:lvl4pPr>
            <a:lvl5pPr marL="1827108" indent="0">
              <a:buNone/>
              <a:defRPr sz="1499">
                <a:solidFill>
                  <a:schemeClr val="tx2"/>
                </a:solidFill>
              </a:defRPr>
            </a:lvl5pPr>
          </a:lstStyle>
          <a:p>
            <a:pPr lvl="0"/>
            <a:r>
              <a:rPr lang="en-US" dirty="0"/>
              <a:t>Click to edit Master text styles</a:t>
            </a:r>
          </a:p>
        </p:txBody>
      </p:sp>
      <p:sp>
        <p:nvSpPr>
          <p:cNvPr id="3" name="Footer Placeholder 5">
            <a:extLst>
              <a:ext uri="{FF2B5EF4-FFF2-40B4-BE49-F238E27FC236}">
                <a16:creationId xmlns:a16="http://schemas.microsoft.com/office/drawing/2014/main" id="{6707E938-B35C-C7BC-5FA0-2A14838378B3}"/>
              </a:ext>
            </a:extLst>
          </p:cNvPr>
          <p:cNvSpPr>
            <a:spLocks noGrp="1"/>
          </p:cNvSpPr>
          <p:nvPr>
            <p:ph type="ftr" sz="quarter" idx="3"/>
          </p:nvPr>
        </p:nvSpPr>
        <p:spPr>
          <a:xfrm>
            <a:off x="5627281" y="4772759"/>
            <a:ext cx="3086100" cy="168900"/>
          </a:xfrm>
          <a:prstGeom prst="rect">
            <a:avLst/>
          </a:prstGeom>
        </p:spPr>
        <p:txBody>
          <a:bodyPr vert="horz" lIns="91440" tIns="45720" rIns="91440" bIns="45720" rtlCol="0" anchor="ctr"/>
          <a:lstStyle>
            <a:lvl1pPr algn="r">
              <a:defRPr sz="700" b="1">
                <a:solidFill>
                  <a:srgbClr val="FFFFFF"/>
                </a:solidFill>
              </a:defRPr>
            </a:lvl1pPr>
          </a:lstStyle>
          <a:p>
            <a:endParaRPr lang="en-US" dirty="0"/>
          </a:p>
        </p:txBody>
      </p:sp>
    </p:spTree>
    <p:extLst>
      <p:ext uri="{BB962C8B-B14F-4D97-AF65-F5344CB8AC3E}">
        <p14:creationId xmlns:p14="http://schemas.microsoft.com/office/powerpoint/2010/main" val="3065972905"/>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5_Content Slide - 1 Col HIGH">
    <p:spTree>
      <p:nvGrpSpPr>
        <p:cNvPr id="1" name=""/>
        <p:cNvGrpSpPr/>
        <p:nvPr/>
      </p:nvGrpSpPr>
      <p:grpSpPr>
        <a:xfrm>
          <a:off x="0" y="0"/>
          <a:ext cx="0" cy="0"/>
          <a:chOff x="0" y="0"/>
          <a:chExt cx="0" cy="0"/>
        </a:xfrm>
      </p:grpSpPr>
      <p:sp>
        <p:nvSpPr>
          <p:cNvPr id="9" name="Title Placeholder 1"/>
          <p:cNvSpPr>
            <a:spLocks noGrp="1"/>
          </p:cNvSpPr>
          <p:nvPr>
            <p:ph type="title" hasCustomPrompt="1"/>
          </p:nvPr>
        </p:nvSpPr>
        <p:spPr>
          <a:xfrm>
            <a:off x="361950" y="355091"/>
            <a:ext cx="8229600" cy="461345"/>
          </a:xfrm>
          <a:prstGeom prst="rect">
            <a:avLst/>
          </a:prstGeom>
        </p:spPr>
        <p:txBody>
          <a:bodyPr vert="horz" lIns="91440" tIns="45720" rIns="91440" bIns="45720" rtlCol="0" anchor="ctr">
            <a:spAutoFit/>
          </a:bodyPr>
          <a:lstStyle>
            <a:lvl1pPr>
              <a:defRPr sz="2398" b="0" cap="none"/>
            </a:lvl1pPr>
          </a:lstStyle>
          <a:p>
            <a:r>
              <a:rPr lang="en-US"/>
              <a:t>Click to add title</a:t>
            </a:r>
          </a:p>
        </p:txBody>
      </p:sp>
      <p:sp>
        <p:nvSpPr>
          <p:cNvPr id="3" name="Text Placeholder 2"/>
          <p:cNvSpPr>
            <a:spLocks noGrp="1"/>
          </p:cNvSpPr>
          <p:nvPr>
            <p:ph type="body" sz="quarter" idx="10"/>
          </p:nvPr>
        </p:nvSpPr>
        <p:spPr>
          <a:xfrm>
            <a:off x="361950" y="714375"/>
            <a:ext cx="8229600" cy="361950"/>
          </a:xfrm>
          <a:prstGeom prst="rect">
            <a:avLst/>
          </a:prstGeom>
        </p:spPr>
        <p:txBody>
          <a:bodyPr>
            <a:normAutofit/>
          </a:bodyPr>
          <a:lstStyle>
            <a:lvl1pPr marL="0" indent="0">
              <a:buNone/>
              <a:defRPr sz="1399">
                <a:solidFill>
                  <a:schemeClr val="tx2"/>
                </a:solidFill>
              </a:defRPr>
            </a:lvl1pPr>
          </a:lstStyle>
          <a:p>
            <a:pPr lvl="0"/>
            <a:r>
              <a:rPr lang="en-US"/>
              <a:t>Click to edit Master text styles</a:t>
            </a:r>
          </a:p>
        </p:txBody>
      </p:sp>
      <p:sp>
        <p:nvSpPr>
          <p:cNvPr id="5" name="Text Placeholder 4"/>
          <p:cNvSpPr>
            <a:spLocks noGrp="1"/>
          </p:cNvSpPr>
          <p:nvPr>
            <p:ph type="body" sz="quarter" idx="11"/>
          </p:nvPr>
        </p:nvSpPr>
        <p:spPr>
          <a:xfrm>
            <a:off x="361950" y="1235076"/>
            <a:ext cx="8229600" cy="3051175"/>
          </a:xfrm>
          <a:prstGeom prst="rect">
            <a:avLst/>
          </a:prstGeom>
        </p:spPr>
        <p:txBody>
          <a:bodyPr vert="horz"/>
          <a:lstStyle>
            <a:lvl1pPr>
              <a:defRPr sz="1499">
                <a:solidFill>
                  <a:schemeClr val="bg1"/>
                </a:solidFill>
              </a:defRPr>
            </a:lvl1pPr>
            <a:lvl2pPr>
              <a:defRPr sz="1499">
                <a:solidFill>
                  <a:schemeClr val="bg1"/>
                </a:solidFill>
              </a:defRPr>
            </a:lvl2pPr>
            <a:lvl3pPr>
              <a:defRPr sz="1499">
                <a:solidFill>
                  <a:schemeClr val="bg1"/>
                </a:solidFill>
              </a:defRPr>
            </a:lvl3pPr>
            <a:lvl4pPr>
              <a:defRPr sz="1499">
                <a:solidFill>
                  <a:schemeClr val="bg1"/>
                </a:solidFill>
              </a:defRPr>
            </a:lvl4pPr>
            <a:lvl5pPr>
              <a:defRPr sz="1499">
                <a:solidFill>
                  <a:schemeClr val="bg1"/>
                </a:solidFill>
              </a:defRPr>
            </a:lvl5pPr>
          </a:lstStyle>
          <a:p>
            <a:pPr lvl="0"/>
            <a:r>
              <a:rPr lang="en-US"/>
              <a:t>Click to edit Master text styles</a:t>
            </a:r>
          </a:p>
          <a:p>
            <a:pPr lvl="1"/>
            <a:r>
              <a:rPr lang="en-US"/>
              <a:t>Second level</a:t>
            </a:r>
          </a:p>
          <a:p>
            <a:pPr lvl="2"/>
            <a:r>
              <a:rPr lang="en-US"/>
              <a:t>Third level</a:t>
            </a:r>
          </a:p>
        </p:txBody>
      </p:sp>
      <p:sp>
        <p:nvSpPr>
          <p:cNvPr id="2" name="Footer Placeholder 4">
            <a:extLst>
              <a:ext uri="{FF2B5EF4-FFF2-40B4-BE49-F238E27FC236}">
                <a16:creationId xmlns:a16="http://schemas.microsoft.com/office/drawing/2014/main" id="{A752470E-A325-8632-A690-BEF9228E212A}"/>
              </a:ext>
            </a:extLst>
          </p:cNvPr>
          <p:cNvSpPr>
            <a:spLocks noGrp="1"/>
          </p:cNvSpPr>
          <p:nvPr>
            <p:ph type="ftr" sz="quarter" idx="3"/>
          </p:nvPr>
        </p:nvSpPr>
        <p:spPr>
          <a:xfrm>
            <a:off x="5835079" y="4878360"/>
            <a:ext cx="2966906" cy="273050"/>
          </a:xfrm>
          <a:prstGeom prst="rect">
            <a:avLst/>
          </a:prstGeom>
        </p:spPr>
        <p:txBody>
          <a:bodyPr/>
          <a:lstStyle>
            <a:lvl1pPr algn="r">
              <a:defRPr sz="899">
                <a:solidFill>
                  <a:schemeClr val="bg1">
                    <a:lumMod val="60000"/>
                    <a:lumOff val="40000"/>
                  </a:schemeClr>
                </a:solidFill>
              </a:defRPr>
            </a:lvl1pPr>
          </a:lstStyle>
          <a:p>
            <a:endParaRPr lang="en-US"/>
          </a:p>
        </p:txBody>
      </p:sp>
    </p:spTree>
    <p:extLst>
      <p:ext uri="{BB962C8B-B14F-4D97-AF65-F5344CB8AC3E}">
        <p14:creationId xmlns:p14="http://schemas.microsoft.com/office/powerpoint/2010/main" val="1768101355"/>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FB888F5D-118B-5844-BDBD-792C8F9E02B8}"/>
              </a:ext>
            </a:extLst>
          </p:cNvPr>
          <p:cNvSpPr>
            <a:spLocks noGrp="1"/>
          </p:cNvSpPr>
          <p:nvPr>
            <p:ph type="title" hasCustomPrompt="1"/>
          </p:nvPr>
        </p:nvSpPr>
        <p:spPr>
          <a:xfrm>
            <a:off x="361950" y="291592"/>
            <a:ext cx="8229600" cy="461345"/>
          </a:xfrm>
          <a:prstGeom prst="rect">
            <a:avLst/>
          </a:prstGeom>
        </p:spPr>
        <p:txBody>
          <a:bodyPr vert="horz" lIns="91440" tIns="45720" rIns="91440" bIns="45720" rtlCol="0" anchor="ctr">
            <a:spAutoFit/>
          </a:bodyPr>
          <a:lstStyle>
            <a:lvl1pPr>
              <a:defRPr b="0" cap="none">
                <a:solidFill>
                  <a:schemeClr val="accent1"/>
                </a:solidFill>
              </a:defRPr>
            </a:lvl1pPr>
          </a:lstStyle>
          <a:p>
            <a:r>
              <a:rPr lang="en-US" dirty="0"/>
              <a:t>Click to Add Title</a:t>
            </a:r>
          </a:p>
        </p:txBody>
      </p:sp>
      <p:sp>
        <p:nvSpPr>
          <p:cNvPr id="6" name="Content Placeholder 2">
            <a:extLst>
              <a:ext uri="{FF2B5EF4-FFF2-40B4-BE49-F238E27FC236}">
                <a16:creationId xmlns:a16="http://schemas.microsoft.com/office/drawing/2014/main" id="{EABEC4AA-FFB6-2F0F-C9DE-5720CD3D84D1}"/>
              </a:ext>
            </a:extLst>
          </p:cNvPr>
          <p:cNvSpPr>
            <a:spLocks noGrp="1"/>
          </p:cNvSpPr>
          <p:nvPr>
            <p:ph idx="1"/>
          </p:nvPr>
        </p:nvSpPr>
        <p:spPr>
          <a:xfrm>
            <a:off x="361950" y="1162751"/>
            <a:ext cx="8229600" cy="3267075"/>
          </a:xfrm>
          <a:prstGeom prst="rect">
            <a:avLst/>
          </a:prstGeom>
        </p:spPr>
        <p:txBody>
          <a:bodyPr/>
          <a:lstStyle>
            <a:lvl1pPr>
              <a:defRPr sz="1399">
                <a:solidFill>
                  <a:schemeClr val="tx1"/>
                </a:solidFill>
              </a:defRPr>
            </a:lvl1pPr>
            <a:lvl2pPr>
              <a:defRPr sz="1399">
                <a:solidFill>
                  <a:schemeClr val="tx1"/>
                </a:solidFill>
              </a:defRPr>
            </a:lvl2pPr>
            <a:lvl3pPr>
              <a:defRPr sz="1399">
                <a:solidFill>
                  <a:schemeClr val="tx1"/>
                </a:solidFill>
              </a:defRPr>
            </a:lvl3pPr>
            <a:lvl4pPr marL="634413" indent="-174464">
              <a:buClr>
                <a:schemeClr val="accent1"/>
              </a:buClr>
              <a:buSzPct val="80000"/>
              <a:buFont typeface="Courier New" panose="02070309020205020404" pitchFamily="49" charset="0"/>
              <a:buChar char="o"/>
              <a:tabLst/>
              <a:defRPr sz="1399">
                <a:solidFill>
                  <a:schemeClr val="tx1"/>
                </a:solidFill>
              </a:defRPr>
            </a:lvl4pPr>
            <a:lvl5pPr marL="799360" indent="-164948">
              <a:buClr>
                <a:schemeClr val="accent1"/>
              </a:buClr>
              <a:buFont typeface=".AppleSystemUIFont"/>
              <a:buChar char="–"/>
              <a:tabLst/>
              <a:defRPr sz="1399">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5">
            <a:extLst>
              <a:ext uri="{FF2B5EF4-FFF2-40B4-BE49-F238E27FC236}">
                <a16:creationId xmlns:a16="http://schemas.microsoft.com/office/drawing/2014/main" id="{B6C01CE3-ECE1-D924-EE4A-D09E55B9A5D1}"/>
              </a:ext>
            </a:extLst>
          </p:cNvPr>
          <p:cNvSpPr>
            <a:spLocks noGrp="1"/>
          </p:cNvSpPr>
          <p:nvPr>
            <p:ph type="ftr" sz="quarter" idx="3"/>
          </p:nvPr>
        </p:nvSpPr>
        <p:spPr>
          <a:xfrm>
            <a:off x="5778500" y="4839481"/>
            <a:ext cx="3086100" cy="273050"/>
          </a:xfrm>
          <a:prstGeom prst="rect">
            <a:avLst/>
          </a:prstGeom>
        </p:spPr>
        <p:txBody>
          <a:bodyPr vert="horz" lIns="91440" tIns="45720" rIns="91440" bIns="45720" rtlCol="0" anchor="ctr"/>
          <a:lstStyle>
            <a:lvl1pPr algn="r">
              <a:defRPr sz="799">
                <a:solidFill>
                  <a:schemeClr val="tx2"/>
                </a:solidFill>
              </a:defRPr>
            </a:lvl1pPr>
          </a:lstStyle>
          <a:p>
            <a:endParaRPr lang="en-US" dirty="0"/>
          </a:p>
        </p:txBody>
      </p:sp>
    </p:spTree>
    <p:extLst>
      <p:ext uri="{BB962C8B-B14F-4D97-AF65-F5344CB8AC3E}">
        <p14:creationId xmlns:p14="http://schemas.microsoft.com/office/powerpoint/2010/main" val="405940729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Content Slide - 1 Col HIGH">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FC760D2B-0637-D94D-8A76-42674071E7F5}"/>
              </a:ext>
            </a:extLst>
          </p:cNvPr>
          <p:cNvSpPr>
            <a:spLocks noGrp="1"/>
          </p:cNvSpPr>
          <p:nvPr>
            <p:ph type="title" hasCustomPrompt="1"/>
          </p:nvPr>
        </p:nvSpPr>
        <p:spPr>
          <a:xfrm>
            <a:off x="361950" y="291592"/>
            <a:ext cx="8229600" cy="461345"/>
          </a:xfrm>
          <a:prstGeom prst="rect">
            <a:avLst/>
          </a:prstGeom>
        </p:spPr>
        <p:txBody>
          <a:bodyPr vert="horz" lIns="91440" tIns="45720" rIns="91440" bIns="45720" rtlCol="0" anchor="ctr">
            <a:spAutoFit/>
          </a:bodyPr>
          <a:lstStyle>
            <a:lvl1pPr>
              <a:defRPr b="0" cap="none">
                <a:solidFill>
                  <a:schemeClr val="accent1"/>
                </a:solidFill>
              </a:defRPr>
            </a:lvl1pPr>
          </a:lstStyle>
          <a:p>
            <a:r>
              <a:rPr lang="en-US" dirty="0"/>
              <a:t>Click to Add Title</a:t>
            </a:r>
          </a:p>
        </p:txBody>
      </p:sp>
      <p:sp>
        <p:nvSpPr>
          <p:cNvPr id="10" name="Text Placeholder 2">
            <a:extLst>
              <a:ext uri="{FF2B5EF4-FFF2-40B4-BE49-F238E27FC236}">
                <a16:creationId xmlns:a16="http://schemas.microsoft.com/office/drawing/2014/main" id="{E7417283-673C-AD4A-8C19-CF0D191AAAD2}"/>
              </a:ext>
            </a:extLst>
          </p:cNvPr>
          <p:cNvSpPr>
            <a:spLocks noGrp="1"/>
          </p:cNvSpPr>
          <p:nvPr>
            <p:ph type="body" sz="quarter" idx="15"/>
          </p:nvPr>
        </p:nvSpPr>
        <p:spPr>
          <a:xfrm>
            <a:off x="361950" y="622300"/>
            <a:ext cx="8229600" cy="349250"/>
          </a:xfrm>
          <a:prstGeom prst="rect">
            <a:avLst/>
          </a:prstGeom>
        </p:spPr>
        <p:txBody>
          <a:bodyPr>
            <a:noAutofit/>
          </a:bodyPr>
          <a:lstStyle>
            <a:lvl1pPr marL="0" indent="0">
              <a:buNone/>
              <a:defRPr sz="1300">
                <a:solidFill>
                  <a:schemeClr val="bg1"/>
                </a:solidFill>
              </a:defRPr>
            </a:lvl1pPr>
            <a:lvl2pPr marL="171292" indent="0">
              <a:buNone/>
              <a:defRPr sz="1499">
                <a:solidFill>
                  <a:schemeClr val="tx2"/>
                </a:solidFill>
              </a:defRPr>
            </a:lvl2pPr>
            <a:lvl3pPr marL="285486" indent="0">
              <a:buNone/>
              <a:defRPr sz="1499">
                <a:solidFill>
                  <a:schemeClr val="tx2"/>
                </a:solidFill>
              </a:defRPr>
            </a:lvl3pPr>
            <a:lvl4pPr marL="1370331" indent="0">
              <a:buNone/>
              <a:defRPr sz="1499">
                <a:solidFill>
                  <a:schemeClr val="tx2"/>
                </a:solidFill>
              </a:defRPr>
            </a:lvl4pPr>
            <a:lvl5pPr marL="1827108" indent="0">
              <a:buNone/>
              <a:defRPr sz="1499">
                <a:solidFill>
                  <a:schemeClr val="tx2"/>
                </a:solidFill>
              </a:defRPr>
            </a:lvl5pPr>
          </a:lstStyle>
          <a:p>
            <a:pPr lvl="0"/>
            <a:r>
              <a:rPr lang="en-US" dirty="0"/>
              <a:t>Click to edit Master text styles</a:t>
            </a:r>
          </a:p>
        </p:txBody>
      </p:sp>
      <p:sp>
        <p:nvSpPr>
          <p:cNvPr id="3" name="Footer Placeholder 5">
            <a:extLst>
              <a:ext uri="{FF2B5EF4-FFF2-40B4-BE49-F238E27FC236}">
                <a16:creationId xmlns:a16="http://schemas.microsoft.com/office/drawing/2014/main" id="{E6D8169D-9C11-54B9-EAB1-2D56893548DF}"/>
              </a:ext>
            </a:extLst>
          </p:cNvPr>
          <p:cNvSpPr>
            <a:spLocks noGrp="1"/>
          </p:cNvSpPr>
          <p:nvPr>
            <p:ph type="ftr" sz="quarter" idx="3"/>
          </p:nvPr>
        </p:nvSpPr>
        <p:spPr>
          <a:xfrm>
            <a:off x="5778500" y="4839481"/>
            <a:ext cx="3086100" cy="273050"/>
          </a:xfrm>
          <a:prstGeom prst="rect">
            <a:avLst/>
          </a:prstGeom>
        </p:spPr>
        <p:txBody>
          <a:bodyPr vert="horz" lIns="91440" tIns="45720" rIns="91440" bIns="45720" rtlCol="0" anchor="ctr"/>
          <a:lstStyle>
            <a:lvl1pPr algn="r">
              <a:defRPr sz="799">
                <a:solidFill>
                  <a:schemeClr val="tx2"/>
                </a:solidFill>
              </a:defRPr>
            </a:lvl1pPr>
          </a:lstStyle>
          <a:p>
            <a:endParaRPr lang="en-US" dirty="0"/>
          </a:p>
        </p:txBody>
      </p:sp>
    </p:spTree>
    <p:extLst>
      <p:ext uri="{BB962C8B-B14F-4D97-AF65-F5344CB8AC3E}">
        <p14:creationId xmlns:p14="http://schemas.microsoft.com/office/powerpoint/2010/main" val="3958281125"/>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DF8A05A5-3A8F-4745-8AAA-41D1CA76CF50}"/>
              </a:ext>
            </a:extLst>
          </p:cNvPr>
          <p:cNvSpPr>
            <a:spLocks noGrp="1"/>
          </p:cNvSpPr>
          <p:nvPr>
            <p:ph idx="1"/>
          </p:nvPr>
        </p:nvSpPr>
        <p:spPr>
          <a:xfrm>
            <a:off x="361951" y="1162751"/>
            <a:ext cx="4028621" cy="3267075"/>
          </a:xfrm>
          <a:prstGeom prst="rect">
            <a:avLst/>
          </a:prstGeom>
        </p:spPr>
        <p:txBody>
          <a:bodyPr/>
          <a:lstStyle>
            <a:lvl1pPr>
              <a:defRPr sz="1399">
                <a:solidFill>
                  <a:schemeClr val="tx1"/>
                </a:solidFill>
              </a:defRPr>
            </a:lvl1pPr>
            <a:lvl2pPr>
              <a:defRPr sz="1399">
                <a:solidFill>
                  <a:schemeClr val="tx1"/>
                </a:solidFill>
              </a:defRPr>
            </a:lvl2pPr>
            <a:lvl3pPr>
              <a:defRPr sz="1399">
                <a:solidFill>
                  <a:schemeClr val="tx1"/>
                </a:solidFill>
              </a:defRPr>
            </a:lvl3pPr>
            <a:lvl4pPr marL="634413" indent="-174464">
              <a:buClr>
                <a:schemeClr val="accent1"/>
              </a:buClr>
              <a:buSzPct val="80000"/>
              <a:buFont typeface="Courier New" panose="02070309020205020404" pitchFamily="49" charset="0"/>
              <a:buChar char="o"/>
              <a:tabLst/>
              <a:defRPr sz="1399">
                <a:solidFill>
                  <a:schemeClr val="tx1"/>
                </a:solidFill>
              </a:defRPr>
            </a:lvl4pPr>
            <a:lvl5pPr marL="799360" indent="-164948">
              <a:buClr>
                <a:schemeClr val="accent1"/>
              </a:buClr>
              <a:buFont typeface=".AppleSystemUIFont"/>
              <a:buChar char="–"/>
              <a:tabLst/>
              <a:defRPr sz="1399">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2">
            <a:extLst>
              <a:ext uri="{FF2B5EF4-FFF2-40B4-BE49-F238E27FC236}">
                <a16:creationId xmlns:a16="http://schemas.microsoft.com/office/drawing/2014/main" id="{29A91805-34B3-C844-9E42-F3DE151A7D7C}"/>
              </a:ext>
            </a:extLst>
          </p:cNvPr>
          <p:cNvSpPr>
            <a:spLocks noGrp="1"/>
          </p:cNvSpPr>
          <p:nvPr>
            <p:ph idx="16"/>
          </p:nvPr>
        </p:nvSpPr>
        <p:spPr>
          <a:xfrm>
            <a:off x="4571095" y="1162751"/>
            <a:ext cx="4028621" cy="3267075"/>
          </a:xfrm>
          <a:prstGeom prst="rect">
            <a:avLst/>
          </a:prstGeom>
        </p:spPr>
        <p:txBody>
          <a:bodyPr/>
          <a:lstStyle>
            <a:lvl1pPr>
              <a:defRPr sz="1399">
                <a:solidFill>
                  <a:schemeClr val="tx1"/>
                </a:solidFill>
              </a:defRPr>
            </a:lvl1pPr>
            <a:lvl2pPr>
              <a:defRPr sz="1399">
                <a:solidFill>
                  <a:schemeClr val="tx1"/>
                </a:solidFill>
              </a:defRPr>
            </a:lvl2pPr>
            <a:lvl3pPr>
              <a:defRPr sz="1399">
                <a:solidFill>
                  <a:schemeClr val="tx1"/>
                </a:solidFill>
              </a:defRPr>
            </a:lvl3pPr>
            <a:lvl4pPr marL="634413" indent="-174464">
              <a:buClr>
                <a:schemeClr val="accent1"/>
              </a:buClr>
              <a:buSzPct val="80000"/>
              <a:buFont typeface="Courier New" panose="02070309020205020404" pitchFamily="49" charset="0"/>
              <a:buChar char="o"/>
              <a:tabLst/>
              <a:defRPr sz="1399">
                <a:solidFill>
                  <a:schemeClr val="tx1"/>
                </a:solidFill>
              </a:defRPr>
            </a:lvl4pPr>
            <a:lvl5pPr marL="799360" indent="-164948">
              <a:buClr>
                <a:schemeClr val="accent1"/>
              </a:buClr>
              <a:buFont typeface=".AppleSystemUIFont"/>
              <a:buChar char="–"/>
              <a:tabLst/>
              <a:defRPr sz="1399">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laceholder 1">
            <a:extLst>
              <a:ext uri="{FF2B5EF4-FFF2-40B4-BE49-F238E27FC236}">
                <a16:creationId xmlns:a16="http://schemas.microsoft.com/office/drawing/2014/main" id="{05242C09-FAD4-8AF9-D1E3-EC4BC3B9461A}"/>
              </a:ext>
            </a:extLst>
          </p:cNvPr>
          <p:cNvSpPr>
            <a:spLocks noGrp="1"/>
          </p:cNvSpPr>
          <p:nvPr>
            <p:ph type="title" hasCustomPrompt="1"/>
          </p:nvPr>
        </p:nvSpPr>
        <p:spPr>
          <a:xfrm>
            <a:off x="361950" y="291592"/>
            <a:ext cx="8229600" cy="461345"/>
          </a:xfrm>
          <a:prstGeom prst="rect">
            <a:avLst/>
          </a:prstGeom>
        </p:spPr>
        <p:txBody>
          <a:bodyPr vert="horz" lIns="91440" tIns="45720" rIns="91440" bIns="45720" rtlCol="0" anchor="ctr">
            <a:spAutoFit/>
          </a:bodyPr>
          <a:lstStyle>
            <a:lvl1pPr>
              <a:defRPr b="0" cap="none">
                <a:solidFill>
                  <a:schemeClr val="accent1"/>
                </a:solidFill>
              </a:defRPr>
            </a:lvl1pPr>
          </a:lstStyle>
          <a:p>
            <a:r>
              <a:rPr lang="en-US" dirty="0"/>
              <a:t>Click to Add Title</a:t>
            </a:r>
          </a:p>
        </p:txBody>
      </p:sp>
      <p:sp>
        <p:nvSpPr>
          <p:cNvPr id="4" name="Text Placeholder 2">
            <a:extLst>
              <a:ext uri="{FF2B5EF4-FFF2-40B4-BE49-F238E27FC236}">
                <a16:creationId xmlns:a16="http://schemas.microsoft.com/office/drawing/2014/main" id="{BCAC4513-9D1D-5726-0F3D-97CB06FE29E1}"/>
              </a:ext>
            </a:extLst>
          </p:cNvPr>
          <p:cNvSpPr>
            <a:spLocks noGrp="1"/>
          </p:cNvSpPr>
          <p:nvPr>
            <p:ph type="body" sz="quarter" idx="15"/>
          </p:nvPr>
        </p:nvSpPr>
        <p:spPr>
          <a:xfrm>
            <a:off x="361950" y="622300"/>
            <a:ext cx="8229600" cy="349250"/>
          </a:xfrm>
          <a:prstGeom prst="rect">
            <a:avLst/>
          </a:prstGeom>
        </p:spPr>
        <p:txBody>
          <a:bodyPr>
            <a:noAutofit/>
          </a:bodyPr>
          <a:lstStyle>
            <a:lvl1pPr marL="0" indent="0">
              <a:buNone/>
              <a:defRPr sz="1300">
                <a:solidFill>
                  <a:schemeClr val="bg1"/>
                </a:solidFill>
              </a:defRPr>
            </a:lvl1pPr>
            <a:lvl2pPr marL="171292" indent="0">
              <a:buNone/>
              <a:defRPr sz="1499">
                <a:solidFill>
                  <a:schemeClr val="tx2"/>
                </a:solidFill>
              </a:defRPr>
            </a:lvl2pPr>
            <a:lvl3pPr marL="285486" indent="0">
              <a:buNone/>
              <a:defRPr sz="1499">
                <a:solidFill>
                  <a:schemeClr val="tx2"/>
                </a:solidFill>
              </a:defRPr>
            </a:lvl3pPr>
            <a:lvl4pPr marL="1370331" indent="0">
              <a:buNone/>
              <a:defRPr sz="1499">
                <a:solidFill>
                  <a:schemeClr val="tx2"/>
                </a:solidFill>
              </a:defRPr>
            </a:lvl4pPr>
            <a:lvl5pPr marL="1827108" indent="0">
              <a:buNone/>
              <a:defRPr sz="1499">
                <a:solidFill>
                  <a:schemeClr val="tx2"/>
                </a:solidFill>
              </a:defRPr>
            </a:lvl5pPr>
          </a:lstStyle>
          <a:p>
            <a:pPr lvl="0"/>
            <a:r>
              <a:rPr lang="en-US" dirty="0"/>
              <a:t>Click to edit Master text styles</a:t>
            </a:r>
          </a:p>
        </p:txBody>
      </p:sp>
      <p:sp>
        <p:nvSpPr>
          <p:cNvPr id="2" name="Footer Placeholder 5">
            <a:extLst>
              <a:ext uri="{FF2B5EF4-FFF2-40B4-BE49-F238E27FC236}">
                <a16:creationId xmlns:a16="http://schemas.microsoft.com/office/drawing/2014/main" id="{9B340AD7-04A5-1FBD-1FA6-AF29DFC88099}"/>
              </a:ext>
            </a:extLst>
          </p:cNvPr>
          <p:cNvSpPr>
            <a:spLocks noGrp="1"/>
          </p:cNvSpPr>
          <p:nvPr>
            <p:ph type="ftr" sz="quarter" idx="3"/>
          </p:nvPr>
        </p:nvSpPr>
        <p:spPr>
          <a:xfrm>
            <a:off x="5778500" y="4839481"/>
            <a:ext cx="3086100" cy="273050"/>
          </a:xfrm>
          <a:prstGeom prst="rect">
            <a:avLst/>
          </a:prstGeom>
        </p:spPr>
        <p:txBody>
          <a:bodyPr vert="horz" lIns="91440" tIns="45720" rIns="91440" bIns="45720" rtlCol="0" anchor="ctr"/>
          <a:lstStyle>
            <a:lvl1pPr algn="r">
              <a:defRPr sz="799">
                <a:solidFill>
                  <a:schemeClr val="tx2"/>
                </a:solidFill>
              </a:defRPr>
            </a:lvl1pPr>
          </a:lstStyle>
          <a:p>
            <a:endParaRPr lang="en-US" dirty="0"/>
          </a:p>
        </p:txBody>
      </p:sp>
    </p:spTree>
    <p:extLst>
      <p:ext uri="{BB962C8B-B14F-4D97-AF65-F5344CB8AC3E}">
        <p14:creationId xmlns:p14="http://schemas.microsoft.com/office/powerpoint/2010/main" val="103656461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6_Content Slide - 1 Col HIGH">
    <p:spTree>
      <p:nvGrpSpPr>
        <p:cNvPr id="1" name=""/>
        <p:cNvGrpSpPr/>
        <p:nvPr/>
      </p:nvGrpSpPr>
      <p:grpSpPr>
        <a:xfrm>
          <a:off x="0" y="0"/>
          <a:ext cx="0" cy="0"/>
          <a:chOff x="0" y="0"/>
          <a:chExt cx="0" cy="0"/>
        </a:xfrm>
      </p:grpSpPr>
      <p:sp>
        <p:nvSpPr>
          <p:cNvPr id="9" name="Title Placeholder 1"/>
          <p:cNvSpPr>
            <a:spLocks noGrp="1"/>
          </p:cNvSpPr>
          <p:nvPr>
            <p:ph type="title" hasCustomPrompt="1"/>
          </p:nvPr>
        </p:nvSpPr>
        <p:spPr>
          <a:xfrm>
            <a:off x="361950" y="291218"/>
            <a:ext cx="8229600" cy="462093"/>
          </a:xfrm>
          <a:prstGeom prst="rect">
            <a:avLst/>
          </a:prstGeom>
        </p:spPr>
        <p:txBody>
          <a:bodyPr vert="horz" lIns="91440" tIns="45720" rIns="91440" bIns="45720" rtlCol="0" anchor="ctr">
            <a:spAutoFit/>
          </a:bodyPr>
          <a:lstStyle>
            <a:lvl1pPr>
              <a:defRPr cap="all"/>
            </a:lvl1pPr>
          </a:lstStyle>
          <a:p>
            <a:r>
              <a:rPr lang="en-US" dirty="0"/>
              <a:t>CLICK TO ADD TITLE</a:t>
            </a:r>
          </a:p>
        </p:txBody>
      </p:sp>
      <p:sp>
        <p:nvSpPr>
          <p:cNvPr id="3" name="Text Placeholder 2"/>
          <p:cNvSpPr>
            <a:spLocks noGrp="1"/>
          </p:cNvSpPr>
          <p:nvPr>
            <p:ph type="body" sz="quarter" idx="15"/>
          </p:nvPr>
        </p:nvSpPr>
        <p:spPr>
          <a:xfrm>
            <a:off x="361950" y="622300"/>
            <a:ext cx="8229600" cy="349250"/>
          </a:xfrm>
          <a:prstGeom prst="rect">
            <a:avLst/>
          </a:prstGeom>
        </p:spPr>
        <p:txBody>
          <a:bodyPr>
            <a:noAutofit/>
          </a:bodyPr>
          <a:lstStyle>
            <a:lvl1pPr marL="0" indent="0">
              <a:buNone/>
              <a:defRPr sz="1499">
                <a:solidFill>
                  <a:schemeClr val="tx2"/>
                </a:solidFill>
              </a:defRPr>
            </a:lvl1pPr>
            <a:lvl2pPr marL="171296" indent="0">
              <a:buNone/>
              <a:defRPr sz="1499">
                <a:solidFill>
                  <a:schemeClr val="tx2"/>
                </a:solidFill>
              </a:defRPr>
            </a:lvl2pPr>
            <a:lvl3pPr marL="285493" indent="0">
              <a:buNone/>
              <a:defRPr sz="1499">
                <a:solidFill>
                  <a:schemeClr val="tx2"/>
                </a:solidFill>
              </a:defRPr>
            </a:lvl3pPr>
            <a:lvl4pPr marL="1370366" indent="0">
              <a:buNone/>
              <a:defRPr sz="1499">
                <a:solidFill>
                  <a:schemeClr val="tx2"/>
                </a:solidFill>
              </a:defRPr>
            </a:lvl4pPr>
            <a:lvl5pPr marL="1827154" indent="0">
              <a:buNone/>
              <a:defRPr sz="1499">
                <a:solidFill>
                  <a:schemeClr val="tx2"/>
                </a:solidFill>
              </a:defRPr>
            </a:lvl5pPr>
          </a:lstStyle>
          <a:p>
            <a:pPr lvl="0"/>
            <a:r>
              <a:rPr lang="en-US" dirty="0"/>
              <a:t>Click to edit Master text styles</a:t>
            </a:r>
          </a:p>
        </p:txBody>
      </p:sp>
      <p:sp>
        <p:nvSpPr>
          <p:cNvPr id="4" name="Text Placeholder 3"/>
          <p:cNvSpPr>
            <a:spLocks noGrp="1"/>
          </p:cNvSpPr>
          <p:nvPr>
            <p:ph type="body" sz="quarter" idx="16"/>
          </p:nvPr>
        </p:nvSpPr>
        <p:spPr>
          <a:xfrm>
            <a:off x="361950" y="1263650"/>
            <a:ext cx="8229600" cy="2622550"/>
          </a:xfrm>
          <a:prstGeom prst="rect">
            <a:avLst/>
          </a:prstGeom>
        </p:spPr>
        <p:txBody>
          <a:bodyPr vert="horz"/>
          <a:lstStyle>
            <a:lvl1pPr>
              <a:defRPr sz="1399">
                <a:solidFill>
                  <a:schemeClr val="bg1"/>
                </a:solidFill>
              </a:defRPr>
            </a:lvl1pPr>
            <a:lvl2pPr>
              <a:defRPr sz="1399">
                <a:solidFill>
                  <a:schemeClr val="bg1"/>
                </a:solidFill>
              </a:defRPr>
            </a:lvl2pPr>
            <a:lvl3pPr>
              <a:defRPr sz="1399">
                <a:solidFill>
                  <a:schemeClr val="bg1"/>
                </a:solidFill>
              </a:defRPr>
            </a:lvl3pPr>
            <a:lvl4pPr marL="628084" indent="-171296">
              <a:defRPr sz="1399">
                <a:solidFill>
                  <a:schemeClr val="bg1"/>
                </a:solidFill>
              </a:defRPr>
            </a:lvl4pPr>
            <a:lvl5pPr marL="799380" indent="-171296">
              <a:defRPr sz="1399">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3"/>
          </p:nvPr>
        </p:nvSpPr>
        <p:spPr>
          <a:xfrm>
            <a:off x="5778500" y="4839481"/>
            <a:ext cx="3086100" cy="273050"/>
          </a:xfrm>
          <a:prstGeom prst="rect">
            <a:avLst/>
          </a:prstGeom>
        </p:spPr>
        <p:txBody>
          <a:bodyPr vert="horz" lIns="91440" tIns="45720" rIns="91440" bIns="45720" rtlCol="0" anchor="ctr"/>
          <a:lstStyle>
            <a:lvl1pPr algn="r">
              <a:defRPr sz="799">
                <a:solidFill>
                  <a:schemeClr val="tx2"/>
                </a:solidFill>
              </a:defRPr>
            </a:lvl1pPr>
          </a:lstStyle>
          <a:p>
            <a:endParaRPr lang="en-US" dirty="0"/>
          </a:p>
        </p:txBody>
      </p:sp>
    </p:spTree>
    <p:extLst>
      <p:ext uri="{BB962C8B-B14F-4D97-AF65-F5344CB8AC3E}">
        <p14:creationId xmlns:p14="http://schemas.microsoft.com/office/powerpoint/2010/main" val="397122650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361950" y="291431"/>
            <a:ext cx="8229600" cy="461665"/>
          </a:xfrm>
          <a:prstGeom prst="rect">
            <a:avLst/>
          </a:prstGeom>
        </p:spPr>
        <p:txBody>
          <a:bodyPr vert="horz" lIns="91440" tIns="45720" rIns="91440" bIns="45720" rtlCol="0" anchor="ctr">
            <a:spAutoFit/>
          </a:bodyPr>
          <a:lstStyle/>
          <a:p>
            <a:r>
              <a:rPr lang="en-US" dirty="0"/>
              <a:t>Click to edit Master title style</a:t>
            </a:r>
          </a:p>
        </p:txBody>
      </p:sp>
      <p:sp>
        <p:nvSpPr>
          <p:cNvPr id="6" name="Text Placeholder 3"/>
          <p:cNvSpPr>
            <a:spLocks noGrp="1"/>
          </p:cNvSpPr>
          <p:nvPr>
            <p:ph type="body" sz="quarter" idx="16" hasCustomPrompt="1"/>
          </p:nvPr>
        </p:nvSpPr>
        <p:spPr>
          <a:xfrm>
            <a:off x="361950" y="1162750"/>
            <a:ext cx="8229600" cy="2622550"/>
          </a:xfrm>
          <a:prstGeom prst="rect">
            <a:avLst/>
          </a:prstGeom>
        </p:spPr>
        <p:txBody>
          <a:bodyPr vert="horz"/>
          <a:lstStyle>
            <a:lvl1pPr marL="0" marR="0" indent="0" algn="l" defTabSz="456789" rtl="0" eaLnBrk="1" fontAlgn="auto" latinLnBrk="0" hangingPunct="1">
              <a:lnSpc>
                <a:spcPct val="100000"/>
              </a:lnSpc>
              <a:spcBef>
                <a:spcPct val="20000"/>
              </a:spcBef>
              <a:spcAft>
                <a:spcPts val="0"/>
              </a:spcAft>
              <a:buClr>
                <a:srgbClr val="D02124"/>
              </a:buClr>
              <a:buSzTx/>
              <a:buFont typeface="Lucida Grande"/>
              <a:buNone/>
              <a:tabLst/>
              <a:defRPr sz="1399">
                <a:solidFill>
                  <a:schemeClr val="bg1"/>
                </a:solidFill>
              </a:defRPr>
            </a:lvl1pPr>
            <a:lvl2pPr marL="171296" indent="0">
              <a:buNone/>
              <a:defRPr sz="1399">
                <a:solidFill>
                  <a:schemeClr val="bg1"/>
                </a:solidFill>
              </a:defRPr>
            </a:lvl2pPr>
            <a:lvl3pPr marL="285493" indent="0">
              <a:buNone/>
              <a:defRPr sz="1399">
                <a:solidFill>
                  <a:schemeClr val="bg1"/>
                </a:solidFill>
              </a:defRPr>
            </a:lvl3pPr>
            <a:lvl4pPr marL="456789" indent="0">
              <a:buNone/>
              <a:defRPr sz="1399">
                <a:solidFill>
                  <a:schemeClr val="bg1"/>
                </a:solidFill>
              </a:defRPr>
            </a:lvl4pPr>
            <a:lvl5pPr marL="628084" indent="0">
              <a:buNone/>
              <a:defRPr sz="1399">
                <a:solidFill>
                  <a:schemeClr val="bg1"/>
                </a:solidFill>
              </a:defRPr>
            </a:lvl5pPr>
          </a:lstStyle>
          <a:p>
            <a:pPr marL="0" marR="0" lvl="0" indent="0" algn="l" defTabSz="456789" rtl="0" eaLnBrk="1" fontAlgn="auto" latinLnBrk="0" hangingPunct="1">
              <a:lnSpc>
                <a:spcPct val="100000"/>
              </a:lnSpc>
              <a:spcBef>
                <a:spcPct val="20000"/>
              </a:spcBef>
              <a:spcAft>
                <a:spcPts val="0"/>
              </a:spcAft>
              <a:buClr>
                <a:srgbClr val="D02124"/>
              </a:buClr>
              <a:buSzTx/>
              <a:buFont typeface="Lucida Grande"/>
              <a:buNone/>
              <a:tabLst/>
              <a:defRPr/>
            </a:pPr>
            <a:r>
              <a:rPr lang="en-US" dirty="0"/>
              <a:t>Click to edit Master text styles. Click to edit Master text styles. Click to edit Master text styles.</a:t>
            </a:r>
          </a:p>
          <a:p>
            <a:pPr marL="0" marR="0" lvl="0" indent="0" algn="l" defTabSz="456789" rtl="0" eaLnBrk="1" fontAlgn="auto" latinLnBrk="0" hangingPunct="1">
              <a:lnSpc>
                <a:spcPct val="100000"/>
              </a:lnSpc>
              <a:spcBef>
                <a:spcPct val="20000"/>
              </a:spcBef>
              <a:spcAft>
                <a:spcPts val="0"/>
              </a:spcAft>
              <a:buClr>
                <a:srgbClr val="D02124"/>
              </a:buClr>
              <a:buSzTx/>
              <a:buFont typeface="Lucida Grande"/>
              <a:buNone/>
              <a:tabLst/>
              <a:defRPr/>
            </a:pPr>
            <a:r>
              <a:rPr lang="en-US" dirty="0"/>
              <a:t>Click to edit Master text styles. Click to edit Master text styles. Click to edit Master text styles.</a:t>
            </a:r>
          </a:p>
          <a:p>
            <a:pPr marL="0" marR="0" lvl="0" indent="0" algn="l" defTabSz="456789" rtl="0" eaLnBrk="1" fontAlgn="auto" latinLnBrk="0" hangingPunct="1">
              <a:lnSpc>
                <a:spcPct val="100000"/>
              </a:lnSpc>
              <a:spcBef>
                <a:spcPct val="20000"/>
              </a:spcBef>
              <a:spcAft>
                <a:spcPts val="0"/>
              </a:spcAft>
              <a:buClr>
                <a:srgbClr val="D02124"/>
              </a:buClr>
              <a:buSzTx/>
              <a:buFont typeface="Lucida Grande"/>
              <a:buNone/>
              <a:tabLst/>
              <a:defRPr/>
            </a:pPr>
            <a:endParaRPr lang="en-US" dirty="0"/>
          </a:p>
          <a:p>
            <a:pPr lvl="0"/>
            <a:endParaRPr lang="en-US" dirty="0"/>
          </a:p>
        </p:txBody>
      </p:sp>
      <p:sp>
        <p:nvSpPr>
          <p:cNvPr id="7" name="Footer Placeholder 5">
            <a:extLst>
              <a:ext uri="{FF2B5EF4-FFF2-40B4-BE49-F238E27FC236}">
                <a16:creationId xmlns:a16="http://schemas.microsoft.com/office/drawing/2014/main" id="{892C4BA2-4956-4A8F-AD76-3F1F667B4400}"/>
              </a:ext>
            </a:extLst>
          </p:cNvPr>
          <p:cNvSpPr>
            <a:spLocks noGrp="1"/>
          </p:cNvSpPr>
          <p:nvPr>
            <p:ph type="ftr" sz="quarter" idx="3"/>
          </p:nvPr>
        </p:nvSpPr>
        <p:spPr>
          <a:xfrm>
            <a:off x="5778500" y="4809501"/>
            <a:ext cx="3086100" cy="273050"/>
          </a:xfrm>
          <a:prstGeom prst="rect">
            <a:avLst/>
          </a:prstGeom>
        </p:spPr>
        <p:txBody>
          <a:bodyPr vert="horz" lIns="91440" tIns="45720" rIns="91440" bIns="45720" rtlCol="0" anchor="ctr"/>
          <a:lstStyle>
            <a:lvl1pPr algn="r">
              <a:defRPr sz="799">
                <a:solidFill>
                  <a:schemeClr val="tx2"/>
                </a:solidFill>
              </a:defRPr>
            </a:lvl1pPr>
          </a:lstStyle>
          <a:p>
            <a:endParaRPr lang="en-US" dirty="0"/>
          </a:p>
        </p:txBody>
      </p:sp>
    </p:spTree>
    <p:extLst>
      <p:ext uri="{BB962C8B-B14F-4D97-AF65-F5344CB8AC3E}">
        <p14:creationId xmlns:p14="http://schemas.microsoft.com/office/powerpoint/2010/main" val="4128739166"/>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7_Content Slide - 1 Col HIGH">
    <p:spTree>
      <p:nvGrpSpPr>
        <p:cNvPr id="1" name=""/>
        <p:cNvGrpSpPr/>
        <p:nvPr/>
      </p:nvGrpSpPr>
      <p:grpSpPr>
        <a:xfrm>
          <a:off x="0" y="0"/>
          <a:ext cx="0" cy="0"/>
          <a:chOff x="0" y="0"/>
          <a:chExt cx="0" cy="0"/>
        </a:xfrm>
      </p:grpSpPr>
      <p:sp>
        <p:nvSpPr>
          <p:cNvPr id="10" name="Footer Placeholder 4"/>
          <p:cNvSpPr txBox="1">
            <a:spLocks/>
          </p:cNvSpPr>
          <p:nvPr userDrawn="1"/>
        </p:nvSpPr>
        <p:spPr>
          <a:xfrm>
            <a:off x="8556173" y="4843524"/>
            <a:ext cx="416379" cy="273050"/>
          </a:xfrm>
          <a:prstGeom prst="rect">
            <a:avLst/>
          </a:prstGeom>
        </p:spPr>
        <p:txBody>
          <a:bodyPr vert="horz" lIns="91355" tIns="45678" rIns="91355" bIns="45678" rtlCol="0" anchor="ctr"/>
          <a:lstStyle>
            <a:defPPr>
              <a:defRPr lang="en-US"/>
            </a:defPPr>
            <a:lvl1pPr marL="0" algn="r" defTabSz="457200" rtl="0" eaLnBrk="1" latinLnBrk="0" hangingPunct="1">
              <a:defRPr sz="800" b="1" kern="1200">
                <a:solidFill>
                  <a:schemeClr val="accent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799" dirty="0"/>
          </a:p>
        </p:txBody>
      </p:sp>
      <p:sp>
        <p:nvSpPr>
          <p:cNvPr id="11" name="Title Placeholder 1"/>
          <p:cNvSpPr>
            <a:spLocks noGrp="1"/>
          </p:cNvSpPr>
          <p:nvPr>
            <p:ph type="title" hasCustomPrompt="1"/>
          </p:nvPr>
        </p:nvSpPr>
        <p:spPr>
          <a:xfrm>
            <a:off x="457200" y="286053"/>
            <a:ext cx="8229600" cy="523220"/>
          </a:xfrm>
          <a:prstGeom prst="rect">
            <a:avLst/>
          </a:prstGeom>
        </p:spPr>
        <p:txBody>
          <a:bodyPr vert="horz" lIns="91440" tIns="45720" rIns="91440" bIns="45720" rtlCol="0" anchor="ctr">
            <a:spAutoFit/>
          </a:bodyPr>
          <a:lstStyle>
            <a:lvl1pPr>
              <a:defRPr sz="2797" cap="all"/>
            </a:lvl1pPr>
          </a:lstStyle>
          <a:p>
            <a:r>
              <a:rPr lang="en-US" dirty="0"/>
              <a:t>CLICK TO ADD TITLE</a:t>
            </a:r>
          </a:p>
        </p:txBody>
      </p:sp>
      <p:sp>
        <p:nvSpPr>
          <p:cNvPr id="5" name="Footer Placeholder 5">
            <a:extLst>
              <a:ext uri="{FF2B5EF4-FFF2-40B4-BE49-F238E27FC236}">
                <a16:creationId xmlns:a16="http://schemas.microsoft.com/office/drawing/2014/main" id="{59432805-4A98-4B1B-857E-58BF6EF6E4E3}"/>
              </a:ext>
            </a:extLst>
          </p:cNvPr>
          <p:cNvSpPr>
            <a:spLocks noGrp="1"/>
          </p:cNvSpPr>
          <p:nvPr>
            <p:ph type="ftr" sz="quarter" idx="3"/>
          </p:nvPr>
        </p:nvSpPr>
        <p:spPr>
          <a:xfrm>
            <a:off x="5778500" y="4809501"/>
            <a:ext cx="3086100" cy="273050"/>
          </a:xfrm>
          <a:prstGeom prst="rect">
            <a:avLst/>
          </a:prstGeom>
        </p:spPr>
        <p:txBody>
          <a:bodyPr vert="horz" lIns="91440" tIns="45720" rIns="91440" bIns="45720" rtlCol="0" anchor="ctr"/>
          <a:lstStyle>
            <a:lvl1pPr algn="r">
              <a:defRPr sz="799">
                <a:solidFill>
                  <a:schemeClr val="tx2"/>
                </a:solidFill>
              </a:defRPr>
            </a:lvl1pPr>
          </a:lstStyle>
          <a:p>
            <a:endParaRPr lang="en-US" dirty="0"/>
          </a:p>
        </p:txBody>
      </p:sp>
    </p:spTree>
    <p:extLst>
      <p:ext uri="{BB962C8B-B14F-4D97-AF65-F5344CB8AC3E}">
        <p14:creationId xmlns:p14="http://schemas.microsoft.com/office/powerpoint/2010/main" val="338092942"/>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4_text+image1">
    <p:spTree>
      <p:nvGrpSpPr>
        <p:cNvPr id="1" name=""/>
        <p:cNvGrpSpPr/>
        <p:nvPr/>
      </p:nvGrpSpPr>
      <p:grpSpPr>
        <a:xfrm>
          <a:off x="0" y="0"/>
          <a:ext cx="0" cy="0"/>
          <a:chOff x="0" y="0"/>
          <a:chExt cx="0" cy="0"/>
        </a:xfrm>
      </p:grpSpPr>
      <p:sp>
        <p:nvSpPr>
          <p:cNvPr id="118" name="Numero diapositiva"/>
          <p:cNvSpPr txBox="1">
            <a:spLocks noGrp="1"/>
          </p:cNvSpPr>
          <p:nvPr>
            <p:ph type="sldNum" sz="quarter" idx="2"/>
          </p:nvPr>
        </p:nvSpPr>
        <p:spPr>
          <a:xfrm>
            <a:off x="8897900" y="4927095"/>
            <a:ext cx="202119" cy="177327"/>
          </a:xfrm>
          <a:prstGeom prst="rect">
            <a:avLst/>
          </a:prstGeom>
        </p:spPr>
        <p:txBody>
          <a:bodyPr lIns="121917" tIns="121917" rIns="121917" bIns="121917"/>
          <a:lstStyle>
            <a:lvl1pPr algn="l" defTabSz="457175">
              <a:lnSpc>
                <a:spcPct val="80000"/>
              </a:lnSpc>
              <a:spcBef>
                <a:spcPts val="600"/>
              </a:spcBef>
              <a:tabLst>
                <a:tab pos="390515" algn="l"/>
              </a:tabLst>
              <a:defRPr sz="750">
                <a:solidFill>
                  <a:srgbClr val="FFFFFF"/>
                </a:solidFill>
              </a:defRPr>
            </a:lvl1pPr>
          </a:lstStyle>
          <a:p>
            <a:fld id="{86CB4B4D-7CA3-9044-876B-883B54F8677D}" type="slidenum">
              <a:t>‹#›</a:t>
            </a:fld>
            <a:endParaRPr/>
          </a:p>
        </p:txBody>
      </p:sp>
      <p:sp>
        <p:nvSpPr>
          <p:cNvPr id="5" name="Google Shape;238;p22">
            <a:extLst>
              <a:ext uri="{FF2B5EF4-FFF2-40B4-BE49-F238E27FC236}">
                <a16:creationId xmlns:a16="http://schemas.microsoft.com/office/drawing/2014/main" id="{757F1519-540A-9B44-817D-C6A47AFFE561}"/>
              </a:ext>
            </a:extLst>
          </p:cNvPr>
          <p:cNvSpPr txBox="1">
            <a:spLocks/>
          </p:cNvSpPr>
          <p:nvPr userDrawn="1"/>
        </p:nvSpPr>
        <p:spPr>
          <a:xfrm>
            <a:off x="8687013" y="4824790"/>
            <a:ext cx="436931" cy="177327"/>
          </a:xfrm>
          <a:prstGeom prst="rect">
            <a:avLst/>
          </a:prstGeom>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91425" tIns="91425" rIns="91425" bIns="91425"/>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2438400" rtl="0" fontAlgn="auto" latinLnBrk="0" hangingPunct="0">
              <a:lnSpc>
                <a:spcPct val="100000"/>
              </a:lnSpc>
              <a:spcBef>
                <a:spcPts val="0"/>
              </a:spcBef>
              <a:spcAft>
                <a:spcPts val="0"/>
              </a:spcAft>
              <a:buClrTx/>
              <a:buSzTx/>
              <a:buFontTx/>
              <a:buNone/>
              <a:tabLst/>
              <a:defRPr kumimoji="0" sz="2600" b="1" i="0" u="none" strike="noStrike" cap="none" spc="0" normalizeH="0" baseline="0">
                <a:ln>
                  <a:noFill/>
                </a:ln>
                <a:solidFill>
                  <a:srgbClr val="FFFFFF"/>
                </a:solidFill>
                <a:effectLst/>
                <a:uFillTx/>
                <a:latin typeface="Helvetica 75"/>
                <a:ea typeface="Helvetica 75"/>
                <a:cs typeface="Helvetica 75"/>
                <a:sym typeface="Helvetica Neue"/>
              </a:defRPr>
            </a:lvl1pPr>
            <a:lvl2pPr marL="0" marR="0" indent="0" algn="l" defTabSz="1219031"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FFFFFF"/>
                </a:solidFill>
                <a:effectLst/>
                <a:uFillTx/>
                <a:latin typeface="Code Pro Bold LC"/>
                <a:ea typeface="Code Pro Bold LC"/>
                <a:cs typeface="Code Pro Bold LC"/>
                <a:sym typeface="Code Pro Bold LC"/>
              </a:defRPr>
            </a:lvl2pPr>
            <a:lvl3pPr marL="0" marR="0" indent="0" algn="l" defTabSz="1219031"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FFFFFF"/>
                </a:solidFill>
                <a:effectLst/>
                <a:uFillTx/>
                <a:latin typeface="Code Pro Bold LC"/>
                <a:ea typeface="Code Pro Bold LC"/>
                <a:cs typeface="Code Pro Bold LC"/>
                <a:sym typeface="Code Pro Bold LC"/>
              </a:defRPr>
            </a:lvl3pPr>
            <a:lvl4pPr marL="0" marR="0" indent="0" algn="l" defTabSz="1219031"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FFFFFF"/>
                </a:solidFill>
                <a:effectLst/>
                <a:uFillTx/>
                <a:latin typeface="Code Pro Bold LC"/>
                <a:ea typeface="Code Pro Bold LC"/>
                <a:cs typeface="Code Pro Bold LC"/>
                <a:sym typeface="Code Pro Bold LC"/>
              </a:defRPr>
            </a:lvl4pPr>
            <a:lvl5pPr marL="0" marR="0" indent="0" algn="l" defTabSz="1219031"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FFFFFF"/>
                </a:solidFill>
                <a:effectLst/>
                <a:uFillTx/>
                <a:latin typeface="Code Pro Bold LC"/>
                <a:ea typeface="Code Pro Bold LC"/>
                <a:cs typeface="Code Pro Bold LC"/>
                <a:sym typeface="Code Pro Bold LC"/>
              </a:defRPr>
            </a:lvl5pPr>
            <a:lvl6pPr marL="0" marR="0" indent="0" algn="l" defTabSz="1219031"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FFFFFF"/>
                </a:solidFill>
                <a:effectLst/>
                <a:uFillTx/>
                <a:latin typeface="Code Pro Bold LC"/>
                <a:ea typeface="Code Pro Bold LC"/>
                <a:cs typeface="Code Pro Bold LC"/>
                <a:sym typeface="Code Pro Bold LC"/>
              </a:defRPr>
            </a:lvl6pPr>
            <a:lvl7pPr marL="0" marR="0" indent="0" algn="l" defTabSz="1219031"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FFFFFF"/>
                </a:solidFill>
                <a:effectLst/>
                <a:uFillTx/>
                <a:latin typeface="Code Pro Bold LC"/>
                <a:ea typeface="Code Pro Bold LC"/>
                <a:cs typeface="Code Pro Bold LC"/>
                <a:sym typeface="Code Pro Bold LC"/>
              </a:defRPr>
            </a:lvl7pPr>
            <a:lvl8pPr marL="0" marR="0" indent="0" algn="l" defTabSz="1219031"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FFFFFF"/>
                </a:solidFill>
                <a:effectLst/>
                <a:uFillTx/>
                <a:latin typeface="Code Pro Bold LC"/>
                <a:ea typeface="Code Pro Bold LC"/>
                <a:cs typeface="Code Pro Bold LC"/>
                <a:sym typeface="Code Pro Bold LC"/>
              </a:defRPr>
            </a:lvl8pPr>
            <a:lvl9pPr marL="0" marR="0" indent="0" algn="l" defTabSz="1219031"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FFFFFF"/>
                </a:solidFill>
                <a:effectLst/>
                <a:uFillTx/>
                <a:latin typeface="Code Pro Bold LC"/>
                <a:ea typeface="Code Pro Bold LC"/>
                <a:cs typeface="Code Pro Bold LC"/>
                <a:sym typeface="Code Pro Bold LC"/>
              </a:defRPr>
            </a:lvl9pPr>
          </a:lstStyle>
          <a:p>
            <a:pPr algn="r"/>
            <a:fld id="{86CB4B4D-7CA3-9044-876B-883B54F8677D}" type="slidenum">
              <a:rPr lang="it-IT" sz="750" smtClean="0">
                <a:solidFill>
                  <a:srgbClr val="099683"/>
                </a:solidFill>
                <a:latin typeface="Arial" panose="020B0604020202020204" pitchFamily="34" charset="0"/>
                <a:cs typeface="Arial" panose="020B0604020202020204" pitchFamily="34" charset="0"/>
              </a:rPr>
              <a:pPr algn="r"/>
              <a:t>‹#›</a:t>
            </a:fld>
            <a:endParaRPr lang="it-IT" sz="975">
              <a:solidFill>
                <a:srgbClr val="099683"/>
              </a:solidFill>
              <a:latin typeface="Arial" panose="020B0604020202020204" pitchFamily="34" charset="0"/>
              <a:cs typeface="Arial" panose="020B0604020202020204" pitchFamily="34" charset="0"/>
            </a:endParaRPr>
          </a:p>
        </p:txBody>
      </p:sp>
      <p:pic>
        <p:nvPicPr>
          <p:cNvPr id="26" name="Immagine 25">
            <a:extLst>
              <a:ext uri="{FF2B5EF4-FFF2-40B4-BE49-F238E27FC236}">
                <a16:creationId xmlns:a16="http://schemas.microsoft.com/office/drawing/2014/main" id="{48D0BBE2-1B9F-0E43-BA09-8B07E624587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823802" y="116506"/>
            <a:ext cx="210224" cy="210419"/>
          </a:xfrm>
          <a:prstGeom prst="rect">
            <a:avLst/>
          </a:prstGeom>
        </p:spPr>
      </p:pic>
      <p:sp>
        <p:nvSpPr>
          <p:cNvPr id="8" name="Rettangolo 7">
            <a:extLst>
              <a:ext uri="{FF2B5EF4-FFF2-40B4-BE49-F238E27FC236}">
                <a16:creationId xmlns:a16="http://schemas.microsoft.com/office/drawing/2014/main" id="{6FF3C871-B8C4-432C-B462-536672E58D88}"/>
              </a:ext>
            </a:extLst>
          </p:cNvPr>
          <p:cNvSpPr/>
          <p:nvPr userDrawn="1"/>
        </p:nvSpPr>
        <p:spPr>
          <a:xfrm>
            <a:off x="-106590" y="178913"/>
            <a:ext cx="1083988" cy="615549"/>
          </a:xfrm>
          <a:custGeom>
            <a:avLst/>
            <a:gdLst>
              <a:gd name="connsiteX0" fmla="*/ 0 w 2886118"/>
              <a:gd name="connsiteY0" fmla="*/ 0 h 2886118"/>
              <a:gd name="connsiteX1" fmla="*/ 2886118 w 2886118"/>
              <a:gd name="connsiteY1" fmla="*/ 0 h 2886118"/>
              <a:gd name="connsiteX2" fmla="*/ 2886118 w 2886118"/>
              <a:gd name="connsiteY2" fmla="*/ 2886118 h 2886118"/>
              <a:gd name="connsiteX3" fmla="*/ 0 w 2886118"/>
              <a:gd name="connsiteY3" fmla="*/ 2886118 h 2886118"/>
              <a:gd name="connsiteX4" fmla="*/ 0 w 2886118"/>
              <a:gd name="connsiteY4" fmla="*/ 0 h 2886118"/>
              <a:gd name="connsiteX0" fmla="*/ 0 w 2886118"/>
              <a:gd name="connsiteY0" fmla="*/ 0 h 2886118"/>
              <a:gd name="connsiteX1" fmla="*/ 2886118 w 2886118"/>
              <a:gd name="connsiteY1" fmla="*/ 1592580 h 2886118"/>
              <a:gd name="connsiteX2" fmla="*/ 2886118 w 2886118"/>
              <a:gd name="connsiteY2" fmla="*/ 2886118 h 2886118"/>
              <a:gd name="connsiteX3" fmla="*/ 0 w 2886118"/>
              <a:gd name="connsiteY3" fmla="*/ 2886118 h 2886118"/>
              <a:gd name="connsiteX4" fmla="*/ 0 w 2886118"/>
              <a:gd name="connsiteY4" fmla="*/ 0 h 2886118"/>
              <a:gd name="connsiteX0" fmla="*/ 1798320 w 2886118"/>
              <a:gd name="connsiteY0" fmla="*/ 152400 h 1293538"/>
              <a:gd name="connsiteX1" fmla="*/ 2886118 w 2886118"/>
              <a:gd name="connsiteY1" fmla="*/ 0 h 1293538"/>
              <a:gd name="connsiteX2" fmla="*/ 2886118 w 2886118"/>
              <a:gd name="connsiteY2" fmla="*/ 1293538 h 1293538"/>
              <a:gd name="connsiteX3" fmla="*/ 0 w 2886118"/>
              <a:gd name="connsiteY3" fmla="*/ 1293538 h 1293538"/>
              <a:gd name="connsiteX4" fmla="*/ 1798320 w 2886118"/>
              <a:gd name="connsiteY4" fmla="*/ 152400 h 1293538"/>
              <a:gd name="connsiteX0" fmla="*/ 30480 w 1118278"/>
              <a:gd name="connsiteY0" fmla="*/ 152400 h 1293538"/>
              <a:gd name="connsiteX1" fmla="*/ 1118278 w 1118278"/>
              <a:gd name="connsiteY1" fmla="*/ 0 h 1293538"/>
              <a:gd name="connsiteX2" fmla="*/ 1118278 w 1118278"/>
              <a:gd name="connsiteY2" fmla="*/ 1293538 h 1293538"/>
              <a:gd name="connsiteX3" fmla="*/ 0 w 1118278"/>
              <a:gd name="connsiteY3" fmla="*/ 1293538 h 1293538"/>
              <a:gd name="connsiteX4" fmla="*/ 30480 w 1118278"/>
              <a:gd name="connsiteY4" fmla="*/ 152400 h 1293538"/>
              <a:gd name="connsiteX0" fmla="*/ 30480 w 1125898"/>
              <a:gd name="connsiteY0" fmla="*/ 15240 h 1156378"/>
              <a:gd name="connsiteX1" fmla="*/ 1125898 w 1125898"/>
              <a:gd name="connsiteY1" fmla="*/ 0 h 1156378"/>
              <a:gd name="connsiteX2" fmla="*/ 1118278 w 1125898"/>
              <a:gd name="connsiteY2" fmla="*/ 1156378 h 1156378"/>
              <a:gd name="connsiteX3" fmla="*/ 0 w 1125898"/>
              <a:gd name="connsiteY3" fmla="*/ 1156378 h 1156378"/>
              <a:gd name="connsiteX4" fmla="*/ 30480 w 1125898"/>
              <a:gd name="connsiteY4" fmla="*/ 15240 h 1156378"/>
              <a:gd name="connsiteX0" fmla="*/ 26670 w 1125898"/>
              <a:gd name="connsiteY0" fmla="*/ 3810 h 1156378"/>
              <a:gd name="connsiteX1" fmla="*/ 1125898 w 1125898"/>
              <a:gd name="connsiteY1" fmla="*/ 0 h 1156378"/>
              <a:gd name="connsiteX2" fmla="*/ 1118278 w 1125898"/>
              <a:gd name="connsiteY2" fmla="*/ 1156378 h 1156378"/>
              <a:gd name="connsiteX3" fmla="*/ 0 w 1125898"/>
              <a:gd name="connsiteY3" fmla="*/ 1156378 h 1156378"/>
              <a:gd name="connsiteX4" fmla="*/ 26670 w 1125898"/>
              <a:gd name="connsiteY4" fmla="*/ 3810 h 1156378"/>
              <a:gd name="connsiteX0" fmla="*/ 0 w 1099228"/>
              <a:gd name="connsiteY0" fmla="*/ 3810 h 1156378"/>
              <a:gd name="connsiteX1" fmla="*/ 1099228 w 1099228"/>
              <a:gd name="connsiteY1" fmla="*/ 0 h 1156378"/>
              <a:gd name="connsiteX2" fmla="*/ 1091608 w 1099228"/>
              <a:gd name="connsiteY2" fmla="*/ 1156378 h 1156378"/>
              <a:gd name="connsiteX3" fmla="*/ 9525 w 1099228"/>
              <a:gd name="connsiteY3" fmla="*/ 1156378 h 1156378"/>
              <a:gd name="connsiteX4" fmla="*/ 0 w 1099228"/>
              <a:gd name="connsiteY4" fmla="*/ 3810 h 1156378"/>
              <a:gd name="connsiteX0" fmla="*/ 0 w 1095418"/>
              <a:gd name="connsiteY0" fmla="*/ 5715 h 1156378"/>
              <a:gd name="connsiteX1" fmla="*/ 1095418 w 1095418"/>
              <a:gd name="connsiteY1" fmla="*/ 0 h 1156378"/>
              <a:gd name="connsiteX2" fmla="*/ 1087798 w 1095418"/>
              <a:gd name="connsiteY2" fmla="*/ 1156378 h 1156378"/>
              <a:gd name="connsiteX3" fmla="*/ 5715 w 1095418"/>
              <a:gd name="connsiteY3" fmla="*/ 1156378 h 1156378"/>
              <a:gd name="connsiteX4" fmla="*/ 0 w 1095418"/>
              <a:gd name="connsiteY4" fmla="*/ 5715 h 1156378"/>
              <a:gd name="connsiteX0" fmla="*/ 0 w 1095418"/>
              <a:gd name="connsiteY0" fmla="*/ 0 h 1156378"/>
              <a:gd name="connsiteX1" fmla="*/ 1095418 w 1095418"/>
              <a:gd name="connsiteY1" fmla="*/ 0 h 1156378"/>
              <a:gd name="connsiteX2" fmla="*/ 1087798 w 1095418"/>
              <a:gd name="connsiteY2" fmla="*/ 1156378 h 1156378"/>
              <a:gd name="connsiteX3" fmla="*/ 5715 w 1095418"/>
              <a:gd name="connsiteY3" fmla="*/ 1156378 h 1156378"/>
              <a:gd name="connsiteX4" fmla="*/ 0 w 1095418"/>
              <a:gd name="connsiteY4" fmla="*/ 0 h 1156378"/>
              <a:gd name="connsiteX0" fmla="*/ 0 w 1091608"/>
              <a:gd name="connsiteY0" fmla="*/ 0 h 1156378"/>
              <a:gd name="connsiteX1" fmla="*/ 1091608 w 1091608"/>
              <a:gd name="connsiteY1" fmla="*/ 0 h 1156378"/>
              <a:gd name="connsiteX2" fmla="*/ 1087798 w 1091608"/>
              <a:gd name="connsiteY2" fmla="*/ 1156378 h 1156378"/>
              <a:gd name="connsiteX3" fmla="*/ 5715 w 1091608"/>
              <a:gd name="connsiteY3" fmla="*/ 1156378 h 1156378"/>
              <a:gd name="connsiteX4" fmla="*/ 0 w 1091608"/>
              <a:gd name="connsiteY4" fmla="*/ 0 h 1156378"/>
              <a:gd name="connsiteX0" fmla="*/ 0 w 1087798"/>
              <a:gd name="connsiteY0" fmla="*/ 0 h 1156378"/>
              <a:gd name="connsiteX1" fmla="*/ 1085893 w 1087798"/>
              <a:gd name="connsiteY1" fmla="*/ 0 h 1156378"/>
              <a:gd name="connsiteX2" fmla="*/ 1087798 w 1087798"/>
              <a:gd name="connsiteY2" fmla="*/ 1156378 h 1156378"/>
              <a:gd name="connsiteX3" fmla="*/ 5715 w 1087798"/>
              <a:gd name="connsiteY3" fmla="*/ 1156378 h 1156378"/>
              <a:gd name="connsiteX4" fmla="*/ 0 w 1087798"/>
              <a:gd name="connsiteY4" fmla="*/ 0 h 1156378"/>
              <a:gd name="connsiteX0" fmla="*/ 0 w 1089703"/>
              <a:gd name="connsiteY0" fmla="*/ 0 h 1156378"/>
              <a:gd name="connsiteX1" fmla="*/ 1089703 w 1089703"/>
              <a:gd name="connsiteY1" fmla="*/ 0 h 1156378"/>
              <a:gd name="connsiteX2" fmla="*/ 1087798 w 1089703"/>
              <a:gd name="connsiteY2" fmla="*/ 1156378 h 1156378"/>
              <a:gd name="connsiteX3" fmla="*/ 5715 w 1089703"/>
              <a:gd name="connsiteY3" fmla="*/ 1156378 h 1156378"/>
              <a:gd name="connsiteX4" fmla="*/ 0 w 1089703"/>
              <a:gd name="connsiteY4" fmla="*/ 0 h 1156378"/>
              <a:gd name="connsiteX0" fmla="*/ 0 w 1087798"/>
              <a:gd name="connsiteY0" fmla="*/ 1905 h 1158283"/>
              <a:gd name="connsiteX1" fmla="*/ 1087798 w 1087798"/>
              <a:gd name="connsiteY1" fmla="*/ 0 h 1158283"/>
              <a:gd name="connsiteX2" fmla="*/ 1087798 w 1087798"/>
              <a:gd name="connsiteY2" fmla="*/ 1158283 h 1158283"/>
              <a:gd name="connsiteX3" fmla="*/ 5715 w 1087798"/>
              <a:gd name="connsiteY3" fmla="*/ 1158283 h 1158283"/>
              <a:gd name="connsiteX4" fmla="*/ 0 w 1087798"/>
              <a:gd name="connsiteY4" fmla="*/ 1905 h 1158283"/>
              <a:gd name="connsiteX0" fmla="*/ 0 w 1083988"/>
              <a:gd name="connsiteY0" fmla="*/ 1905 h 1158283"/>
              <a:gd name="connsiteX1" fmla="*/ 1083988 w 1083988"/>
              <a:gd name="connsiteY1" fmla="*/ 0 h 1158283"/>
              <a:gd name="connsiteX2" fmla="*/ 1083988 w 1083988"/>
              <a:gd name="connsiteY2" fmla="*/ 1158283 h 1158283"/>
              <a:gd name="connsiteX3" fmla="*/ 1905 w 1083988"/>
              <a:gd name="connsiteY3" fmla="*/ 1158283 h 1158283"/>
              <a:gd name="connsiteX4" fmla="*/ 0 w 1083988"/>
              <a:gd name="connsiteY4" fmla="*/ 1905 h 11582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3988" h="1158283">
                <a:moveTo>
                  <a:pt x="0" y="1905"/>
                </a:moveTo>
                <a:lnTo>
                  <a:pt x="1083988" y="0"/>
                </a:lnTo>
                <a:lnTo>
                  <a:pt x="1083988" y="1158283"/>
                </a:lnTo>
                <a:lnTo>
                  <a:pt x="1905" y="1158283"/>
                </a:lnTo>
                <a:lnTo>
                  <a:pt x="0" y="1905"/>
                </a:lnTo>
                <a:close/>
              </a:path>
            </a:pathLst>
          </a:custGeom>
          <a:noFill/>
          <a:ln w="63500" cap="sq">
            <a:solidFill>
              <a:srgbClr val="099683"/>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anchor="ctr">
            <a:spAutoFit/>
          </a:bodyPr>
          <a:lstStyle/>
          <a:p>
            <a:pPr marL="0" marR="0" indent="0" algn="l" defTabSz="1219001" rtl="0" fontAlgn="auto" latinLnBrk="0" hangingPunct="0">
              <a:lnSpc>
                <a:spcPct val="100000"/>
              </a:lnSpc>
              <a:spcBef>
                <a:spcPts val="0"/>
              </a:spcBef>
              <a:spcAft>
                <a:spcPts val="0"/>
              </a:spcAft>
              <a:buClrTx/>
              <a:buSzTx/>
              <a:buFontTx/>
              <a:buNone/>
              <a:tabLst/>
            </a:pPr>
            <a:endParaRPr kumimoji="0" lang="it-IT" sz="2400" b="0" i="0" u="none" strike="noStrike" cap="none" spc="0" normalizeH="0" baseline="0">
              <a:ln>
                <a:noFill/>
              </a:ln>
              <a:solidFill>
                <a:srgbClr val="FFFFFF"/>
              </a:solidFill>
              <a:effectLst/>
              <a:uFillTx/>
              <a:latin typeface="Code Pro Bold LC"/>
              <a:ea typeface="Code Pro Bold LC"/>
              <a:cs typeface="Code Pro Bold LC"/>
              <a:sym typeface="Code Pro Bold LC"/>
            </a:endParaRPr>
          </a:p>
        </p:txBody>
      </p:sp>
    </p:spTree>
    <p:extLst>
      <p:ext uri="{BB962C8B-B14F-4D97-AF65-F5344CB8AC3E}">
        <p14:creationId xmlns:p14="http://schemas.microsoft.com/office/powerpoint/2010/main" val="965603542"/>
      </p:ext>
    </p:extLst>
  </p:cSld>
  <p:clrMapOvr>
    <a:masterClrMapping/>
  </p:clrMapOvr>
  <p:transition spd="med"/>
  <p:extLst>
    <p:ext uri="{DCECCB84-F9BA-43D5-87BE-67443E8EF086}">
      <p15:sldGuideLst xmlns:p15="http://schemas.microsoft.com/office/powerpoint/2012/main">
        <p15:guide id="1" pos="2880">
          <p15:clr>
            <a:srgbClr val="FBAE40"/>
          </p15:clr>
        </p15:guide>
        <p15:guide id="2" orient="horz" pos="1620">
          <p15:clr>
            <a:srgbClr val="FBAE40"/>
          </p15:clr>
        </p15:guide>
        <p15:guide id="3" orient="horz" pos="2981">
          <p15:clr>
            <a:srgbClr val="FBAE40"/>
          </p15:clr>
        </p15:guide>
        <p15:guide id="4" orient="horz" pos="577">
          <p15:clr>
            <a:srgbClr val="FBAE40"/>
          </p15:clr>
        </p15:guide>
        <p15:guide id="5" pos="295">
          <p15:clr>
            <a:srgbClr val="FBAE40"/>
          </p15:clr>
        </p15:guide>
        <p15:guide id="6" pos="5465">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05E7C"/>
        </a:solidFill>
        <a:effectLst/>
      </p:bgPr>
    </p:bg>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457200" y="3313538"/>
            <a:ext cx="8229600" cy="462521"/>
          </a:xfrm>
          <a:prstGeom prst="rect">
            <a:avLst/>
          </a:prstGeom>
        </p:spPr>
        <p:txBody>
          <a:bodyPr vert="horz" lIns="91438" tIns="45719" rIns="91438" bIns="45719">
            <a:spAutoFit/>
          </a:bodyPr>
          <a:lstStyle>
            <a:lvl1pPr algn="l">
              <a:defRPr sz="2398" b="1">
                <a:solidFill>
                  <a:srgbClr val="FFFFFE"/>
                </a:solidFill>
                <a:latin typeface="Arial"/>
                <a:cs typeface="Arial"/>
              </a:defRPr>
            </a:lvl1pPr>
          </a:lstStyle>
          <a:p>
            <a:r>
              <a:rPr lang="en-US"/>
              <a:t>CLICK TO EDIT MASTER TITLE STYLE</a:t>
            </a:r>
          </a:p>
        </p:txBody>
      </p:sp>
    </p:spTree>
    <p:extLst>
      <p:ext uri="{BB962C8B-B14F-4D97-AF65-F5344CB8AC3E}">
        <p14:creationId xmlns:p14="http://schemas.microsoft.com/office/powerpoint/2010/main" val="237856375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Inhalt links Bild rechts">
    <p:spTree>
      <p:nvGrpSpPr>
        <p:cNvPr id="1" name=""/>
        <p:cNvGrpSpPr/>
        <p:nvPr/>
      </p:nvGrpSpPr>
      <p:grpSpPr>
        <a:xfrm>
          <a:off x="0" y="0"/>
          <a:ext cx="0" cy="0"/>
          <a:chOff x="0" y="0"/>
          <a:chExt cx="0" cy="0"/>
        </a:xfrm>
      </p:grpSpPr>
      <p:sp>
        <p:nvSpPr>
          <p:cNvPr id="3" name="Inhaltsplatzhalter 2"/>
          <p:cNvSpPr>
            <a:spLocks noGrp="1"/>
          </p:cNvSpPr>
          <p:nvPr>
            <p:ph idx="1"/>
          </p:nvPr>
        </p:nvSpPr>
        <p:spPr>
          <a:xfrm>
            <a:off x="383932" y="709079"/>
            <a:ext cx="4116068" cy="4243741"/>
          </a:xfrm>
        </p:spPr>
        <p:txBody>
          <a:bodyPr bIns="72000"/>
          <a:lstStyle/>
          <a:p>
            <a:pPr lvl="0"/>
            <a:r>
              <a:rPr lang="de-DE"/>
              <a:t>Textmasterformat bearbeiten</a:t>
            </a:r>
          </a:p>
          <a:p>
            <a:pPr lvl="1"/>
            <a:r>
              <a:rPr lang="de-DE"/>
              <a:t>Zweite Ebene</a:t>
            </a:r>
          </a:p>
          <a:p>
            <a:pPr lvl="2"/>
            <a:r>
              <a:rPr lang="de-DE"/>
              <a:t>Dritte Ebene</a:t>
            </a:r>
          </a:p>
        </p:txBody>
      </p:sp>
      <p:sp>
        <p:nvSpPr>
          <p:cNvPr id="9" name="Bildplatzhalter 8"/>
          <p:cNvSpPr>
            <a:spLocks noGrp="1"/>
          </p:cNvSpPr>
          <p:nvPr>
            <p:ph type="pic" sz="quarter" idx="14"/>
          </p:nvPr>
        </p:nvSpPr>
        <p:spPr>
          <a:xfrm>
            <a:off x="4643437" y="709079"/>
            <a:ext cx="4116632" cy="4243741"/>
          </a:xfrm>
        </p:spPr>
        <p:txBody>
          <a:bodyPr tIns="180000" bIns="180000" rtlCol="0">
            <a:noAutofit/>
          </a:bodyPr>
          <a:lstStyle>
            <a:lvl1pPr marL="0" indent="0">
              <a:buFontTx/>
              <a:buNone/>
              <a:defRPr sz="1201">
                <a:solidFill>
                  <a:schemeClr val="accent2"/>
                </a:solidFill>
              </a:defRPr>
            </a:lvl1pPr>
          </a:lstStyle>
          <a:p>
            <a:pPr lvl="0"/>
            <a:r>
              <a:rPr lang="de-DE" noProof="0"/>
              <a:t>Bild durch Klicken auf Symbol hinzufügen</a:t>
            </a:r>
          </a:p>
        </p:txBody>
      </p:sp>
      <p:sp>
        <p:nvSpPr>
          <p:cNvPr id="10" name="Titel 1"/>
          <p:cNvSpPr>
            <a:spLocks noGrp="1"/>
          </p:cNvSpPr>
          <p:nvPr>
            <p:ph type="title"/>
          </p:nvPr>
        </p:nvSpPr>
        <p:spPr>
          <a:xfrm>
            <a:off x="383931" y="216200"/>
            <a:ext cx="7145936" cy="195691"/>
          </a:xfrm>
        </p:spPr>
        <p:txBody>
          <a:bodyPr/>
          <a:lstStyle>
            <a:lvl1pPr>
              <a:defRPr baseline="0"/>
            </a:lvl1pPr>
          </a:lstStyle>
          <a:p>
            <a:r>
              <a:rPr lang="de-DE"/>
              <a:t>Titelmasterformat durch Klicken bearbeiten</a:t>
            </a:r>
          </a:p>
        </p:txBody>
      </p:sp>
      <p:sp>
        <p:nvSpPr>
          <p:cNvPr id="11" name="Textplatzhalter 2"/>
          <p:cNvSpPr>
            <a:spLocks noGrp="1"/>
          </p:cNvSpPr>
          <p:nvPr>
            <p:ph type="body" idx="13"/>
          </p:nvPr>
        </p:nvSpPr>
        <p:spPr>
          <a:xfrm>
            <a:off x="383931" y="411891"/>
            <a:ext cx="7145936" cy="216200"/>
          </a:xfrm>
        </p:spPr>
        <p:txBody>
          <a:bodyPr tIns="0"/>
          <a:lstStyle>
            <a:lvl1pPr marL="0" indent="0">
              <a:buNone/>
              <a:defRPr sz="1501" cap="all" baseline="0">
                <a:solidFill>
                  <a:schemeClr val="accent4"/>
                </a:solidFill>
              </a:defRPr>
            </a:lvl1pPr>
            <a:lvl2pPr marL="343220" indent="0">
              <a:buNone/>
              <a:defRPr sz="1351">
                <a:solidFill>
                  <a:schemeClr val="tx1">
                    <a:tint val="75000"/>
                  </a:schemeClr>
                </a:solidFill>
              </a:defRPr>
            </a:lvl2pPr>
            <a:lvl3pPr marL="686440" indent="0">
              <a:buNone/>
              <a:defRPr sz="1201">
                <a:solidFill>
                  <a:schemeClr val="tx1">
                    <a:tint val="75000"/>
                  </a:schemeClr>
                </a:solidFill>
              </a:defRPr>
            </a:lvl3pPr>
            <a:lvl4pPr marL="1029660" indent="0">
              <a:buNone/>
              <a:defRPr sz="1051">
                <a:solidFill>
                  <a:schemeClr val="tx1">
                    <a:tint val="75000"/>
                  </a:schemeClr>
                </a:solidFill>
              </a:defRPr>
            </a:lvl4pPr>
            <a:lvl5pPr marL="1372880" indent="0">
              <a:buNone/>
              <a:defRPr sz="1051">
                <a:solidFill>
                  <a:schemeClr val="tx1">
                    <a:tint val="75000"/>
                  </a:schemeClr>
                </a:solidFill>
              </a:defRPr>
            </a:lvl5pPr>
            <a:lvl6pPr marL="1716100" indent="0">
              <a:buNone/>
              <a:defRPr sz="1051">
                <a:solidFill>
                  <a:schemeClr val="tx1">
                    <a:tint val="75000"/>
                  </a:schemeClr>
                </a:solidFill>
              </a:defRPr>
            </a:lvl6pPr>
            <a:lvl7pPr marL="2059320" indent="0">
              <a:buNone/>
              <a:defRPr sz="1051">
                <a:solidFill>
                  <a:schemeClr val="tx1">
                    <a:tint val="75000"/>
                  </a:schemeClr>
                </a:solidFill>
              </a:defRPr>
            </a:lvl7pPr>
            <a:lvl8pPr marL="2402540" indent="0">
              <a:buNone/>
              <a:defRPr sz="1051">
                <a:solidFill>
                  <a:schemeClr val="tx1">
                    <a:tint val="75000"/>
                  </a:schemeClr>
                </a:solidFill>
              </a:defRPr>
            </a:lvl8pPr>
            <a:lvl9pPr marL="2745760" indent="0">
              <a:buNone/>
              <a:defRPr sz="1051">
                <a:solidFill>
                  <a:schemeClr val="tx1">
                    <a:tint val="75000"/>
                  </a:schemeClr>
                </a:solidFill>
              </a:defRPr>
            </a:lvl9pPr>
          </a:lstStyle>
          <a:p>
            <a:pPr lvl="0"/>
            <a:r>
              <a:rPr lang="de-DE"/>
              <a:t>Textmasterformat bearbeiten</a:t>
            </a:r>
          </a:p>
        </p:txBody>
      </p:sp>
      <p:sp>
        <p:nvSpPr>
          <p:cNvPr id="6" name="Datumsplatzhalter 3"/>
          <p:cNvSpPr>
            <a:spLocks noGrp="1"/>
          </p:cNvSpPr>
          <p:nvPr>
            <p:ph type="dt" sz="half" idx="15"/>
          </p:nvPr>
        </p:nvSpPr>
        <p:spPr/>
        <p:txBody>
          <a:bodyPr/>
          <a:lstStyle>
            <a:lvl1pPr>
              <a:defRPr/>
            </a:lvl1pPr>
          </a:lstStyle>
          <a:p>
            <a:pPr>
              <a:defRPr/>
            </a:pPr>
            <a:endParaRPr lang="de-DE">
              <a:solidFill>
                <a:srgbClr val="6E7A82"/>
              </a:solidFill>
            </a:endParaRPr>
          </a:p>
        </p:txBody>
      </p:sp>
      <p:sp>
        <p:nvSpPr>
          <p:cNvPr id="7" name="Fußzeilenplatzhalter 4"/>
          <p:cNvSpPr>
            <a:spLocks noGrp="1"/>
          </p:cNvSpPr>
          <p:nvPr>
            <p:ph type="ftr" sz="quarter" idx="16"/>
          </p:nvPr>
        </p:nvSpPr>
        <p:spPr/>
        <p:txBody>
          <a:bodyPr/>
          <a:lstStyle>
            <a:lvl1pPr>
              <a:defRPr/>
            </a:lvl1pPr>
          </a:lstStyle>
          <a:p>
            <a:pPr>
              <a:defRPr/>
            </a:pPr>
            <a:r>
              <a:rPr lang="de-DE">
                <a:solidFill>
                  <a:srgbClr val="007FC3"/>
                </a:solidFill>
              </a:rPr>
              <a:t>SICK | January 2015 | Confidential</a:t>
            </a:r>
          </a:p>
        </p:txBody>
      </p:sp>
      <p:sp>
        <p:nvSpPr>
          <p:cNvPr id="8" name="Foliennummernplatzhalter 5"/>
          <p:cNvSpPr>
            <a:spLocks noGrp="1"/>
          </p:cNvSpPr>
          <p:nvPr>
            <p:ph type="sldNum" sz="quarter" idx="17"/>
          </p:nvPr>
        </p:nvSpPr>
        <p:spPr/>
        <p:txBody>
          <a:bodyPr/>
          <a:lstStyle>
            <a:lvl1pPr>
              <a:defRPr/>
            </a:lvl1pPr>
          </a:lstStyle>
          <a:p>
            <a:pPr>
              <a:defRPr/>
            </a:pPr>
            <a:fld id="{2A3A51D6-9A27-410D-9D94-4FBF7EA2B9DF}" type="slidenum">
              <a:rPr lang="de-DE">
                <a:solidFill>
                  <a:srgbClr val="6E7A82"/>
                </a:solidFill>
              </a:rPr>
              <a:pPr>
                <a:defRPr/>
              </a:pPr>
              <a:t>‹#›</a:t>
            </a:fld>
            <a:endParaRPr lang="de-DE">
              <a:solidFill>
                <a:srgbClr val="6E7A82"/>
              </a:solidFill>
            </a:endParaRPr>
          </a:p>
        </p:txBody>
      </p:sp>
    </p:spTree>
    <p:extLst>
      <p:ext uri="{BB962C8B-B14F-4D97-AF65-F5344CB8AC3E}">
        <p14:creationId xmlns:p14="http://schemas.microsoft.com/office/powerpoint/2010/main" val="2512522117"/>
      </p:ext>
    </p:extLst>
  </p:cSld>
  <p:clrMapOvr>
    <a:masterClrMapping/>
  </p:clrMapOvr>
  <p:transition>
    <p:zoom/>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Content left image right">
    <p:spTree>
      <p:nvGrpSpPr>
        <p:cNvPr id="1" name=""/>
        <p:cNvGrpSpPr/>
        <p:nvPr/>
      </p:nvGrpSpPr>
      <p:grpSpPr>
        <a:xfrm>
          <a:off x="0" y="0"/>
          <a:ext cx="0" cy="0"/>
          <a:chOff x="0" y="0"/>
          <a:chExt cx="0" cy="0"/>
        </a:xfrm>
      </p:grpSpPr>
      <p:sp>
        <p:nvSpPr>
          <p:cNvPr id="3" name="Inhaltsplatzhalter 2"/>
          <p:cNvSpPr>
            <a:spLocks noGrp="1"/>
          </p:cNvSpPr>
          <p:nvPr>
            <p:ph idx="1"/>
          </p:nvPr>
        </p:nvSpPr>
        <p:spPr>
          <a:xfrm>
            <a:off x="383932" y="709079"/>
            <a:ext cx="4116068" cy="4243741"/>
          </a:xfrm>
        </p:spPr>
        <p:txBody>
          <a:bodyPr bIns="72000"/>
          <a:lstStyle/>
          <a:p>
            <a:pPr lvl="0"/>
            <a:r>
              <a:rPr lang="en-US" noProof="0" err="1"/>
              <a:t>Textmasterformat</a:t>
            </a:r>
            <a:r>
              <a:rPr lang="en-US" noProof="0"/>
              <a:t> </a:t>
            </a:r>
            <a:r>
              <a:rPr lang="en-US" noProof="0" err="1"/>
              <a:t>bearbeiten</a:t>
            </a:r>
            <a:endParaRPr lang="en-US" noProof="0"/>
          </a:p>
          <a:p>
            <a:pPr lvl="1"/>
            <a:r>
              <a:rPr lang="en-US" noProof="0" err="1"/>
              <a:t>Zweite</a:t>
            </a:r>
            <a:r>
              <a:rPr lang="en-US" noProof="0"/>
              <a:t> </a:t>
            </a:r>
            <a:r>
              <a:rPr lang="en-US" noProof="0" err="1"/>
              <a:t>Ebene</a:t>
            </a:r>
            <a:endParaRPr lang="en-US" noProof="0"/>
          </a:p>
          <a:p>
            <a:pPr lvl="2"/>
            <a:r>
              <a:rPr lang="en-US" noProof="0" err="1"/>
              <a:t>Dritte</a:t>
            </a:r>
            <a:r>
              <a:rPr lang="en-US" noProof="0"/>
              <a:t> </a:t>
            </a:r>
            <a:r>
              <a:rPr lang="en-US" noProof="0" err="1"/>
              <a:t>Ebene</a:t>
            </a:r>
            <a:endParaRPr lang="en-US" noProof="0"/>
          </a:p>
        </p:txBody>
      </p:sp>
      <p:sp>
        <p:nvSpPr>
          <p:cNvPr id="9" name="Bildplatzhalter 8"/>
          <p:cNvSpPr>
            <a:spLocks noGrp="1"/>
          </p:cNvSpPr>
          <p:nvPr>
            <p:ph type="pic" sz="quarter" idx="14"/>
          </p:nvPr>
        </p:nvSpPr>
        <p:spPr>
          <a:xfrm>
            <a:off x="4643437" y="709079"/>
            <a:ext cx="4116632" cy="4243741"/>
          </a:xfrm>
        </p:spPr>
        <p:txBody>
          <a:bodyPr tIns="180000" bIns="180000" rtlCol="0">
            <a:noAutofit/>
          </a:bodyPr>
          <a:lstStyle>
            <a:lvl1pPr marL="0" indent="0">
              <a:buFontTx/>
              <a:buNone/>
              <a:defRPr sz="1201">
                <a:solidFill>
                  <a:schemeClr val="tx2"/>
                </a:solidFill>
              </a:defRPr>
            </a:lvl1pPr>
          </a:lstStyle>
          <a:p>
            <a:pPr lvl="0"/>
            <a:r>
              <a:rPr lang="en-US" noProof="0" err="1"/>
              <a:t>Bild</a:t>
            </a:r>
            <a:r>
              <a:rPr lang="en-US" noProof="0"/>
              <a:t> </a:t>
            </a:r>
            <a:r>
              <a:rPr lang="en-US" noProof="0" err="1"/>
              <a:t>durch</a:t>
            </a:r>
            <a:r>
              <a:rPr lang="en-US" noProof="0"/>
              <a:t> </a:t>
            </a:r>
            <a:r>
              <a:rPr lang="en-US" noProof="0" err="1"/>
              <a:t>Klicken</a:t>
            </a:r>
            <a:r>
              <a:rPr lang="en-US" noProof="0"/>
              <a:t> auf Symbol </a:t>
            </a:r>
            <a:r>
              <a:rPr lang="en-US" noProof="0" err="1"/>
              <a:t>hinzufügen</a:t>
            </a:r>
            <a:endParaRPr lang="en-US" noProof="0"/>
          </a:p>
        </p:txBody>
      </p:sp>
      <p:sp>
        <p:nvSpPr>
          <p:cNvPr id="10" name="Titel 1"/>
          <p:cNvSpPr>
            <a:spLocks noGrp="1"/>
          </p:cNvSpPr>
          <p:nvPr>
            <p:ph type="title"/>
          </p:nvPr>
        </p:nvSpPr>
        <p:spPr>
          <a:xfrm>
            <a:off x="383931" y="216200"/>
            <a:ext cx="7145936" cy="195691"/>
          </a:xfrm>
        </p:spPr>
        <p:txBody>
          <a:bodyPr/>
          <a:lstStyle>
            <a:lvl1pPr>
              <a:defRPr baseline="0"/>
            </a:lvl1pPr>
          </a:lstStyle>
          <a:p>
            <a:r>
              <a:rPr lang="de-DE" noProof="0"/>
              <a:t>Titelmasterformat durch Klicken bearbeiten</a:t>
            </a:r>
            <a:endParaRPr lang="en-US" noProof="0"/>
          </a:p>
        </p:txBody>
      </p:sp>
      <p:sp>
        <p:nvSpPr>
          <p:cNvPr id="11" name="Textplatzhalter 2"/>
          <p:cNvSpPr>
            <a:spLocks noGrp="1"/>
          </p:cNvSpPr>
          <p:nvPr>
            <p:ph type="body" idx="13"/>
          </p:nvPr>
        </p:nvSpPr>
        <p:spPr>
          <a:xfrm>
            <a:off x="383931" y="411891"/>
            <a:ext cx="7145936" cy="216200"/>
          </a:xfrm>
        </p:spPr>
        <p:txBody>
          <a:bodyPr tIns="0"/>
          <a:lstStyle>
            <a:lvl1pPr marL="0" indent="0">
              <a:buNone/>
              <a:defRPr sz="1501" cap="all" baseline="0">
                <a:solidFill>
                  <a:schemeClr val="accent4"/>
                </a:solidFill>
              </a:defRPr>
            </a:lvl1pPr>
            <a:lvl2pPr marL="343220" indent="0">
              <a:buNone/>
              <a:defRPr sz="1351">
                <a:solidFill>
                  <a:schemeClr val="tx1">
                    <a:tint val="75000"/>
                  </a:schemeClr>
                </a:solidFill>
              </a:defRPr>
            </a:lvl2pPr>
            <a:lvl3pPr marL="686440" indent="0">
              <a:buNone/>
              <a:defRPr sz="1201">
                <a:solidFill>
                  <a:schemeClr val="tx1">
                    <a:tint val="75000"/>
                  </a:schemeClr>
                </a:solidFill>
              </a:defRPr>
            </a:lvl3pPr>
            <a:lvl4pPr marL="1029660" indent="0">
              <a:buNone/>
              <a:defRPr sz="1051">
                <a:solidFill>
                  <a:schemeClr val="tx1">
                    <a:tint val="75000"/>
                  </a:schemeClr>
                </a:solidFill>
              </a:defRPr>
            </a:lvl4pPr>
            <a:lvl5pPr marL="1372880" indent="0">
              <a:buNone/>
              <a:defRPr sz="1051">
                <a:solidFill>
                  <a:schemeClr val="tx1">
                    <a:tint val="75000"/>
                  </a:schemeClr>
                </a:solidFill>
              </a:defRPr>
            </a:lvl5pPr>
            <a:lvl6pPr marL="1716100" indent="0">
              <a:buNone/>
              <a:defRPr sz="1051">
                <a:solidFill>
                  <a:schemeClr val="tx1">
                    <a:tint val="75000"/>
                  </a:schemeClr>
                </a:solidFill>
              </a:defRPr>
            </a:lvl6pPr>
            <a:lvl7pPr marL="2059320" indent="0">
              <a:buNone/>
              <a:defRPr sz="1051">
                <a:solidFill>
                  <a:schemeClr val="tx1">
                    <a:tint val="75000"/>
                  </a:schemeClr>
                </a:solidFill>
              </a:defRPr>
            </a:lvl7pPr>
            <a:lvl8pPr marL="2402540" indent="0">
              <a:buNone/>
              <a:defRPr sz="1051">
                <a:solidFill>
                  <a:schemeClr val="tx1">
                    <a:tint val="75000"/>
                  </a:schemeClr>
                </a:solidFill>
              </a:defRPr>
            </a:lvl8pPr>
            <a:lvl9pPr marL="2745760" indent="0">
              <a:buNone/>
              <a:defRPr sz="1051">
                <a:solidFill>
                  <a:schemeClr val="tx1">
                    <a:tint val="75000"/>
                  </a:schemeClr>
                </a:solidFill>
              </a:defRPr>
            </a:lvl9pPr>
          </a:lstStyle>
          <a:p>
            <a:pPr lvl="0"/>
            <a:r>
              <a:rPr lang="de-DE" noProof="0"/>
              <a:t>Textmasterformat bearbeiten</a:t>
            </a:r>
          </a:p>
        </p:txBody>
      </p:sp>
      <p:sp>
        <p:nvSpPr>
          <p:cNvPr id="6" name="Datumsplatzhalter 3"/>
          <p:cNvSpPr>
            <a:spLocks noGrp="1"/>
          </p:cNvSpPr>
          <p:nvPr>
            <p:ph type="dt" sz="half" idx="15"/>
          </p:nvPr>
        </p:nvSpPr>
        <p:spPr/>
        <p:txBody>
          <a:bodyPr/>
          <a:lstStyle>
            <a:lvl1pPr>
              <a:defRPr/>
            </a:lvl1pPr>
          </a:lstStyle>
          <a:p>
            <a:pPr>
              <a:defRPr/>
            </a:pPr>
            <a:endParaRPr lang="en-US"/>
          </a:p>
        </p:txBody>
      </p:sp>
      <p:sp>
        <p:nvSpPr>
          <p:cNvPr id="7" name="Fußzeilenplatzhalter 4"/>
          <p:cNvSpPr>
            <a:spLocks noGrp="1"/>
          </p:cNvSpPr>
          <p:nvPr>
            <p:ph type="ftr" sz="quarter" idx="16"/>
          </p:nvPr>
        </p:nvSpPr>
        <p:spPr/>
        <p:txBody>
          <a:bodyPr/>
          <a:lstStyle>
            <a:lvl1pPr>
              <a:defRPr/>
            </a:lvl1pPr>
          </a:lstStyle>
          <a:p>
            <a:pPr>
              <a:defRPr/>
            </a:pPr>
            <a:r>
              <a:rPr lang="en-US"/>
              <a:t>SICK Engineering, Confidential</a:t>
            </a:r>
          </a:p>
        </p:txBody>
      </p:sp>
      <p:sp>
        <p:nvSpPr>
          <p:cNvPr id="8" name="Foliennummernplatzhalter 5"/>
          <p:cNvSpPr>
            <a:spLocks noGrp="1"/>
          </p:cNvSpPr>
          <p:nvPr>
            <p:ph type="sldNum" sz="quarter" idx="17"/>
          </p:nvPr>
        </p:nvSpPr>
        <p:spPr/>
        <p:txBody>
          <a:bodyPr/>
          <a:lstStyle>
            <a:lvl1pPr>
              <a:defRPr/>
            </a:lvl1pPr>
          </a:lstStyle>
          <a:p>
            <a:pPr>
              <a:defRPr/>
            </a:pPr>
            <a:fld id="{80758446-AD76-470E-9424-9F0CC2649B7E}" type="slidenum">
              <a:rPr lang="en-US"/>
              <a:pPr>
                <a:defRPr/>
              </a:pPr>
              <a:t>‹#›</a:t>
            </a:fld>
            <a:endParaRPr lang="en-US"/>
          </a:p>
        </p:txBody>
      </p:sp>
    </p:spTree>
    <p:extLst>
      <p:ext uri="{BB962C8B-B14F-4D97-AF65-F5344CB8AC3E}">
        <p14:creationId xmlns:p14="http://schemas.microsoft.com/office/powerpoint/2010/main" val="3413645903"/>
      </p:ext>
    </p:extLst>
  </p:cSld>
  <p:clrMapOvr>
    <a:masterClrMapping/>
  </p:clrMapOvr>
  <p:transition>
    <p:zoom/>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ivider Slide - Red">
    <p:bg>
      <p:bgPr>
        <a:blipFill rotWithShape="1">
          <a:blip r:embed="rId2"/>
          <a:stretch>
            <a:fillRect/>
          </a:stretch>
        </a:blipFill>
        <a:effectLst/>
      </p:bgPr>
    </p:bg>
    <p:spTree>
      <p:nvGrpSpPr>
        <p:cNvPr id="1" name=""/>
        <p:cNvGrpSpPr/>
        <p:nvPr/>
      </p:nvGrpSpPr>
      <p:grpSpPr>
        <a:xfrm>
          <a:off x="0" y="0"/>
          <a:ext cx="0" cy="0"/>
          <a:chOff x="0" y="0"/>
          <a:chExt cx="0" cy="0"/>
        </a:xfrm>
      </p:grpSpPr>
      <p:sp>
        <p:nvSpPr>
          <p:cNvPr id="6" name="Title 6"/>
          <p:cNvSpPr>
            <a:spLocks noGrp="1"/>
          </p:cNvSpPr>
          <p:nvPr>
            <p:ph type="title" hasCustomPrompt="1"/>
          </p:nvPr>
        </p:nvSpPr>
        <p:spPr>
          <a:xfrm>
            <a:off x="457200" y="2999639"/>
            <a:ext cx="8229600" cy="523705"/>
          </a:xfrm>
          <a:prstGeom prst="rect">
            <a:avLst/>
          </a:prstGeom>
        </p:spPr>
        <p:txBody>
          <a:bodyPr vert="horz">
            <a:spAutoFit/>
          </a:bodyPr>
          <a:lstStyle>
            <a:lvl1pPr algn="l">
              <a:defRPr sz="2800" b="1" cap="all" spc="-60">
                <a:solidFill>
                  <a:srgbClr val="FFFFFF"/>
                </a:solidFill>
                <a:latin typeface="Arial"/>
                <a:cs typeface="Arial"/>
              </a:defRPr>
            </a:lvl1pPr>
          </a:lstStyle>
          <a:p>
            <a:r>
              <a:rPr lang="en-US"/>
              <a:t>CLICK TO EDIT MASTER TITLE STYLE</a:t>
            </a:r>
          </a:p>
        </p:txBody>
      </p:sp>
      <p:sp>
        <p:nvSpPr>
          <p:cNvPr id="7" name="Content Placeholder 8"/>
          <p:cNvSpPr>
            <a:spLocks noGrp="1"/>
          </p:cNvSpPr>
          <p:nvPr>
            <p:ph sz="quarter" idx="10" hasCustomPrompt="1"/>
          </p:nvPr>
        </p:nvSpPr>
        <p:spPr>
          <a:xfrm>
            <a:off x="457200" y="3413168"/>
            <a:ext cx="5422900" cy="400481"/>
          </a:xfrm>
          <a:prstGeom prst="rect">
            <a:avLst/>
          </a:prstGeom>
        </p:spPr>
        <p:txBody>
          <a:bodyPr vert="horz">
            <a:spAutoFit/>
          </a:bodyPr>
          <a:lstStyle>
            <a:lvl1pPr marL="0" indent="0">
              <a:buNone/>
              <a:defRPr sz="1800" baseline="0">
                <a:solidFill>
                  <a:srgbClr val="F3B329"/>
                </a:solidFill>
                <a:latin typeface="Arial"/>
                <a:cs typeface="Arial"/>
              </a:defRPr>
            </a:lvl1pPr>
          </a:lstStyle>
          <a:p>
            <a:pPr lvl="0"/>
            <a:r>
              <a:rPr lang="en-US" sz="2000">
                <a:latin typeface="Arial"/>
                <a:cs typeface="Arial"/>
              </a:rPr>
              <a:t>Click to edit subtitle.</a:t>
            </a:r>
            <a:endParaRPr lang="en-US"/>
          </a:p>
        </p:txBody>
      </p:sp>
    </p:spTree>
    <p:extLst>
      <p:ext uri="{BB962C8B-B14F-4D97-AF65-F5344CB8AC3E}">
        <p14:creationId xmlns:p14="http://schemas.microsoft.com/office/powerpoint/2010/main" val="2337281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Divider Slide - Red">
    <p:bg>
      <p:bgPr>
        <a:solidFill>
          <a:schemeClr val="accent1"/>
        </a:solidFill>
        <a:effectLst/>
      </p:bgPr>
    </p:bg>
    <p:spTree>
      <p:nvGrpSpPr>
        <p:cNvPr id="1" name=""/>
        <p:cNvGrpSpPr/>
        <p:nvPr/>
      </p:nvGrpSpPr>
      <p:grpSpPr>
        <a:xfrm>
          <a:off x="0" y="0"/>
          <a:ext cx="0" cy="0"/>
          <a:chOff x="0" y="0"/>
          <a:chExt cx="0" cy="0"/>
        </a:xfrm>
      </p:grpSpPr>
      <p:sp>
        <p:nvSpPr>
          <p:cNvPr id="4" name="Title 6"/>
          <p:cNvSpPr>
            <a:spLocks noGrp="1"/>
          </p:cNvSpPr>
          <p:nvPr>
            <p:ph type="title" hasCustomPrompt="1"/>
          </p:nvPr>
        </p:nvSpPr>
        <p:spPr>
          <a:xfrm>
            <a:off x="457200" y="2668779"/>
            <a:ext cx="8229600" cy="523220"/>
          </a:xfrm>
          <a:prstGeom prst="rect">
            <a:avLst/>
          </a:prstGeom>
        </p:spPr>
        <p:txBody>
          <a:bodyPr vert="horz">
            <a:spAutoFit/>
          </a:bodyPr>
          <a:lstStyle>
            <a:lvl1pPr algn="l">
              <a:defRPr sz="2797" b="1" spc="-60">
                <a:solidFill>
                  <a:srgbClr val="FFFFFE"/>
                </a:solidFill>
                <a:latin typeface="Arial"/>
                <a:cs typeface="Arial"/>
              </a:defRPr>
            </a:lvl1pPr>
          </a:lstStyle>
          <a:p>
            <a:r>
              <a:rPr lang="en-US"/>
              <a:t>CLICK TO EDIT MASTER TITLE STYLE</a:t>
            </a:r>
          </a:p>
        </p:txBody>
      </p:sp>
      <p:sp>
        <p:nvSpPr>
          <p:cNvPr id="3" name="Text Placeholder 2"/>
          <p:cNvSpPr>
            <a:spLocks noGrp="1"/>
          </p:cNvSpPr>
          <p:nvPr>
            <p:ph type="body" sz="quarter" idx="11" hasCustomPrompt="1"/>
          </p:nvPr>
        </p:nvSpPr>
        <p:spPr>
          <a:xfrm>
            <a:off x="457200" y="3055474"/>
            <a:ext cx="8229600" cy="476250"/>
          </a:xfrm>
          <a:prstGeom prst="rect">
            <a:avLst/>
          </a:prstGeom>
        </p:spPr>
        <p:txBody>
          <a:bodyPr vert="horz"/>
          <a:lstStyle>
            <a:lvl1pPr marL="0" indent="0">
              <a:buNone/>
              <a:defRPr sz="1599">
                <a:solidFill>
                  <a:schemeClr val="accent2"/>
                </a:solidFill>
              </a:defRPr>
            </a:lvl1pPr>
            <a:lvl2pPr marL="456789" indent="0">
              <a:buNone/>
              <a:defRPr sz="1599">
                <a:solidFill>
                  <a:schemeClr val="accent2"/>
                </a:solidFill>
              </a:defRPr>
            </a:lvl2pPr>
            <a:lvl3pPr marL="913577" indent="0">
              <a:buNone/>
              <a:defRPr sz="1599">
                <a:solidFill>
                  <a:schemeClr val="accent2"/>
                </a:solidFill>
              </a:defRPr>
            </a:lvl3pPr>
            <a:lvl4pPr marL="1370366" indent="0">
              <a:buNone/>
              <a:defRPr sz="1599">
                <a:solidFill>
                  <a:schemeClr val="accent2"/>
                </a:solidFill>
              </a:defRPr>
            </a:lvl4pPr>
            <a:lvl5pPr marL="1827154" indent="0">
              <a:buNone/>
              <a:defRPr sz="1599">
                <a:solidFill>
                  <a:schemeClr val="accent2"/>
                </a:solidFill>
              </a:defRPr>
            </a:lvl5pPr>
          </a:lstStyle>
          <a:p>
            <a:pPr lvl="0"/>
            <a:r>
              <a:rPr lang="en-US"/>
              <a:t>Click to edit Master subtitle</a:t>
            </a:r>
          </a:p>
        </p:txBody>
      </p:sp>
    </p:spTree>
    <p:extLst>
      <p:ext uri="{BB962C8B-B14F-4D97-AF65-F5344CB8AC3E}">
        <p14:creationId xmlns:p14="http://schemas.microsoft.com/office/powerpoint/2010/main" val="3494912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ontent Slide - 1 Col HIGH">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012D4914-B60A-B508-0623-013F825FA05A}"/>
              </a:ext>
            </a:extLst>
          </p:cNvPr>
          <p:cNvSpPr>
            <a:spLocks noGrp="1"/>
          </p:cNvSpPr>
          <p:nvPr>
            <p:ph type="title" hasCustomPrompt="1"/>
          </p:nvPr>
        </p:nvSpPr>
        <p:spPr>
          <a:xfrm>
            <a:off x="361950" y="291592"/>
            <a:ext cx="8229600" cy="461345"/>
          </a:xfrm>
          <a:prstGeom prst="rect">
            <a:avLst/>
          </a:prstGeom>
        </p:spPr>
        <p:txBody>
          <a:bodyPr vert="horz" lIns="91440" tIns="45720" rIns="91440" bIns="45720" rtlCol="0" anchor="ctr">
            <a:spAutoFit/>
          </a:bodyPr>
          <a:lstStyle>
            <a:lvl1pPr>
              <a:defRPr b="0" cap="none">
                <a:solidFill>
                  <a:schemeClr val="accent1"/>
                </a:solidFill>
              </a:defRPr>
            </a:lvl1pPr>
          </a:lstStyle>
          <a:p>
            <a:r>
              <a:rPr lang="en-US" dirty="0"/>
              <a:t>Click to Add Title</a:t>
            </a:r>
          </a:p>
        </p:txBody>
      </p:sp>
      <p:sp>
        <p:nvSpPr>
          <p:cNvPr id="4" name="Text Placeholder 2">
            <a:extLst>
              <a:ext uri="{FF2B5EF4-FFF2-40B4-BE49-F238E27FC236}">
                <a16:creationId xmlns:a16="http://schemas.microsoft.com/office/drawing/2014/main" id="{E5F453B9-357B-87CC-FA07-0D601E4BBCD3}"/>
              </a:ext>
            </a:extLst>
          </p:cNvPr>
          <p:cNvSpPr>
            <a:spLocks noGrp="1"/>
          </p:cNvSpPr>
          <p:nvPr>
            <p:ph type="body" sz="quarter" idx="15"/>
          </p:nvPr>
        </p:nvSpPr>
        <p:spPr>
          <a:xfrm>
            <a:off x="361950" y="622300"/>
            <a:ext cx="8229600" cy="349250"/>
          </a:xfrm>
          <a:prstGeom prst="rect">
            <a:avLst/>
          </a:prstGeom>
        </p:spPr>
        <p:txBody>
          <a:bodyPr>
            <a:noAutofit/>
          </a:bodyPr>
          <a:lstStyle>
            <a:lvl1pPr marL="0" indent="0">
              <a:buNone/>
              <a:defRPr sz="1300">
                <a:solidFill>
                  <a:schemeClr val="bg1"/>
                </a:solidFill>
              </a:defRPr>
            </a:lvl1pPr>
            <a:lvl2pPr marL="171292" indent="0">
              <a:buNone/>
              <a:defRPr sz="1499">
                <a:solidFill>
                  <a:schemeClr val="tx2"/>
                </a:solidFill>
              </a:defRPr>
            </a:lvl2pPr>
            <a:lvl3pPr marL="285486" indent="0">
              <a:buNone/>
              <a:defRPr sz="1499">
                <a:solidFill>
                  <a:schemeClr val="tx2"/>
                </a:solidFill>
              </a:defRPr>
            </a:lvl3pPr>
            <a:lvl4pPr marL="1370331" indent="0">
              <a:buNone/>
              <a:defRPr sz="1499">
                <a:solidFill>
                  <a:schemeClr val="tx2"/>
                </a:solidFill>
              </a:defRPr>
            </a:lvl4pPr>
            <a:lvl5pPr marL="1827108" indent="0">
              <a:buNone/>
              <a:defRPr sz="1499">
                <a:solidFill>
                  <a:schemeClr val="tx2"/>
                </a:solidFill>
              </a:defRPr>
            </a:lvl5pPr>
          </a:lstStyle>
          <a:p>
            <a:pPr lvl="0"/>
            <a:r>
              <a:rPr lang="en-US" dirty="0"/>
              <a:t>Click to edit Master text styles</a:t>
            </a:r>
          </a:p>
        </p:txBody>
      </p:sp>
      <p:sp>
        <p:nvSpPr>
          <p:cNvPr id="5" name="Content Placeholder 2">
            <a:extLst>
              <a:ext uri="{FF2B5EF4-FFF2-40B4-BE49-F238E27FC236}">
                <a16:creationId xmlns:a16="http://schemas.microsoft.com/office/drawing/2014/main" id="{AE9F094C-4C4B-65E5-F69F-6917B2ED6676}"/>
              </a:ext>
            </a:extLst>
          </p:cNvPr>
          <p:cNvSpPr>
            <a:spLocks noGrp="1"/>
          </p:cNvSpPr>
          <p:nvPr>
            <p:ph idx="1" hasCustomPrompt="1"/>
          </p:nvPr>
        </p:nvSpPr>
        <p:spPr>
          <a:xfrm>
            <a:off x="361950" y="1162751"/>
            <a:ext cx="8229600" cy="3267075"/>
          </a:xfrm>
          <a:prstGeom prst="rect">
            <a:avLst/>
          </a:prstGeom>
        </p:spPr>
        <p:txBody>
          <a:bodyPr/>
          <a:lstStyle>
            <a:lvl1pPr marL="0" indent="0">
              <a:spcBef>
                <a:spcPts val="600"/>
              </a:spcBef>
              <a:buFont typeface="System Font Regular"/>
              <a:buNone/>
              <a:tabLst/>
              <a:defRPr sz="1399">
                <a:solidFill>
                  <a:schemeClr val="tx1"/>
                </a:solidFill>
              </a:defRPr>
            </a:lvl1pPr>
            <a:lvl2pPr marL="171292" indent="0">
              <a:buNone/>
              <a:defRPr sz="1399">
                <a:solidFill>
                  <a:schemeClr val="tx2"/>
                </a:solidFill>
              </a:defRPr>
            </a:lvl2pPr>
            <a:lvl3pPr>
              <a:defRPr sz="1399">
                <a:solidFill>
                  <a:schemeClr val="tx2"/>
                </a:solidFill>
              </a:defRPr>
            </a:lvl3pPr>
            <a:lvl4pPr marL="634413" indent="-174464">
              <a:buClr>
                <a:schemeClr val="accent1"/>
              </a:buClr>
              <a:buSzPct val="80000"/>
              <a:buFont typeface="Courier New" panose="02070309020205020404" pitchFamily="49" charset="0"/>
              <a:buChar char="o"/>
              <a:tabLst/>
              <a:defRPr sz="1399">
                <a:solidFill>
                  <a:schemeClr val="tx2"/>
                </a:solidFill>
              </a:defRPr>
            </a:lvl4pPr>
            <a:lvl5pPr marL="799360" indent="-164948">
              <a:buClr>
                <a:schemeClr val="accent1"/>
              </a:buClr>
              <a:buFont typeface=".AppleSystemUIFont"/>
              <a:buChar char="–"/>
              <a:tabLst/>
              <a:defRPr sz="1399">
                <a:solidFill>
                  <a:schemeClr val="tx2"/>
                </a:solidFill>
              </a:defRPr>
            </a:lvl5pPr>
          </a:lstStyle>
          <a:p>
            <a:pPr marL="0" marR="0" lvl="0" indent="0" algn="l" defTabSz="456777" rtl="0" eaLnBrk="1" fontAlgn="auto" latinLnBrk="0" hangingPunct="1">
              <a:lnSpc>
                <a:spcPct val="100000"/>
              </a:lnSpc>
              <a:spcBef>
                <a:spcPts val="600"/>
              </a:spcBef>
              <a:spcAft>
                <a:spcPts val="0"/>
              </a:spcAft>
              <a:buClr>
                <a:srgbClr val="D02124"/>
              </a:buClr>
              <a:buSzTx/>
              <a:buFont typeface="System Font Regular"/>
              <a:buNone/>
              <a:tabLst/>
              <a:defRPr/>
            </a:pPr>
            <a:r>
              <a:rPr lang="en-US" dirty="0"/>
              <a:t>Edit Master text styles. No bullets on this slide.</a:t>
            </a:r>
          </a:p>
        </p:txBody>
      </p:sp>
      <p:sp>
        <p:nvSpPr>
          <p:cNvPr id="6" name="Footer Placeholder 5">
            <a:extLst>
              <a:ext uri="{FF2B5EF4-FFF2-40B4-BE49-F238E27FC236}">
                <a16:creationId xmlns:a16="http://schemas.microsoft.com/office/drawing/2014/main" id="{F735A0AB-389C-62B8-A3CE-DF4FEB60B0A0}"/>
              </a:ext>
            </a:extLst>
          </p:cNvPr>
          <p:cNvSpPr>
            <a:spLocks noGrp="1"/>
          </p:cNvSpPr>
          <p:nvPr>
            <p:ph type="ftr" sz="quarter" idx="3"/>
          </p:nvPr>
        </p:nvSpPr>
        <p:spPr>
          <a:xfrm>
            <a:off x="5778500" y="4839481"/>
            <a:ext cx="3086100" cy="273050"/>
          </a:xfrm>
          <a:prstGeom prst="rect">
            <a:avLst/>
          </a:prstGeom>
        </p:spPr>
        <p:txBody>
          <a:bodyPr vert="horz" lIns="91440" tIns="45720" rIns="91440" bIns="45720" rtlCol="0" anchor="ctr"/>
          <a:lstStyle>
            <a:lvl1pPr algn="r">
              <a:defRPr sz="799">
                <a:solidFill>
                  <a:schemeClr val="tx2"/>
                </a:solidFill>
              </a:defRPr>
            </a:lvl1pPr>
          </a:lstStyle>
          <a:p>
            <a:endParaRPr lang="en-US" dirty="0"/>
          </a:p>
        </p:txBody>
      </p:sp>
    </p:spTree>
    <p:extLst>
      <p:ext uri="{BB962C8B-B14F-4D97-AF65-F5344CB8AC3E}">
        <p14:creationId xmlns:p14="http://schemas.microsoft.com/office/powerpoint/2010/main" val="608334579"/>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4_Content Slide - 1 Col HIGH">
    <p:spTree>
      <p:nvGrpSpPr>
        <p:cNvPr id="1" name=""/>
        <p:cNvGrpSpPr/>
        <p:nvPr/>
      </p:nvGrpSpPr>
      <p:grpSpPr>
        <a:xfrm>
          <a:off x="0" y="0"/>
          <a:ext cx="0" cy="0"/>
          <a:chOff x="0" y="0"/>
          <a:chExt cx="0" cy="0"/>
        </a:xfrm>
      </p:grpSpPr>
      <p:sp>
        <p:nvSpPr>
          <p:cNvPr id="9" name="Title Placeholder 1"/>
          <p:cNvSpPr>
            <a:spLocks noGrp="1"/>
          </p:cNvSpPr>
          <p:nvPr>
            <p:ph type="title" hasCustomPrompt="1"/>
          </p:nvPr>
        </p:nvSpPr>
        <p:spPr>
          <a:xfrm>
            <a:off x="361950" y="137187"/>
            <a:ext cx="8229600" cy="770154"/>
          </a:xfrm>
          <a:prstGeom prst="rect">
            <a:avLst/>
          </a:prstGeom>
        </p:spPr>
        <p:txBody>
          <a:bodyPr vert="horz" lIns="91440" tIns="45720" rIns="91440" bIns="45720" rtlCol="0" anchor="ctr">
            <a:spAutoFit/>
          </a:bodyPr>
          <a:lstStyle>
            <a:lvl1pPr>
              <a:defRPr cap="all"/>
            </a:lvl1pPr>
          </a:lstStyle>
          <a:p>
            <a:r>
              <a:rPr lang="en-US"/>
              <a:t>CLICK TO ADD TITLE</a:t>
            </a:r>
          </a:p>
        </p:txBody>
      </p:sp>
      <p:sp>
        <p:nvSpPr>
          <p:cNvPr id="3" name="Text Placeholder 2"/>
          <p:cNvSpPr>
            <a:spLocks noGrp="1"/>
          </p:cNvSpPr>
          <p:nvPr>
            <p:ph type="body" sz="quarter" idx="15"/>
          </p:nvPr>
        </p:nvSpPr>
        <p:spPr>
          <a:xfrm>
            <a:off x="361950" y="622300"/>
            <a:ext cx="8229600" cy="349250"/>
          </a:xfrm>
          <a:prstGeom prst="rect">
            <a:avLst/>
          </a:prstGeom>
        </p:spPr>
        <p:txBody>
          <a:bodyPr>
            <a:noAutofit/>
          </a:bodyPr>
          <a:lstStyle>
            <a:lvl1pPr marL="0" indent="0">
              <a:buNone/>
              <a:defRPr sz="1499">
                <a:solidFill>
                  <a:schemeClr val="tx2"/>
                </a:solidFill>
              </a:defRPr>
            </a:lvl1pPr>
            <a:lvl2pPr marL="171296" indent="0">
              <a:buNone/>
              <a:defRPr sz="1499">
                <a:solidFill>
                  <a:schemeClr val="tx2"/>
                </a:solidFill>
              </a:defRPr>
            </a:lvl2pPr>
            <a:lvl3pPr marL="285493" indent="0">
              <a:buNone/>
              <a:defRPr sz="1499">
                <a:solidFill>
                  <a:schemeClr val="tx2"/>
                </a:solidFill>
              </a:defRPr>
            </a:lvl3pPr>
            <a:lvl4pPr marL="1370366" indent="0">
              <a:buNone/>
              <a:defRPr sz="1499">
                <a:solidFill>
                  <a:schemeClr val="tx2"/>
                </a:solidFill>
              </a:defRPr>
            </a:lvl4pPr>
            <a:lvl5pPr marL="1827154" indent="0">
              <a:buNone/>
              <a:defRPr sz="1499">
                <a:solidFill>
                  <a:schemeClr val="tx2"/>
                </a:solidFill>
              </a:defRPr>
            </a:lvl5pPr>
          </a:lstStyle>
          <a:p>
            <a:pPr lvl="0"/>
            <a:r>
              <a:rPr lang="en-US"/>
              <a:t>Click to edit Master text styles</a:t>
            </a:r>
          </a:p>
        </p:txBody>
      </p:sp>
      <p:sp>
        <p:nvSpPr>
          <p:cNvPr id="6" name="Footer Placeholder 5"/>
          <p:cNvSpPr>
            <a:spLocks noGrp="1"/>
          </p:cNvSpPr>
          <p:nvPr>
            <p:ph type="ftr" sz="quarter" idx="3"/>
          </p:nvPr>
        </p:nvSpPr>
        <p:spPr>
          <a:xfrm>
            <a:off x="5036820" y="4839481"/>
            <a:ext cx="3827780" cy="273050"/>
          </a:xfrm>
          <a:prstGeom prst="rect">
            <a:avLst/>
          </a:prstGeom>
        </p:spPr>
        <p:txBody>
          <a:bodyPr vert="horz" lIns="91440" tIns="45720" rIns="91440" bIns="45720" rtlCol="0" anchor="ctr"/>
          <a:lstStyle>
            <a:lvl1pPr algn="r">
              <a:defRPr sz="799">
                <a:solidFill>
                  <a:schemeClr val="tx2"/>
                </a:solidFill>
              </a:defRPr>
            </a:lvl1pPr>
          </a:lstStyle>
          <a:p>
            <a:r>
              <a:rPr lang="en-US"/>
              <a:t>OWOC-Collection Manager v5.0 Features and Enhancements Overview  |</a:t>
            </a:r>
          </a:p>
        </p:txBody>
      </p:sp>
      <p:sp>
        <p:nvSpPr>
          <p:cNvPr id="7" name="Content Placeholder 2">
            <a:extLst>
              <a:ext uri="{FF2B5EF4-FFF2-40B4-BE49-F238E27FC236}">
                <a16:creationId xmlns:a16="http://schemas.microsoft.com/office/drawing/2014/main" id="{ADAF531E-0E10-DA42-9DD1-D6277CA5E59C}"/>
              </a:ext>
            </a:extLst>
          </p:cNvPr>
          <p:cNvSpPr>
            <a:spLocks noGrp="1"/>
          </p:cNvSpPr>
          <p:nvPr>
            <p:ph idx="1"/>
          </p:nvPr>
        </p:nvSpPr>
        <p:spPr>
          <a:xfrm>
            <a:off x="361950" y="1162751"/>
            <a:ext cx="8229600" cy="3267075"/>
          </a:xfrm>
          <a:prstGeom prst="rect">
            <a:avLst/>
          </a:prstGeom>
        </p:spPr>
        <p:txBody>
          <a:bodyPr/>
          <a:lstStyle>
            <a:lvl1pPr>
              <a:defRPr sz="1399">
                <a:solidFill>
                  <a:schemeClr val="bg1"/>
                </a:solidFill>
              </a:defRPr>
            </a:lvl1pPr>
            <a:lvl2pPr>
              <a:defRPr sz="1399">
                <a:solidFill>
                  <a:schemeClr val="bg1"/>
                </a:solidFill>
              </a:defRPr>
            </a:lvl2pPr>
            <a:lvl3pPr>
              <a:defRPr sz="1399">
                <a:solidFill>
                  <a:schemeClr val="bg1"/>
                </a:solidFill>
              </a:defRPr>
            </a:lvl3pPr>
            <a:lvl4pPr marL="634429" indent="-174468">
              <a:buClr>
                <a:schemeClr val="accent1"/>
              </a:buClr>
              <a:buSzPct val="80000"/>
              <a:buFont typeface="Courier New" panose="02070309020205020404" pitchFamily="49" charset="0"/>
              <a:buChar char="o"/>
              <a:tabLst/>
              <a:defRPr sz="1399">
                <a:solidFill>
                  <a:schemeClr val="bg1"/>
                </a:solidFill>
              </a:defRPr>
            </a:lvl4pPr>
            <a:lvl5pPr marL="799380" indent="-164951">
              <a:buClr>
                <a:schemeClr val="accent1"/>
              </a:buClr>
              <a:buFont typeface=".AppleSystemUIFont"/>
              <a:buChar char="–"/>
              <a:tabLst/>
              <a:defRPr sz="1399">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5472549"/>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Content Slide - 1 Col HIGH">
    <p:spTree>
      <p:nvGrpSpPr>
        <p:cNvPr id="1" name=""/>
        <p:cNvGrpSpPr/>
        <p:nvPr/>
      </p:nvGrpSpPr>
      <p:grpSpPr>
        <a:xfrm>
          <a:off x="0" y="0"/>
          <a:ext cx="0" cy="0"/>
          <a:chOff x="0" y="0"/>
          <a:chExt cx="0" cy="0"/>
        </a:xfrm>
      </p:grpSpPr>
      <p:sp>
        <p:nvSpPr>
          <p:cNvPr id="9" name="Title Placeholder 1"/>
          <p:cNvSpPr>
            <a:spLocks noGrp="1"/>
          </p:cNvSpPr>
          <p:nvPr>
            <p:ph type="title" hasCustomPrompt="1"/>
          </p:nvPr>
        </p:nvSpPr>
        <p:spPr>
          <a:xfrm>
            <a:off x="361950" y="137544"/>
            <a:ext cx="8229600" cy="769441"/>
          </a:xfrm>
          <a:prstGeom prst="rect">
            <a:avLst/>
          </a:prstGeom>
        </p:spPr>
        <p:txBody>
          <a:bodyPr vert="horz" lIns="91440" tIns="45720" rIns="91440" bIns="45720" rtlCol="0" anchor="ctr">
            <a:spAutoFit/>
          </a:bodyPr>
          <a:lstStyle>
            <a:lvl1pPr>
              <a:defRPr cap="all"/>
            </a:lvl1pPr>
          </a:lstStyle>
          <a:p>
            <a:r>
              <a:rPr lang="en-US"/>
              <a:t>CLICK TO ADD TITLE</a:t>
            </a:r>
          </a:p>
        </p:txBody>
      </p:sp>
      <p:sp>
        <p:nvSpPr>
          <p:cNvPr id="3" name="Text Placeholder 2"/>
          <p:cNvSpPr>
            <a:spLocks noGrp="1"/>
          </p:cNvSpPr>
          <p:nvPr>
            <p:ph type="body" sz="quarter" idx="15"/>
          </p:nvPr>
        </p:nvSpPr>
        <p:spPr>
          <a:xfrm>
            <a:off x="361950" y="622300"/>
            <a:ext cx="8229600" cy="349250"/>
          </a:xfrm>
          <a:prstGeom prst="rect">
            <a:avLst/>
          </a:prstGeom>
        </p:spPr>
        <p:txBody>
          <a:bodyPr>
            <a:noAutofit/>
          </a:bodyPr>
          <a:lstStyle>
            <a:lvl1pPr marL="0" indent="0">
              <a:buNone/>
              <a:defRPr sz="1499">
                <a:solidFill>
                  <a:schemeClr val="tx2"/>
                </a:solidFill>
              </a:defRPr>
            </a:lvl1pPr>
            <a:lvl2pPr marL="171296" indent="0">
              <a:buNone/>
              <a:defRPr sz="1499">
                <a:solidFill>
                  <a:schemeClr val="tx2"/>
                </a:solidFill>
              </a:defRPr>
            </a:lvl2pPr>
            <a:lvl3pPr marL="285493" indent="0">
              <a:buNone/>
              <a:defRPr sz="1499">
                <a:solidFill>
                  <a:schemeClr val="tx2"/>
                </a:solidFill>
              </a:defRPr>
            </a:lvl3pPr>
            <a:lvl4pPr marL="1370366" indent="0">
              <a:buNone/>
              <a:defRPr sz="1499">
                <a:solidFill>
                  <a:schemeClr val="tx2"/>
                </a:solidFill>
              </a:defRPr>
            </a:lvl4pPr>
            <a:lvl5pPr marL="1827154" indent="0">
              <a:buNone/>
              <a:defRPr sz="1499">
                <a:solidFill>
                  <a:schemeClr val="tx2"/>
                </a:solidFill>
              </a:defRPr>
            </a:lvl5pPr>
          </a:lstStyle>
          <a:p>
            <a:pPr lvl="0"/>
            <a:r>
              <a:rPr lang="en-US"/>
              <a:t>Click to edit Master text styles</a:t>
            </a:r>
          </a:p>
        </p:txBody>
      </p:sp>
      <p:sp>
        <p:nvSpPr>
          <p:cNvPr id="4" name="Text Placeholder 3"/>
          <p:cNvSpPr>
            <a:spLocks noGrp="1"/>
          </p:cNvSpPr>
          <p:nvPr>
            <p:ph type="body" sz="quarter" idx="16"/>
          </p:nvPr>
        </p:nvSpPr>
        <p:spPr>
          <a:xfrm>
            <a:off x="361950" y="1263650"/>
            <a:ext cx="8229600" cy="2622550"/>
          </a:xfrm>
          <a:prstGeom prst="rect">
            <a:avLst/>
          </a:prstGeom>
        </p:spPr>
        <p:txBody>
          <a:bodyPr vert="horz"/>
          <a:lstStyle>
            <a:lvl1pPr>
              <a:defRPr sz="1399">
                <a:solidFill>
                  <a:schemeClr val="bg1"/>
                </a:solidFill>
              </a:defRPr>
            </a:lvl1pPr>
            <a:lvl2pPr>
              <a:defRPr sz="1399">
                <a:solidFill>
                  <a:schemeClr val="bg1"/>
                </a:solidFill>
              </a:defRPr>
            </a:lvl2pPr>
            <a:lvl3pPr>
              <a:defRPr sz="1399">
                <a:solidFill>
                  <a:schemeClr val="bg1"/>
                </a:solidFill>
              </a:defRPr>
            </a:lvl3pPr>
            <a:lvl4pPr marL="628084" indent="-171296">
              <a:defRPr sz="1399">
                <a:solidFill>
                  <a:schemeClr val="bg1"/>
                </a:solidFill>
              </a:defRPr>
            </a:lvl4pPr>
            <a:lvl5pPr marL="799380" indent="-171296">
              <a:defRPr sz="1399">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3"/>
          </p:nvPr>
        </p:nvSpPr>
        <p:spPr>
          <a:xfrm>
            <a:off x="5778500" y="4839481"/>
            <a:ext cx="3086100" cy="273050"/>
          </a:xfrm>
          <a:prstGeom prst="rect">
            <a:avLst/>
          </a:prstGeom>
        </p:spPr>
        <p:txBody>
          <a:bodyPr vert="horz" lIns="91440" tIns="45720" rIns="91440" bIns="45720" rtlCol="0" anchor="ctr"/>
          <a:lstStyle>
            <a:lvl1pPr algn="r">
              <a:defRPr sz="799">
                <a:solidFill>
                  <a:schemeClr val="tx2"/>
                </a:solidFill>
              </a:defRPr>
            </a:lvl1pPr>
          </a:lstStyle>
          <a:p>
            <a:r>
              <a:rPr lang="en-US"/>
              <a:t>Intelis GSK |</a:t>
            </a:r>
          </a:p>
        </p:txBody>
      </p:sp>
    </p:spTree>
    <p:extLst>
      <p:ext uri="{BB962C8B-B14F-4D97-AF65-F5344CB8AC3E}">
        <p14:creationId xmlns:p14="http://schemas.microsoft.com/office/powerpoint/2010/main" val="3252261233"/>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reserve="1">
  <p:cSld name="Titelfolie neutral">
    <p:spTree>
      <p:nvGrpSpPr>
        <p:cNvPr id="1" name=""/>
        <p:cNvGrpSpPr/>
        <p:nvPr/>
      </p:nvGrpSpPr>
      <p:grpSpPr>
        <a:xfrm>
          <a:off x="0" y="0"/>
          <a:ext cx="0" cy="0"/>
          <a:chOff x="0" y="0"/>
          <a:chExt cx="0" cy="0"/>
        </a:xfrm>
      </p:grpSpPr>
      <p:graphicFrame>
        <p:nvGraphicFramePr>
          <p:cNvPr id="4" name="Objekt 27" hidden="1"/>
          <p:cNvGraphicFramePr>
            <a:graphicFrameLocks noChangeAspect="1"/>
          </p:cNvGraphicFramePr>
          <p:nvPr userDrawn="1">
            <p:custDataLst>
              <p:tags r:id="rId1"/>
            </p:custDataLst>
          </p:nvPr>
        </p:nvGraphicFramePr>
        <p:xfrm>
          <a:off x="1466" y="1193"/>
          <a:ext cx="1465" cy="1191"/>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4" name="Objekt 2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66" y="1193"/>
                        <a:ext cx="1465" cy="1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Grafik 30"/>
          <p:cNvPicPr>
            <a:picLocks noChangeAspect="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0" y="0"/>
            <a:ext cx="9144000" cy="5148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Grafik 31"/>
          <p:cNvPicPr>
            <a:picLocks noChangeAspect="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281496" y="3513213"/>
            <a:ext cx="1465385" cy="4886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hteck 6"/>
          <p:cNvSpPr/>
          <p:nvPr userDrawn="1"/>
        </p:nvSpPr>
        <p:spPr>
          <a:xfrm>
            <a:off x="0" y="3242692"/>
            <a:ext cx="9144000" cy="54819"/>
          </a:xfrm>
          <a:prstGeom prst="rect">
            <a:avLst/>
          </a:prstGeom>
          <a:gradFill flip="none" rotWithShape="1">
            <a:gsLst>
              <a:gs pos="0">
                <a:schemeClr val="tx2"/>
              </a:gs>
              <a:gs pos="100000">
                <a:schemeClr val="tx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1351">
              <a:solidFill>
                <a:srgbClr val="FFFFFF"/>
              </a:solidFill>
            </a:endParaRPr>
          </a:p>
        </p:txBody>
      </p:sp>
      <p:sp>
        <p:nvSpPr>
          <p:cNvPr id="2" name="Titel 1"/>
          <p:cNvSpPr>
            <a:spLocks noGrp="1"/>
          </p:cNvSpPr>
          <p:nvPr>
            <p:ph type="ctrTitle"/>
          </p:nvPr>
        </p:nvSpPr>
        <p:spPr>
          <a:xfrm>
            <a:off x="383931" y="2195739"/>
            <a:ext cx="8376139" cy="777011"/>
          </a:xfrm>
        </p:spPr>
        <p:txBody>
          <a:bodyPr anchor="b"/>
          <a:lstStyle>
            <a:lvl1pPr>
              <a:lnSpc>
                <a:spcPct val="90000"/>
              </a:lnSpc>
              <a:defRPr sz="2402" baseline="0">
                <a:solidFill>
                  <a:schemeClr val="tx2"/>
                </a:solidFill>
              </a:defRPr>
            </a:lvl1pPr>
          </a:lstStyle>
          <a:p>
            <a:r>
              <a:rPr lang="de-DE"/>
              <a:t>Titelmasterformat durch Klicken bearbeiten</a:t>
            </a:r>
          </a:p>
        </p:txBody>
      </p:sp>
      <p:sp>
        <p:nvSpPr>
          <p:cNvPr id="3" name="Untertitel 2"/>
          <p:cNvSpPr>
            <a:spLocks noGrp="1"/>
          </p:cNvSpPr>
          <p:nvPr>
            <p:ph type="subTitle" idx="1"/>
          </p:nvPr>
        </p:nvSpPr>
        <p:spPr>
          <a:xfrm>
            <a:off x="383931" y="3459200"/>
            <a:ext cx="6480000" cy="1351250"/>
          </a:xfrm>
        </p:spPr>
        <p:txBody>
          <a:bodyPr tIns="0"/>
          <a:lstStyle>
            <a:lvl1pPr marL="0" indent="0" algn="l">
              <a:buNone/>
              <a:defRPr sz="1501">
                <a:solidFill>
                  <a:schemeClr val="tx1">
                    <a:tint val="75000"/>
                  </a:schemeClr>
                </a:solidFill>
              </a:defRPr>
            </a:lvl1pPr>
            <a:lvl2pPr marL="343220" indent="0" algn="ctr">
              <a:buNone/>
              <a:defRPr>
                <a:solidFill>
                  <a:schemeClr val="tx1">
                    <a:tint val="75000"/>
                  </a:schemeClr>
                </a:solidFill>
              </a:defRPr>
            </a:lvl2pPr>
            <a:lvl3pPr marL="686440" indent="0" algn="ctr">
              <a:buNone/>
              <a:defRPr>
                <a:solidFill>
                  <a:schemeClr val="tx1">
                    <a:tint val="75000"/>
                  </a:schemeClr>
                </a:solidFill>
              </a:defRPr>
            </a:lvl3pPr>
            <a:lvl4pPr marL="1029660" indent="0" algn="ctr">
              <a:buNone/>
              <a:defRPr>
                <a:solidFill>
                  <a:schemeClr val="tx1">
                    <a:tint val="75000"/>
                  </a:schemeClr>
                </a:solidFill>
              </a:defRPr>
            </a:lvl4pPr>
            <a:lvl5pPr marL="1372880" indent="0" algn="ctr">
              <a:buNone/>
              <a:defRPr>
                <a:solidFill>
                  <a:schemeClr val="tx1">
                    <a:tint val="75000"/>
                  </a:schemeClr>
                </a:solidFill>
              </a:defRPr>
            </a:lvl5pPr>
            <a:lvl6pPr marL="1716100" indent="0" algn="ctr">
              <a:buNone/>
              <a:defRPr>
                <a:solidFill>
                  <a:schemeClr val="tx1">
                    <a:tint val="75000"/>
                  </a:schemeClr>
                </a:solidFill>
              </a:defRPr>
            </a:lvl6pPr>
            <a:lvl7pPr marL="2059320" indent="0" algn="ctr">
              <a:buNone/>
              <a:defRPr>
                <a:solidFill>
                  <a:schemeClr val="tx1">
                    <a:tint val="75000"/>
                  </a:schemeClr>
                </a:solidFill>
              </a:defRPr>
            </a:lvl7pPr>
            <a:lvl8pPr marL="2402540" indent="0" algn="ctr">
              <a:buNone/>
              <a:defRPr>
                <a:solidFill>
                  <a:schemeClr val="tx1">
                    <a:tint val="75000"/>
                  </a:schemeClr>
                </a:solidFill>
              </a:defRPr>
            </a:lvl8pPr>
            <a:lvl9pPr marL="2745760" indent="0" algn="ctr">
              <a:buNone/>
              <a:defRPr>
                <a:solidFill>
                  <a:schemeClr val="tx1">
                    <a:tint val="75000"/>
                  </a:schemeClr>
                </a:solidFill>
              </a:defRPr>
            </a:lvl9pPr>
          </a:lstStyle>
          <a:p>
            <a:r>
              <a:rPr lang="de-DE"/>
              <a:t>Formatvorlage des Untertitelmasters durch Klicken bearbeiten</a:t>
            </a:r>
          </a:p>
        </p:txBody>
      </p:sp>
    </p:spTree>
    <p:extLst>
      <p:ext uri="{BB962C8B-B14F-4D97-AF65-F5344CB8AC3E}">
        <p14:creationId xmlns:p14="http://schemas.microsoft.com/office/powerpoint/2010/main" val="3074605270"/>
      </p:ext>
    </p:extLst>
  </p:cSld>
  <p:clrMapOvr>
    <a:masterClrMapping/>
  </p:clrMapOvr>
  <p:transition>
    <p:zoom/>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elfolie mit Bild">
    <p:spTree>
      <p:nvGrpSpPr>
        <p:cNvPr id="1" name=""/>
        <p:cNvGrpSpPr/>
        <p:nvPr/>
      </p:nvGrpSpPr>
      <p:grpSpPr>
        <a:xfrm>
          <a:off x="0" y="0"/>
          <a:ext cx="0" cy="0"/>
          <a:chOff x="0" y="0"/>
          <a:chExt cx="0" cy="0"/>
        </a:xfrm>
      </p:grpSpPr>
      <p:graphicFrame>
        <p:nvGraphicFramePr>
          <p:cNvPr id="5" name="Objekt 27" hidden="1"/>
          <p:cNvGraphicFramePr>
            <a:graphicFrameLocks noChangeAspect="1"/>
          </p:cNvGraphicFramePr>
          <p:nvPr userDrawn="1">
            <p:custDataLst>
              <p:tags r:id="rId1"/>
            </p:custDataLst>
          </p:nvPr>
        </p:nvGraphicFramePr>
        <p:xfrm>
          <a:off x="1466" y="1193"/>
          <a:ext cx="1465" cy="1191"/>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5" name="Objekt 2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66" y="1193"/>
                        <a:ext cx="1465" cy="1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hteck 5"/>
          <p:cNvSpPr/>
          <p:nvPr userDrawn="1"/>
        </p:nvSpPr>
        <p:spPr>
          <a:xfrm>
            <a:off x="0" y="0"/>
            <a:ext cx="9144000" cy="514826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1351">
              <a:solidFill>
                <a:srgbClr val="FFFFFF"/>
              </a:solidFill>
            </a:endParaRPr>
          </a:p>
        </p:txBody>
      </p:sp>
      <p:sp>
        <p:nvSpPr>
          <p:cNvPr id="7" name="Rechteck 6"/>
          <p:cNvSpPr/>
          <p:nvPr userDrawn="1"/>
        </p:nvSpPr>
        <p:spPr>
          <a:xfrm>
            <a:off x="0" y="3242692"/>
            <a:ext cx="9144000" cy="54819"/>
          </a:xfrm>
          <a:prstGeom prst="rect">
            <a:avLst/>
          </a:prstGeom>
          <a:gradFill flip="none" rotWithShape="1">
            <a:gsLst>
              <a:gs pos="0">
                <a:schemeClr val="tx2"/>
              </a:gs>
              <a:gs pos="100000">
                <a:schemeClr val="tx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1351">
              <a:solidFill>
                <a:srgbClr val="FFFFFF"/>
              </a:solidFill>
            </a:endParaRPr>
          </a:p>
        </p:txBody>
      </p:sp>
      <p:pic>
        <p:nvPicPr>
          <p:cNvPr id="8" name="Grafik 33"/>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7281496" y="3513213"/>
            <a:ext cx="1465385" cy="4886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Bildplatzhalter 8"/>
          <p:cNvSpPr>
            <a:spLocks noGrp="1"/>
          </p:cNvSpPr>
          <p:nvPr>
            <p:ph type="pic" sz="quarter" idx="14"/>
          </p:nvPr>
        </p:nvSpPr>
        <p:spPr>
          <a:xfrm>
            <a:off x="0" y="0"/>
            <a:ext cx="9144000" cy="3216280"/>
          </a:xfrm>
        </p:spPr>
        <p:txBody>
          <a:bodyPr lIns="396000" tIns="180000" rIns="396000" bIns="180000" rtlCol="0">
            <a:noAutofit/>
          </a:bodyPr>
          <a:lstStyle>
            <a:lvl1pPr marL="0" indent="0">
              <a:buFontTx/>
              <a:buNone/>
              <a:defRPr sz="1126">
                <a:solidFill>
                  <a:schemeClr val="accent2"/>
                </a:solidFill>
              </a:defRPr>
            </a:lvl1pPr>
          </a:lstStyle>
          <a:p>
            <a:pPr lvl="0"/>
            <a:r>
              <a:rPr lang="de-DE" noProof="0"/>
              <a:t>Bild durch Klicken auf Symbol hinzufügen</a:t>
            </a:r>
          </a:p>
        </p:txBody>
      </p:sp>
      <p:sp>
        <p:nvSpPr>
          <p:cNvPr id="3" name="Untertitel 2"/>
          <p:cNvSpPr>
            <a:spLocks noGrp="1"/>
          </p:cNvSpPr>
          <p:nvPr>
            <p:ph type="subTitle" idx="1"/>
          </p:nvPr>
        </p:nvSpPr>
        <p:spPr>
          <a:xfrm>
            <a:off x="0" y="3299753"/>
            <a:ext cx="9144000" cy="1848510"/>
          </a:xfrm>
          <a:noFill/>
        </p:spPr>
        <p:txBody>
          <a:bodyPr lIns="396000" tIns="216000" rIns="2268000" bIns="396000"/>
          <a:lstStyle>
            <a:lvl1pPr marL="0" indent="0" algn="l">
              <a:buNone/>
              <a:defRPr sz="1501">
                <a:solidFill>
                  <a:schemeClr val="tx1">
                    <a:tint val="75000"/>
                  </a:schemeClr>
                </a:solidFill>
              </a:defRPr>
            </a:lvl1pPr>
            <a:lvl2pPr marL="343220" indent="0" algn="ctr">
              <a:buNone/>
              <a:defRPr>
                <a:solidFill>
                  <a:schemeClr val="tx1">
                    <a:tint val="75000"/>
                  </a:schemeClr>
                </a:solidFill>
              </a:defRPr>
            </a:lvl2pPr>
            <a:lvl3pPr marL="686440" indent="0" algn="ctr">
              <a:buNone/>
              <a:defRPr>
                <a:solidFill>
                  <a:schemeClr val="tx1">
                    <a:tint val="75000"/>
                  </a:schemeClr>
                </a:solidFill>
              </a:defRPr>
            </a:lvl3pPr>
            <a:lvl4pPr marL="1029660" indent="0" algn="ctr">
              <a:buNone/>
              <a:defRPr>
                <a:solidFill>
                  <a:schemeClr val="tx1">
                    <a:tint val="75000"/>
                  </a:schemeClr>
                </a:solidFill>
              </a:defRPr>
            </a:lvl4pPr>
            <a:lvl5pPr marL="1372880" indent="0" algn="ctr">
              <a:buNone/>
              <a:defRPr>
                <a:solidFill>
                  <a:schemeClr val="tx1">
                    <a:tint val="75000"/>
                  </a:schemeClr>
                </a:solidFill>
              </a:defRPr>
            </a:lvl5pPr>
            <a:lvl6pPr marL="1716100" indent="0" algn="ctr">
              <a:buNone/>
              <a:defRPr>
                <a:solidFill>
                  <a:schemeClr val="tx1">
                    <a:tint val="75000"/>
                  </a:schemeClr>
                </a:solidFill>
              </a:defRPr>
            </a:lvl6pPr>
            <a:lvl7pPr marL="2059320" indent="0" algn="ctr">
              <a:buNone/>
              <a:defRPr>
                <a:solidFill>
                  <a:schemeClr val="tx1">
                    <a:tint val="75000"/>
                  </a:schemeClr>
                </a:solidFill>
              </a:defRPr>
            </a:lvl7pPr>
            <a:lvl8pPr marL="2402540" indent="0" algn="ctr">
              <a:buNone/>
              <a:defRPr>
                <a:solidFill>
                  <a:schemeClr val="tx1">
                    <a:tint val="75000"/>
                  </a:schemeClr>
                </a:solidFill>
              </a:defRPr>
            </a:lvl8pPr>
            <a:lvl9pPr marL="2745760" indent="0" algn="ctr">
              <a:buNone/>
              <a:defRPr>
                <a:solidFill>
                  <a:schemeClr val="tx1">
                    <a:tint val="75000"/>
                  </a:schemeClr>
                </a:solidFill>
              </a:defRPr>
            </a:lvl9pPr>
          </a:lstStyle>
          <a:p>
            <a:r>
              <a:rPr lang="de-DE"/>
              <a:t>Formatvorlage des Untertitelmasters durch Klicken bearbeiten</a:t>
            </a:r>
          </a:p>
        </p:txBody>
      </p:sp>
      <p:sp>
        <p:nvSpPr>
          <p:cNvPr id="2" name="Titel 1"/>
          <p:cNvSpPr>
            <a:spLocks noGrp="1"/>
          </p:cNvSpPr>
          <p:nvPr>
            <p:ph type="ctrTitle"/>
          </p:nvPr>
        </p:nvSpPr>
        <p:spPr>
          <a:xfrm>
            <a:off x="0" y="2159298"/>
            <a:ext cx="9144000" cy="1081000"/>
          </a:xfrm>
          <a:solidFill>
            <a:schemeClr val="bg1">
              <a:alpha val="80000"/>
            </a:schemeClr>
          </a:solidFill>
        </p:spPr>
        <p:txBody>
          <a:bodyPr lIns="414000" rIns="396000" bIns="360000" anchor="b"/>
          <a:lstStyle>
            <a:lvl1pPr>
              <a:lnSpc>
                <a:spcPct val="90000"/>
              </a:lnSpc>
              <a:defRPr sz="2402" baseline="0">
                <a:solidFill>
                  <a:schemeClr val="tx2"/>
                </a:solidFill>
              </a:defRPr>
            </a:lvl1pPr>
          </a:lstStyle>
          <a:p>
            <a:r>
              <a:rPr lang="de-DE"/>
              <a:t>Titelmasterformat durch Klicken bearbeiten</a:t>
            </a:r>
          </a:p>
        </p:txBody>
      </p:sp>
    </p:spTree>
    <p:extLst>
      <p:ext uri="{BB962C8B-B14F-4D97-AF65-F5344CB8AC3E}">
        <p14:creationId xmlns:p14="http://schemas.microsoft.com/office/powerpoint/2010/main" val="3393486429"/>
      </p:ext>
    </p:extLst>
  </p:cSld>
  <p:clrMapOvr>
    <a:masterClrMapping/>
  </p:clrMapOvr>
  <p:transition>
    <p:zoom/>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Inhalt + Titel">
    <p:spTree>
      <p:nvGrpSpPr>
        <p:cNvPr id="1" name=""/>
        <p:cNvGrpSpPr/>
        <p:nvPr/>
      </p:nvGrpSpPr>
      <p:grpSpPr>
        <a:xfrm>
          <a:off x="0" y="0"/>
          <a:ext cx="0" cy="0"/>
          <a:chOff x="0" y="0"/>
          <a:chExt cx="0" cy="0"/>
        </a:xfrm>
      </p:grpSpPr>
      <p:sp>
        <p:nvSpPr>
          <p:cNvPr id="2" name="Titel 1"/>
          <p:cNvSpPr>
            <a:spLocks noGrp="1"/>
          </p:cNvSpPr>
          <p:nvPr>
            <p:ph type="title"/>
          </p:nvPr>
        </p:nvSpPr>
        <p:spPr>
          <a:xfrm>
            <a:off x="383931" y="216200"/>
            <a:ext cx="7145936" cy="195691"/>
          </a:xfrm>
        </p:spPr>
        <p:txBody>
          <a:bodyPr/>
          <a:lstStyle>
            <a:lvl1pPr>
              <a:defRPr baseline="0"/>
            </a:lvl1pPr>
          </a:lstStyle>
          <a:p>
            <a:r>
              <a:rPr lang="de-DE"/>
              <a:t>Titelmasterformat durch Klicken bearbeiten</a:t>
            </a:r>
          </a:p>
        </p:txBody>
      </p:sp>
      <p:sp>
        <p:nvSpPr>
          <p:cNvPr id="3" name="Inhaltsplatzhalter 2"/>
          <p:cNvSpPr>
            <a:spLocks noGrp="1"/>
          </p:cNvSpPr>
          <p:nvPr>
            <p:ph idx="1"/>
          </p:nvPr>
        </p:nvSpPr>
        <p:spPr>
          <a:xfrm>
            <a:off x="383932" y="709079"/>
            <a:ext cx="8376138" cy="4243741"/>
          </a:xfrm>
        </p:spPr>
        <p:txBody>
          <a:bodyPr bIns="72000" rtlCol="0">
            <a:noAutofit/>
          </a:bodyPr>
          <a:lstStyle>
            <a:lvl1pPr>
              <a:defRPr lang="de-DE" dirty="0" smtClean="0"/>
            </a:lvl1pPr>
            <a:lvl2pPr>
              <a:defRPr lang="de-DE" dirty="0" smtClean="0"/>
            </a:lvl2pPr>
            <a:lvl3pPr>
              <a:defRPr lang="de-DE" dirty="0" smtClean="0"/>
            </a:lvl3pPr>
            <a:lvl4pPr>
              <a:defRPr lang="de-DE" dirty="0" smtClean="0"/>
            </a:lvl4pPr>
          </a:lstStyle>
          <a:p>
            <a:pPr lvl="0"/>
            <a:r>
              <a:rPr lang="de-DE"/>
              <a:t>Textmasterformat bearbeiten</a:t>
            </a:r>
          </a:p>
          <a:p>
            <a:pPr lvl="1"/>
            <a:r>
              <a:rPr lang="de-DE"/>
              <a:t>Zweite Ebene</a:t>
            </a:r>
          </a:p>
          <a:p>
            <a:pPr lvl="2"/>
            <a:r>
              <a:rPr lang="de-DE"/>
              <a:t>Dritte Ebene</a:t>
            </a:r>
          </a:p>
          <a:p>
            <a:pPr lvl="3"/>
            <a:r>
              <a:rPr lang="de-DE"/>
              <a:t>Vierte Ebene</a:t>
            </a:r>
          </a:p>
        </p:txBody>
      </p:sp>
      <p:sp>
        <p:nvSpPr>
          <p:cNvPr id="7" name="Textplatzhalter 2"/>
          <p:cNvSpPr>
            <a:spLocks noGrp="1"/>
          </p:cNvSpPr>
          <p:nvPr>
            <p:ph type="body" idx="13"/>
          </p:nvPr>
        </p:nvSpPr>
        <p:spPr>
          <a:xfrm>
            <a:off x="383931" y="411891"/>
            <a:ext cx="7145936" cy="216200"/>
          </a:xfrm>
        </p:spPr>
        <p:txBody>
          <a:bodyPr tIns="0"/>
          <a:lstStyle>
            <a:lvl1pPr marL="0" indent="0">
              <a:buNone/>
              <a:defRPr sz="1501" cap="all" baseline="0">
                <a:solidFill>
                  <a:schemeClr val="accent4"/>
                </a:solidFill>
              </a:defRPr>
            </a:lvl1pPr>
            <a:lvl2pPr marL="343220" indent="0">
              <a:buNone/>
              <a:defRPr sz="1351">
                <a:solidFill>
                  <a:schemeClr val="tx1">
                    <a:tint val="75000"/>
                  </a:schemeClr>
                </a:solidFill>
              </a:defRPr>
            </a:lvl2pPr>
            <a:lvl3pPr marL="686440" indent="0">
              <a:buNone/>
              <a:defRPr sz="1201">
                <a:solidFill>
                  <a:schemeClr val="tx1">
                    <a:tint val="75000"/>
                  </a:schemeClr>
                </a:solidFill>
              </a:defRPr>
            </a:lvl3pPr>
            <a:lvl4pPr marL="1029660" indent="0">
              <a:buNone/>
              <a:defRPr sz="1051">
                <a:solidFill>
                  <a:schemeClr val="tx1">
                    <a:tint val="75000"/>
                  </a:schemeClr>
                </a:solidFill>
              </a:defRPr>
            </a:lvl4pPr>
            <a:lvl5pPr marL="1372880" indent="0">
              <a:buNone/>
              <a:defRPr sz="1051">
                <a:solidFill>
                  <a:schemeClr val="tx1">
                    <a:tint val="75000"/>
                  </a:schemeClr>
                </a:solidFill>
              </a:defRPr>
            </a:lvl5pPr>
            <a:lvl6pPr marL="1716100" indent="0">
              <a:buNone/>
              <a:defRPr sz="1051">
                <a:solidFill>
                  <a:schemeClr val="tx1">
                    <a:tint val="75000"/>
                  </a:schemeClr>
                </a:solidFill>
              </a:defRPr>
            </a:lvl6pPr>
            <a:lvl7pPr marL="2059320" indent="0">
              <a:buNone/>
              <a:defRPr sz="1051">
                <a:solidFill>
                  <a:schemeClr val="tx1">
                    <a:tint val="75000"/>
                  </a:schemeClr>
                </a:solidFill>
              </a:defRPr>
            </a:lvl7pPr>
            <a:lvl8pPr marL="2402540" indent="0">
              <a:buNone/>
              <a:defRPr sz="1051">
                <a:solidFill>
                  <a:schemeClr val="tx1">
                    <a:tint val="75000"/>
                  </a:schemeClr>
                </a:solidFill>
              </a:defRPr>
            </a:lvl8pPr>
            <a:lvl9pPr marL="2745760" indent="0">
              <a:buNone/>
              <a:defRPr sz="1051">
                <a:solidFill>
                  <a:schemeClr val="tx1">
                    <a:tint val="75000"/>
                  </a:schemeClr>
                </a:solidFill>
              </a:defRPr>
            </a:lvl9pPr>
          </a:lstStyle>
          <a:p>
            <a:pPr lvl="0"/>
            <a:r>
              <a:rPr lang="de-DE" noProof="0"/>
              <a:t>Textmasterformat bearbeiten</a:t>
            </a:r>
          </a:p>
        </p:txBody>
      </p:sp>
      <p:sp>
        <p:nvSpPr>
          <p:cNvPr id="5" name="Datumsplatzhalter 3"/>
          <p:cNvSpPr>
            <a:spLocks noGrp="1"/>
          </p:cNvSpPr>
          <p:nvPr>
            <p:ph type="dt" sz="half" idx="14"/>
          </p:nvPr>
        </p:nvSpPr>
        <p:spPr/>
        <p:txBody>
          <a:bodyPr/>
          <a:lstStyle>
            <a:lvl1pPr>
              <a:defRPr/>
            </a:lvl1pPr>
          </a:lstStyle>
          <a:p>
            <a:pPr>
              <a:defRPr/>
            </a:pPr>
            <a:endParaRPr lang="de-DE">
              <a:solidFill>
                <a:srgbClr val="6E7A82"/>
              </a:solidFill>
            </a:endParaRPr>
          </a:p>
        </p:txBody>
      </p:sp>
      <p:sp>
        <p:nvSpPr>
          <p:cNvPr id="6" name="Fußzeilenplatzhalter 4"/>
          <p:cNvSpPr>
            <a:spLocks noGrp="1"/>
          </p:cNvSpPr>
          <p:nvPr>
            <p:ph type="ftr" sz="quarter" idx="15"/>
          </p:nvPr>
        </p:nvSpPr>
        <p:spPr/>
        <p:txBody>
          <a:bodyPr/>
          <a:lstStyle>
            <a:lvl1pPr>
              <a:defRPr/>
            </a:lvl1pPr>
          </a:lstStyle>
          <a:p>
            <a:pPr>
              <a:defRPr/>
            </a:pPr>
            <a:r>
              <a:rPr lang="de-DE">
                <a:solidFill>
                  <a:srgbClr val="007FC3"/>
                </a:solidFill>
              </a:rPr>
              <a:t>SICK | January 2015 | Confidential</a:t>
            </a:r>
          </a:p>
        </p:txBody>
      </p:sp>
      <p:sp>
        <p:nvSpPr>
          <p:cNvPr id="8" name="Foliennummernplatzhalter 5"/>
          <p:cNvSpPr>
            <a:spLocks noGrp="1"/>
          </p:cNvSpPr>
          <p:nvPr>
            <p:ph type="sldNum" sz="quarter" idx="16"/>
          </p:nvPr>
        </p:nvSpPr>
        <p:spPr/>
        <p:txBody>
          <a:bodyPr/>
          <a:lstStyle>
            <a:lvl1pPr>
              <a:defRPr/>
            </a:lvl1pPr>
          </a:lstStyle>
          <a:p>
            <a:pPr>
              <a:defRPr/>
            </a:pPr>
            <a:fld id="{389274CA-37A4-4CCB-B496-28B3313E835A}" type="slidenum">
              <a:rPr lang="de-DE">
                <a:solidFill>
                  <a:srgbClr val="6E7A82"/>
                </a:solidFill>
              </a:rPr>
              <a:pPr>
                <a:defRPr/>
              </a:pPr>
              <a:t>‹#›</a:t>
            </a:fld>
            <a:endParaRPr lang="de-DE">
              <a:solidFill>
                <a:srgbClr val="6E7A82"/>
              </a:solidFill>
            </a:endParaRPr>
          </a:p>
        </p:txBody>
      </p:sp>
    </p:spTree>
    <p:extLst>
      <p:ext uri="{BB962C8B-B14F-4D97-AF65-F5344CB8AC3E}">
        <p14:creationId xmlns:p14="http://schemas.microsoft.com/office/powerpoint/2010/main" val="2294325901"/>
      </p:ext>
    </p:extLst>
  </p:cSld>
  <p:clrMapOvr>
    <a:masterClrMapping/>
  </p:clrMapOvr>
  <p:transition>
    <p:zoom/>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Inhalt + Titel 2-zeilig">
    <p:spTree>
      <p:nvGrpSpPr>
        <p:cNvPr id="1" name=""/>
        <p:cNvGrpSpPr/>
        <p:nvPr/>
      </p:nvGrpSpPr>
      <p:grpSpPr>
        <a:xfrm>
          <a:off x="0" y="0"/>
          <a:ext cx="0" cy="0"/>
          <a:chOff x="0" y="0"/>
          <a:chExt cx="0" cy="0"/>
        </a:xfrm>
      </p:grpSpPr>
      <p:sp>
        <p:nvSpPr>
          <p:cNvPr id="2" name="Titel 1"/>
          <p:cNvSpPr>
            <a:spLocks noGrp="1"/>
          </p:cNvSpPr>
          <p:nvPr>
            <p:ph type="title"/>
          </p:nvPr>
        </p:nvSpPr>
        <p:spPr>
          <a:xfrm>
            <a:off x="383932" y="216200"/>
            <a:ext cx="7145935" cy="432400"/>
          </a:xfrm>
        </p:spPr>
        <p:txBody>
          <a:bodyPr/>
          <a:lstStyle>
            <a:lvl1pPr>
              <a:defRPr baseline="0"/>
            </a:lvl1pPr>
          </a:lstStyle>
          <a:p>
            <a:r>
              <a:rPr lang="de-DE"/>
              <a:t>Titelmasterformat durch Klicken bearbeiten</a:t>
            </a:r>
          </a:p>
        </p:txBody>
      </p:sp>
      <p:sp>
        <p:nvSpPr>
          <p:cNvPr id="3" name="Inhaltsplatzhalter 2"/>
          <p:cNvSpPr>
            <a:spLocks noGrp="1"/>
          </p:cNvSpPr>
          <p:nvPr>
            <p:ph idx="1"/>
          </p:nvPr>
        </p:nvSpPr>
        <p:spPr>
          <a:xfrm>
            <a:off x="383932" y="709079"/>
            <a:ext cx="8376138" cy="4243741"/>
          </a:xfrm>
        </p:spPr>
        <p:txBody>
          <a:bodyPr bIns="72000"/>
          <a:lstStyle>
            <a:lvl4pPr>
              <a:defRPr sz="1201"/>
            </a:lvl4pPr>
          </a:lstStyle>
          <a:p>
            <a:pPr lvl="0"/>
            <a:r>
              <a:rPr lang="de-DE"/>
              <a:t>Textmasterformat bearbeiten</a:t>
            </a:r>
          </a:p>
          <a:p>
            <a:pPr lvl="1"/>
            <a:r>
              <a:rPr lang="de-DE"/>
              <a:t>Zweite Ebene</a:t>
            </a:r>
          </a:p>
          <a:p>
            <a:pPr lvl="2"/>
            <a:r>
              <a:rPr lang="de-DE"/>
              <a:t>Dritte Ebene</a:t>
            </a:r>
          </a:p>
          <a:p>
            <a:pPr lvl="3"/>
            <a:r>
              <a:rPr lang="de-DE"/>
              <a:t>Vierte Ebene</a:t>
            </a:r>
          </a:p>
        </p:txBody>
      </p:sp>
      <p:sp>
        <p:nvSpPr>
          <p:cNvPr id="4" name="Datumsplatzhalter 3"/>
          <p:cNvSpPr>
            <a:spLocks noGrp="1"/>
          </p:cNvSpPr>
          <p:nvPr>
            <p:ph type="dt" sz="half" idx="10"/>
          </p:nvPr>
        </p:nvSpPr>
        <p:spPr/>
        <p:txBody>
          <a:bodyPr/>
          <a:lstStyle>
            <a:lvl1pPr>
              <a:defRPr/>
            </a:lvl1pPr>
          </a:lstStyle>
          <a:p>
            <a:pPr>
              <a:defRPr/>
            </a:pPr>
            <a:endParaRPr lang="de-DE">
              <a:solidFill>
                <a:srgbClr val="6E7A82"/>
              </a:solidFill>
            </a:endParaRPr>
          </a:p>
        </p:txBody>
      </p:sp>
      <p:sp>
        <p:nvSpPr>
          <p:cNvPr id="5" name="Fußzeilenplatzhalter 4"/>
          <p:cNvSpPr>
            <a:spLocks noGrp="1"/>
          </p:cNvSpPr>
          <p:nvPr>
            <p:ph type="ftr" sz="quarter" idx="11"/>
          </p:nvPr>
        </p:nvSpPr>
        <p:spPr/>
        <p:txBody>
          <a:bodyPr/>
          <a:lstStyle>
            <a:lvl1pPr>
              <a:defRPr/>
            </a:lvl1pPr>
          </a:lstStyle>
          <a:p>
            <a:pPr>
              <a:defRPr/>
            </a:pPr>
            <a:r>
              <a:rPr lang="de-DE">
                <a:solidFill>
                  <a:srgbClr val="007FC3"/>
                </a:solidFill>
              </a:rPr>
              <a:t>SICK | January 2015 | Confidential</a:t>
            </a:r>
          </a:p>
        </p:txBody>
      </p:sp>
      <p:sp>
        <p:nvSpPr>
          <p:cNvPr id="6" name="Foliennummernplatzhalter 5"/>
          <p:cNvSpPr>
            <a:spLocks noGrp="1"/>
          </p:cNvSpPr>
          <p:nvPr>
            <p:ph type="sldNum" sz="quarter" idx="12"/>
          </p:nvPr>
        </p:nvSpPr>
        <p:spPr/>
        <p:txBody>
          <a:bodyPr/>
          <a:lstStyle>
            <a:lvl1pPr>
              <a:defRPr/>
            </a:lvl1pPr>
          </a:lstStyle>
          <a:p>
            <a:pPr>
              <a:defRPr/>
            </a:pPr>
            <a:fld id="{CE7D76F6-41F0-4346-8845-EA942642C595}" type="slidenum">
              <a:rPr lang="de-DE">
                <a:solidFill>
                  <a:srgbClr val="6E7A82"/>
                </a:solidFill>
              </a:rPr>
              <a:pPr>
                <a:defRPr/>
              </a:pPr>
              <a:t>‹#›</a:t>
            </a:fld>
            <a:endParaRPr lang="de-DE">
              <a:solidFill>
                <a:srgbClr val="6E7A82"/>
              </a:solidFill>
            </a:endParaRPr>
          </a:p>
        </p:txBody>
      </p:sp>
    </p:spTree>
    <p:extLst>
      <p:ext uri="{BB962C8B-B14F-4D97-AF65-F5344CB8AC3E}">
        <p14:creationId xmlns:p14="http://schemas.microsoft.com/office/powerpoint/2010/main" val="482083262"/>
      </p:ext>
    </p:extLst>
  </p:cSld>
  <p:clrMapOvr>
    <a:masterClrMapping/>
  </p:clrMapOvr>
  <p:transition>
    <p:zoom/>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Inhalt links Bild rechts">
    <p:spTree>
      <p:nvGrpSpPr>
        <p:cNvPr id="1" name=""/>
        <p:cNvGrpSpPr/>
        <p:nvPr/>
      </p:nvGrpSpPr>
      <p:grpSpPr>
        <a:xfrm>
          <a:off x="0" y="0"/>
          <a:ext cx="0" cy="0"/>
          <a:chOff x="0" y="0"/>
          <a:chExt cx="0" cy="0"/>
        </a:xfrm>
      </p:grpSpPr>
      <p:sp>
        <p:nvSpPr>
          <p:cNvPr id="3" name="Inhaltsplatzhalter 2"/>
          <p:cNvSpPr>
            <a:spLocks noGrp="1"/>
          </p:cNvSpPr>
          <p:nvPr>
            <p:ph idx="1"/>
          </p:nvPr>
        </p:nvSpPr>
        <p:spPr>
          <a:xfrm>
            <a:off x="383932" y="709079"/>
            <a:ext cx="4116068" cy="4243741"/>
          </a:xfrm>
        </p:spPr>
        <p:txBody>
          <a:bodyPr bIns="72000"/>
          <a:lstStyle/>
          <a:p>
            <a:pPr lvl="0"/>
            <a:r>
              <a:rPr lang="de-DE"/>
              <a:t>Textmasterformat bearbeiten</a:t>
            </a:r>
          </a:p>
          <a:p>
            <a:pPr lvl="1"/>
            <a:r>
              <a:rPr lang="de-DE"/>
              <a:t>Zweite Ebene</a:t>
            </a:r>
          </a:p>
          <a:p>
            <a:pPr lvl="2"/>
            <a:r>
              <a:rPr lang="de-DE"/>
              <a:t>Dritte Ebene</a:t>
            </a:r>
          </a:p>
        </p:txBody>
      </p:sp>
      <p:sp>
        <p:nvSpPr>
          <p:cNvPr id="9" name="Bildplatzhalter 8"/>
          <p:cNvSpPr>
            <a:spLocks noGrp="1"/>
          </p:cNvSpPr>
          <p:nvPr>
            <p:ph type="pic" sz="quarter" idx="14"/>
          </p:nvPr>
        </p:nvSpPr>
        <p:spPr>
          <a:xfrm>
            <a:off x="4643437" y="709079"/>
            <a:ext cx="4116632" cy="4243741"/>
          </a:xfrm>
        </p:spPr>
        <p:txBody>
          <a:bodyPr tIns="180000" bIns="180000" rtlCol="0">
            <a:noAutofit/>
          </a:bodyPr>
          <a:lstStyle>
            <a:lvl1pPr marL="0" indent="0">
              <a:buFontTx/>
              <a:buNone/>
              <a:defRPr sz="1201">
                <a:solidFill>
                  <a:schemeClr val="accent2"/>
                </a:solidFill>
              </a:defRPr>
            </a:lvl1pPr>
          </a:lstStyle>
          <a:p>
            <a:pPr lvl="0"/>
            <a:r>
              <a:rPr lang="de-DE" noProof="0"/>
              <a:t>Bild durch Klicken auf Symbol hinzufügen</a:t>
            </a:r>
          </a:p>
        </p:txBody>
      </p:sp>
      <p:sp>
        <p:nvSpPr>
          <p:cNvPr id="10" name="Titel 1"/>
          <p:cNvSpPr>
            <a:spLocks noGrp="1"/>
          </p:cNvSpPr>
          <p:nvPr>
            <p:ph type="title"/>
          </p:nvPr>
        </p:nvSpPr>
        <p:spPr>
          <a:xfrm>
            <a:off x="383931" y="216200"/>
            <a:ext cx="7145936" cy="195691"/>
          </a:xfrm>
        </p:spPr>
        <p:txBody>
          <a:bodyPr/>
          <a:lstStyle>
            <a:lvl1pPr>
              <a:defRPr baseline="0"/>
            </a:lvl1pPr>
          </a:lstStyle>
          <a:p>
            <a:r>
              <a:rPr lang="de-DE"/>
              <a:t>Titelmasterformat durch Klicken bearbeiten</a:t>
            </a:r>
          </a:p>
        </p:txBody>
      </p:sp>
      <p:sp>
        <p:nvSpPr>
          <p:cNvPr id="11" name="Textplatzhalter 2"/>
          <p:cNvSpPr>
            <a:spLocks noGrp="1"/>
          </p:cNvSpPr>
          <p:nvPr>
            <p:ph type="body" idx="13"/>
          </p:nvPr>
        </p:nvSpPr>
        <p:spPr>
          <a:xfrm>
            <a:off x="383931" y="411891"/>
            <a:ext cx="7145936" cy="216200"/>
          </a:xfrm>
        </p:spPr>
        <p:txBody>
          <a:bodyPr tIns="0"/>
          <a:lstStyle>
            <a:lvl1pPr marL="0" indent="0">
              <a:buNone/>
              <a:defRPr sz="1501" cap="all" baseline="0">
                <a:solidFill>
                  <a:schemeClr val="accent4"/>
                </a:solidFill>
              </a:defRPr>
            </a:lvl1pPr>
            <a:lvl2pPr marL="343220" indent="0">
              <a:buNone/>
              <a:defRPr sz="1351">
                <a:solidFill>
                  <a:schemeClr val="tx1">
                    <a:tint val="75000"/>
                  </a:schemeClr>
                </a:solidFill>
              </a:defRPr>
            </a:lvl2pPr>
            <a:lvl3pPr marL="686440" indent="0">
              <a:buNone/>
              <a:defRPr sz="1201">
                <a:solidFill>
                  <a:schemeClr val="tx1">
                    <a:tint val="75000"/>
                  </a:schemeClr>
                </a:solidFill>
              </a:defRPr>
            </a:lvl3pPr>
            <a:lvl4pPr marL="1029660" indent="0">
              <a:buNone/>
              <a:defRPr sz="1051">
                <a:solidFill>
                  <a:schemeClr val="tx1">
                    <a:tint val="75000"/>
                  </a:schemeClr>
                </a:solidFill>
              </a:defRPr>
            </a:lvl4pPr>
            <a:lvl5pPr marL="1372880" indent="0">
              <a:buNone/>
              <a:defRPr sz="1051">
                <a:solidFill>
                  <a:schemeClr val="tx1">
                    <a:tint val="75000"/>
                  </a:schemeClr>
                </a:solidFill>
              </a:defRPr>
            </a:lvl5pPr>
            <a:lvl6pPr marL="1716100" indent="0">
              <a:buNone/>
              <a:defRPr sz="1051">
                <a:solidFill>
                  <a:schemeClr val="tx1">
                    <a:tint val="75000"/>
                  </a:schemeClr>
                </a:solidFill>
              </a:defRPr>
            </a:lvl6pPr>
            <a:lvl7pPr marL="2059320" indent="0">
              <a:buNone/>
              <a:defRPr sz="1051">
                <a:solidFill>
                  <a:schemeClr val="tx1">
                    <a:tint val="75000"/>
                  </a:schemeClr>
                </a:solidFill>
              </a:defRPr>
            </a:lvl7pPr>
            <a:lvl8pPr marL="2402540" indent="0">
              <a:buNone/>
              <a:defRPr sz="1051">
                <a:solidFill>
                  <a:schemeClr val="tx1">
                    <a:tint val="75000"/>
                  </a:schemeClr>
                </a:solidFill>
              </a:defRPr>
            </a:lvl8pPr>
            <a:lvl9pPr marL="2745760" indent="0">
              <a:buNone/>
              <a:defRPr sz="1051">
                <a:solidFill>
                  <a:schemeClr val="tx1">
                    <a:tint val="75000"/>
                  </a:schemeClr>
                </a:solidFill>
              </a:defRPr>
            </a:lvl9pPr>
          </a:lstStyle>
          <a:p>
            <a:pPr lvl="0"/>
            <a:r>
              <a:rPr lang="de-DE"/>
              <a:t>Textmasterformat bearbeiten</a:t>
            </a:r>
          </a:p>
        </p:txBody>
      </p:sp>
      <p:sp>
        <p:nvSpPr>
          <p:cNvPr id="6" name="Datumsplatzhalter 3"/>
          <p:cNvSpPr>
            <a:spLocks noGrp="1"/>
          </p:cNvSpPr>
          <p:nvPr>
            <p:ph type="dt" sz="half" idx="15"/>
          </p:nvPr>
        </p:nvSpPr>
        <p:spPr/>
        <p:txBody>
          <a:bodyPr/>
          <a:lstStyle>
            <a:lvl1pPr>
              <a:defRPr/>
            </a:lvl1pPr>
          </a:lstStyle>
          <a:p>
            <a:pPr>
              <a:defRPr/>
            </a:pPr>
            <a:endParaRPr lang="de-DE">
              <a:solidFill>
                <a:srgbClr val="6E7A82"/>
              </a:solidFill>
            </a:endParaRPr>
          </a:p>
        </p:txBody>
      </p:sp>
      <p:sp>
        <p:nvSpPr>
          <p:cNvPr id="7" name="Fußzeilenplatzhalter 4"/>
          <p:cNvSpPr>
            <a:spLocks noGrp="1"/>
          </p:cNvSpPr>
          <p:nvPr>
            <p:ph type="ftr" sz="quarter" idx="16"/>
          </p:nvPr>
        </p:nvSpPr>
        <p:spPr/>
        <p:txBody>
          <a:bodyPr/>
          <a:lstStyle>
            <a:lvl1pPr>
              <a:defRPr/>
            </a:lvl1pPr>
          </a:lstStyle>
          <a:p>
            <a:pPr>
              <a:defRPr/>
            </a:pPr>
            <a:r>
              <a:rPr lang="de-DE">
                <a:solidFill>
                  <a:srgbClr val="007FC3"/>
                </a:solidFill>
              </a:rPr>
              <a:t>SICK | January 2015 | Confidential</a:t>
            </a:r>
          </a:p>
        </p:txBody>
      </p:sp>
      <p:sp>
        <p:nvSpPr>
          <p:cNvPr id="8" name="Foliennummernplatzhalter 5"/>
          <p:cNvSpPr>
            <a:spLocks noGrp="1"/>
          </p:cNvSpPr>
          <p:nvPr>
            <p:ph type="sldNum" sz="quarter" idx="17"/>
          </p:nvPr>
        </p:nvSpPr>
        <p:spPr/>
        <p:txBody>
          <a:bodyPr/>
          <a:lstStyle>
            <a:lvl1pPr>
              <a:defRPr/>
            </a:lvl1pPr>
          </a:lstStyle>
          <a:p>
            <a:pPr>
              <a:defRPr/>
            </a:pPr>
            <a:fld id="{2A3A51D6-9A27-410D-9D94-4FBF7EA2B9DF}" type="slidenum">
              <a:rPr lang="de-DE">
                <a:solidFill>
                  <a:srgbClr val="6E7A82"/>
                </a:solidFill>
              </a:rPr>
              <a:pPr>
                <a:defRPr/>
              </a:pPr>
              <a:t>‹#›</a:t>
            </a:fld>
            <a:endParaRPr lang="de-DE">
              <a:solidFill>
                <a:srgbClr val="6E7A82"/>
              </a:solidFill>
            </a:endParaRPr>
          </a:p>
        </p:txBody>
      </p:sp>
    </p:spTree>
    <p:extLst>
      <p:ext uri="{BB962C8B-B14F-4D97-AF65-F5344CB8AC3E}">
        <p14:creationId xmlns:p14="http://schemas.microsoft.com/office/powerpoint/2010/main" val="1807442774"/>
      </p:ext>
    </p:extLst>
  </p:cSld>
  <p:clrMapOvr>
    <a:masterClrMapping/>
  </p:clrMapOvr>
  <p:transition>
    <p:zoom/>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ild links Inhalt rechts">
    <p:spTree>
      <p:nvGrpSpPr>
        <p:cNvPr id="1" name=""/>
        <p:cNvGrpSpPr/>
        <p:nvPr/>
      </p:nvGrpSpPr>
      <p:grpSpPr>
        <a:xfrm>
          <a:off x="0" y="0"/>
          <a:ext cx="0" cy="0"/>
          <a:chOff x="0" y="0"/>
          <a:chExt cx="0" cy="0"/>
        </a:xfrm>
      </p:grpSpPr>
      <p:sp>
        <p:nvSpPr>
          <p:cNvPr id="3" name="Inhaltsplatzhalter 2"/>
          <p:cNvSpPr>
            <a:spLocks noGrp="1"/>
          </p:cNvSpPr>
          <p:nvPr>
            <p:ph idx="1"/>
          </p:nvPr>
        </p:nvSpPr>
        <p:spPr>
          <a:xfrm>
            <a:off x="4644000" y="709079"/>
            <a:ext cx="4116069" cy="4243741"/>
          </a:xfrm>
        </p:spPr>
        <p:txBody>
          <a:bodyPr bIns="72000"/>
          <a:lstStyle/>
          <a:p>
            <a:pPr lvl="0"/>
            <a:r>
              <a:rPr lang="de-DE"/>
              <a:t>Textmasterformat bearbeiten</a:t>
            </a:r>
          </a:p>
          <a:p>
            <a:pPr lvl="1"/>
            <a:r>
              <a:rPr lang="de-DE"/>
              <a:t>Zweite Ebene</a:t>
            </a:r>
          </a:p>
          <a:p>
            <a:pPr lvl="2"/>
            <a:r>
              <a:rPr lang="de-DE"/>
              <a:t>Dritte Ebene</a:t>
            </a:r>
          </a:p>
        </p:txBody>
      </p:sp>
      <p:sp>
        <p:nvSpPr>
          <p:cNvPr id="9" name="Bildplatzhalter 8"/>
          <p:cNvSpPr>
            <a:spLocks noGrp="1"/>
          </p:cNvSpPr>
          <p:nvPr>
            <p:ph type="pic" sz="quarter" idx="14"/>
          </p:nvPr>
        </p:nvSpPr>
        <p:spPr>
          <a:xfrm>
            <a:off x="383932" y="709079"/>
            <a:ext cx="4116068" cy="4243741"/>
          </a:xfrm>
        </p:spPr>
        <p:txBody>
          <a:bodyPr tIns="180000" bIns="180000" rtlCol="0">
            <a:noAutofit/>
          </a:bodyPr>
          <a:lstStyle>
            <a:lvl1pPr marL="0" indent="0">
              <a:buFontTx/>
              <a:buNone/>
              <a:defRPr sz="1201">
                <a:solidFill>
                  <a:schemeClr val="accent2"/>
                </a:solidFill>
              </a:defRPr>
            </a:lvl1pPr>
          </a:lstStyle>
          <a:p>
            <a:pPr lvl="0"/>
            <a:r>
              <a:rPr lang="de-DE" noProof="0"/>
              <a:t>Bild durch Klicken auf Symbol hinzufügen</a:t>
            </a:r>
          </a:p>
        </p:txBody>
      </p:sp>
      <p:sp>
        <p:nvSpPr>
          <p:cNvPr id="10" name="Titel 1"/>
          <p:cNvSpPr>
            <a:spLocks noGrp="1"/>
          </p:cNvSpPr>
          <p:nvPr>
            <p:ph type="title"/>
          </p:nvPr>
        </p:nvSpPr>
        <p:spPr>
          <a:xfrm>
            <a:off x="383931" y="216200"/>
            <a:ext cx="7145936" cy="195691"/>
          </a:xfrm>
        </p:spPr>
        <p:txBody>
          <a:bodyPr/>
          <a:lstStyle>
            <a:lvl1pPr>
              <a:defRPr baseline="0"/>
            </a:lvl1pPr>
          </a:lstStyle>
          <a:p>
            <a:r>
              <a:rPr lang="de-DE"/>
              <a:t>Titelmasterformat durch Klicken bearbeiten</a:t>
            </a:r>
          </a:p>
        </p:txBody>
      </p:sp>
      <p:sp>
        <p:nvSpPr>
          <p:cNvPr id="11" name="Textplatzhalter 2"/>
          <p:cNvSpPr>
            <a:spLocks noGrp="1"/>
          </p:cNvSpPr>
          <p:nvPr>
            <p:ph type="body" idx="13"/>
          </p:nvPr>
        </p:nvSpPr>
        <p:spPr>
          <a:xfrm>
            <a:off x="383931" y="411891"/>
            <a:ext cx="7145936" cy="216200"/>
          </a:xfrm>
        </p:spPr>
        <p:txBody>
          <a:bodyPr tIns="0"/>
          <a:lstStyle>
            <a:lvl1pPr marL="0" indent="0">
              <a:buNone/>
              <a:defRPr sz="1501" cap="all" baseline="0">
                <a:solidFill>
                  <a:schemeClr val="accent4"/>
                </a:solidFill>
              </a:defRPr>
            </a:lvl1pPr>
            <a:lvl2pPr marL="343220" indent="0">
              <a:buNone/>
              <a:defRPr sz="1351">
                <a:solidFill>
                  <a:schemeClr val="tx1">
                    <a:tint val="75000"/>
                  </a:schemeClr>
                </a:solidFill>
              </a:defRPr>
            </a:lvl2pPr>
            <a:lvl3pPr marL="686440" indent="0">
              <a:buNone/>
              <a:defRPr sz="1201">
                <a:solidFill>
                  <a:schemeClr val="tx1">
                    <a:tint val="75000"/>
                  </a:schemeClr>
                </a:solidFill>
              </a:defRPr>
            </a:lvl3pPr>
            <a:lvl4pPr marL="1029660" indent="0">
              <a:buNone/>
              <a:defRPr sz="1051">
                <a:solidFill>
                  <a:schemeClr val="tx1">
                    <a:tint val="75000"/>
                  </a:schemeClr>
                </a:solidFill>
              </a:defRPr>
            </a:lvl4pPr>
            <a:lvl5pPr marL="1372880" indent="0">
              <a:buNone/>
              <a:defRPr sz="1051">
                <a:solidFill>
                  <a:schemeClr val="tx1">
                    <a:tint val="75000"/>
                  </a:schemeClr>
                </a:solidFill>
              </a:defRPr>
            </a:lvl5pPr>
            <a:lvl6pPr marL="1716100" indent="0">
              <a:buNone/>
              <a:defRPr sz="1051">
                <a:solidFill>
                  <a:schemeClr val="tx1">
                    <a:tint val="75000"/>
                  </a:schemeClr>
                </a:solidFill>
              </a:defRPr>
            </a:lvl6pPr>
            <a:lvl7pPr marL="2059320" indent="0">
              <a:buNone/>
              <a:defRPr sz="1051">
                <a:solidFill>
                  <a:schemeClr val="tx1">
                    <a:tint val="75000"/>
                  </a:schemeClr>
                </a:solidFill>
              </a:defRPr>
            </a:lvl7pPr>
            <a:lvl8pPr marL="2402540" indent="0">
              <a:buNone/>
              <a:defRPr sz="1051">
                <a:solidFill>
                  <a:schemeClr val="tx1">
                    <a:tint val="75000"/>
                  </a:schemeClr>
                </a:solidFill>
              </a:defRPr>
            </a:lvl8pPr>
            <a:lvl9pPr marL="2745760" indent="0">
              <a:buNone/>
              <a:defRPr sz="1051">
                <a:solidFill>
                  <a:schemeClr val="tx1">
                    <a:tint val="75000"/>
                  </a:schemeClr>
                </a:solidFill>
              </a:defRPr>
            </a:lvl9pPr>
          </a:lstStyle>
          <a:p>
            <a:pPr lvl="0"/>
            <a:r>
              <a:rPr lang="de-DE"/>
              <a:t>Textmasterformat bearbeiten</a:t>
            </a:r>
          </a:p>
        </p:txBody>
      </p:sp>
      <p:sp>
        <p:nvSpPr>
          <p:cNvPr id="6" name="Datumsplatzhalter 3"/>
          <p:cNvSpPr>
            <a:spLocks noGrp="1"/>
          </p:cNvSpPr>
          <p:nvPr>
            <p:ph type="dt" sz="half" idx="15"/>
          </p:nvPr>
        </p:nvSpPr>
        <p:spPr/>
        <p:txBody>
          <a:bodyPr/>
          <a:lstStyle>
            <a:lvl1pPr>
              <a:defRPr/>
            </a:lvl1pPr>
          </a:lstStyle>
          <a:p>
            <a:pPr>
              <a:defRPr/>
            </a:pPr>
            <a:endParaRPr lang="de-DE">
              <a:solidFill>
                <a:srgbClr val="6E7A82"/>
              </a:solidFill>
            </a:endParaRPr>
          </a:p>
        </p:txBody>
      </p:sp>
      <p:sp>
        <p:nvSpPr>
          <p:cNvPr id="7" name="Fußzeilenplatzhalter 4"/>
          <p:cNvSpPr>
            <a:spLocks noGrp="1"/>
          </p:cNvSpPr>
          <p:nvPr>
            <p:ph type="ftr" sz="quarter" idx="16"/>
          </p:nvPr>
        </p:nvSpPr>
        <p:spPr/>
        <p:txBody>
          <a:bodyPr/>
          <a:lstStyle>
            <a:lvl1pPr>
              <a:defRPr/>
            </a:lvl1pPr>
          </a:lstStyle>
          <a:p>
            <a:pPr>
              <a:defRPr/>
            </a:pPr>
            <a:r>
              <a:rPr lang="de-DE">
                <a:solidFill>
                  <a:srgbClr val="007FC3"/>
                </a:solidFill>
              </a:rPr>
              <a:t>SICK | January 2015 | Confidential</a:t>
            </a:r>
          </a:p>
        </p:txBody>
      </p:sp>
      <p:sp>
        <p:nvSpPr>
          <p:cNvPr id="8" name="Foliennummernplatzhalter 5"/>
          <p:cNvSpPr>
            <a:spLocks noGrp="1"/>
          </p:cNvSpPr>
          <p:nvPr>
            <p:ph type="sldNum" sz="quarter" idx="17"/>
          </p:nvPr>
        </p:nvSpPr>
        <p:spPr/>
        <p:txBody>
          <a:bodyPr/>
          <a:lstStyle>
            <a:lvl1pPr>
              <a:defRPr/>
            </a:lvl1pPr>
          </a:lstStyle>
          <a:p>
            <a:pPr>
              <a:defRPr/>
            </a:pPr>
            <a:fld id="{1111FFF3-2044-4F28-9E29-135AAF8BAE50}" type="slidenum">
              <a:rPr lang="de-DE">
                <a:solidFill>
                  <a:srgbClr val="6E7A82"/>
                </a:solidFill>
              </a:rPr>
              <a:pPr>
                <a:defRPr/>
              </a:pPr>
              <a:t>‹#›</a:t>
            </a:fld>
            <a:endParaRPr lang="de-DE">
              <a:solidFill>
                <a:srgbClr val="6E7A82"/>
              </a:solidFill>
            </a:endParaRPr>
          </a:p>
        </p:txBody>
      </p:sp>
    </p:spTree>
    <p:extLst>
      <p:ext uri="{BB962C8B-B14F-4D97-AF65-F5344CB8AC3E}">
        <p14:creationId xmlns:p14="http://schemas.microsoft.com/office/powerpoint/2010/main" val="1280316378"/>
      </p:ext>
    </p:extLst>
  </p:cSld>
  <p:clrMapOvr>
    <a:masterClrMapping/>
  </p:clrMapOvr>
  <p:transition>
    <p:zoom/>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Inhalt 2-spaltig">
    <p:spTree>
      <p:nvGrpSpPr>
        <p:cNvPr id="1" name=""/>
        <p:cNvGrpSpPr/>
        <p:nvPr/>
      </p:nvGrpSpPr>
      <p:grpSpPr>
        <a:xfrm>
          <a:off x="0" y="0"/>
          <a:ext cx="0" cy="0"/>
          <a:chOff x="0" y="0"/>
          <a:chExt cx="0" cy="0"/>
        </a:xfrm>
      </p:grpSpPr>
      <p:cxnSp>
        <p:nvCxnSpPr>
          <p:cNvPr id="8" name="Gerade Verbindung 7"/>
          <p:cNvCxnSpPr/>
          <p:nvPr userDrawn="1"/>
        </p:nvCxnSpPr>
        <p:spPr>
          <a:xfrm>
            <a:off x="0" y="946232"/>
            <a:ext cx="9144000" cy="0"/>
          </a:xfrm>
          <a:prstGeom prst="line">
            <a:avLst/>
          </a:prstGeom>
          <a:ln w="9525" cap="sq">
            <a:solidFill>
              <a:srgbClr val="C4CACE"/>
            </a:solidFill>
            <a:miter lim="800000"/>
          </a:ln>
        </p:spPr>
        <p:style>
          <a:lnRef idx="1">
            <a:schemeClr val="accent1"/>
          </a:lnRef>
          <a:fillRef idx="0">
            <a:schemeClr val="accent1"/>
          </a:fillRef>
          <a:effectRef idx="0">
            <a:schemeClr val="accent1"/>
          </a:effectRef>
          <a:fontRef idx="minor">
            <a:schemeClr val="tx1"/>
          </a:fontRef>
        </p:style>
      </p:cxnSp>
      <p:sp>
        <p:nvSpPr>
          <p:cNvPr id="3" name="Inhaltsplatzhalter 2"/>
          <p:cNvSpPr>
            <a:spLocks noGrp="1"/>
          </p:cNvSpPr>
          <p:nvPr>
            <p:ph sz="half" idx="1"/>
          </p:nvPr>
        </p:nvSpPr>
        <p:spPr>
          <a:xfrm>
            <a:off x="383932" y="979479"/>
            <a:ext cx="4116068" cy="3973341"/>
          </a:xfrm>
        </p:spPr>
        <p:txBody>
          <a:bodyPr bIns="72000"/>
          <a:lstStyle>
            <a:lvl1pPr>
              <a:defRPr sz="1501"/>
            </a:lvl1pPr>
            <a:lvl2pPr>
              <a:defRPr sz="1276"/>
            </a:lvl2pPr>
            <a:lvl3pPr>
              <a:defRPr sz="1201"/>
            </a:lvl3pPr>
            <a:lvl4pPr>
              <a:defRPr sz="826"/>
            </a:lvl4pPr>
            <a:lvl5pPr>
              <a:defRPr sz="1351"/>
            </a:lvl5pPr>
            <a:lvl6pPr>
              <a:defRPr sz="1351"/>
            </a:lvl6pPr>
            <a:lvl7pPr>
              <a:defRPr sz="1351"/>
            </a:lvl7pPr>
            <a:lvl8pPr>
              <a:defRPr sz="1351"/>
            </a:lvl8pPr>
            <a:lvl9pPr>
              <a:defRPr sz="1351"/>
            </a:lvl9pPr>
          </a:lstStyle>
          <a:p>
            <a:pPr lvl="0"/>
            <a:r>
              <a:rPr lang="de-DE"/>
              <a:t>Textmasterformat bearbeiten</a:t>
            </a:r>
          </a:p>
          <a:p>
            <a:pPr lvl="1"/>
            <a:r>
              <a:rPr lang="de-DE"/>
              <a:t>Zweite Ebene</a:t>
            </a:r>
          </a:p>
          <a:p>
            <a:pPr lvl="2"/>
            <a:r>
              <a:rPr lang="de-DE"/>
              <a:t>Dritte Ebene</a:t>
            </a:r>
          </a:p>
        </p:txBody>
      </p:sp>
      <p:sp>
        <p:nvSpPr>
          <p:cNvPr id="4" name="Inhaltsplatzhalter 3"/>
          <p:cNvSpPr>
            <a:spLocks noGrp="1"/>
          </p:cNvSpPr>
          <p:nvPr>
            <p:ph sz="half" idx="2"/>
          </p:nvPr>
        </p:nvSpPr>
        <p:spPr>
          <a:xfrm>
            <a:off x="4644000" y="979479"/>
            <a:ext cx="4116069" cy="3973341"/>
          </a:xfrm>
        </p:spPr>
        <p:txBody>
          <a:bodyPr bIns="72000"/>
          <a:lstStyle>
            <a:lvl1pPr>
              <a:defRPr sz="1426"/>
            </a:lvl1pPr>
            <a:lvl2pPr>
              <a:defRPr sz="1351"/>
            </a:lvl2pPr>
            <a:lvl3pPr>
              <a:defRPr sz="1126"/>
            </a:lvl3pPr>
            <a:lvl4pPr>
              <a:defRPr sz="826"/>
            </a:lvl4pPr>
            <a:lvl5pPr>
              <a:defRPr sz="1351"/>
            </a:lvl5pPr>
            <a:lvl6pPr>
              <a:defRPr sz="1351"/>
            </a:lvl6pPr>
            <a:lvl7pPr>
              <a:defRPr sz="1351"/>
            </a:lvl7pPr>
            <a:lvl8pPr>
              <a:defRPr sz="1351"/>
            </a:lvl8pPr>
            <a:lvl9pPr>
              <a:defRPr sz="1351"/>
            </a:lvl9pPr>
          </a:lstStyle>
          <a:p>
            <a:pPr lvl="0"/>
            <a:r>
              <a:rPr lang="de-DE"/>
              <a:t>Textmasterformat bearbeiten</a:t>
            </a:r>
          </a:p>
          <a:p>
            <a:pPr lvl="1"/>
            <a:r>
              <a:rPr lang="de-DE"/>
              <a:t>Zweite Ebene</a:t>
            </a:r>
          </a:p>
          <a:p>
            <a:pPr lvl="2"/>
            <a:r>
              <a:rPr lang="de-DE"/>
              <a:t>Dritte Ebene</a:t>
            </a:r>
          </a:p>
        </p:txBody>
      </p:sp>
      <p:sp>
        <p:nvSpPr>
          <p:cNvPr id="9" name="Textplatzhalter 2"/>
          <p:cNvSpPr>
            <a:spLocks noGrp="1"/>
          </p:cNvSpPr>
          <p:nvPr>
            <p:ph type="body" idx="14"/>
          </p:nvPr>
        </p:nvSpPr>
        <p:spPr>
          <a:xfrm>
            <a:off x="383931" y="675625"/>
            <a:ext cx="4115358" cy="270250"/>
          </a:xfrm>
        </p:spPr>
        <p:txBody>
          <a:bodyPr tIns="0" anchor="ctr"/>
          <a:lstStyle>
            <a:lvl1pPr marL="0" indent="0" algn="ctr">
              <a:buNone/>
              <a:defRPr sz="1351" b="0" cap="all" baseline="0">
                <a:solidFill>
                  <a:schemeClr val="accent2"/>
                </a:solidFill>
              </a:defRPr>
            </a:lvl1pPr>
            <a:lvl2pPr marL="343220" indent="0">
              <a:buNone/>
              <a:defRPr sz="1351">
                <a:solidFill>
                  <a:schemeClr val="tx1">
                    <a:tint val="75000"/>
                  </a:schemeClr>
                </a:solidFill>
              </a:defRPr>
            </a:lvl2pPr>
            <a:lvl3pPr marL="686440" indent="0">
              <a:buNone/>
              <a:defRPr sz="1201">
                <a:solidFill>
                  <a:schemeClr val="tx1">
                    <a:tint val="75000"/>
                  </a:schemeClr>
                </a:solidFill>
              </a:defRPr>
            </a:lvl3pPr>
            <a:lvl4pPr marL="1029660" indent="0">
              <a:buNone/>
              <a:defRPr sz="1051">
                <a:solidFill>
                  <a:schemeClr val="tx1">
                    <a:tint val="75000"/>
                  </a:schemeClr>
                </a:solidFill>
              </a:defRPr>
            </a:lvl4pPr>
            <a:lvl5pPr marL="1372880" indent="0">
              <a:buNone/>
              <a:defRPr sz="1051">
                <a:solidFill>
                  <a:schemeClr val="tx1">
                    <a:tint val="75000"/>
                  </a:schemeClr>
                </a:solidFill>
              </a:defRPr>
            </a:lvl5pPr>
            <a:lvl6pPr marL="1716100" indent="0">
              <a:buNone/>
              <a:defRPr sz="1051">
                <a:solidFill>
                  <a:schemeClr val="tx1">
                    <a:tint val="75000"/>
                  </a:schemeClr>
                </a:solidFill>
              </a:defRPr>
            </a:lvl6pPr>
            <a:lvl7pPr marL="2059320" indent="0">
              <a:buNone/>
              <a:defRPr sz="1051">
                <a:solidFill>
                  <a:schemeClr val="tx1">
                    <a:tint val="75000"/>
                  </a:schemeClr>
                </a:solidFill>
              </a:defRPr>
            </a:lvl7pPr>
            <a:lvl8pPr marL="2402540" indent="0">
              <a:buNone/>
              <a:defRPr sz="1051">
                <a:solidFill>
                  <a:schemeClr val="tx1">
                    <a:tint val="75000"/>
                  </a:schemeClr>
                </a:solidFill>
              </a:defRPr>
            </a:lvl8pPr>
            <a:lvl9pPr marL="2745760" indent="0">
              <a:buNone/>
              <a:defRPr sz="1051">
                <a:solidFill>
                  <a:schemeClr val="tx1">
                    <a:tint val="75000"/>
                  </a:schemeClr>
                </a:solidFill>
              </a:defRPr>
            </a:lvl9pPr>
          </a:lstStyle>
          <a:p>
            <a:pPr lvl="0"/>
            <a:r>
              <a:rPr lang="de-DE"/>
              <a:t>Textmasterformat bearbeiten</a:t>
            </a:r>
          </a:p>
        </p:txBody>
      </p:sp>
      <p:sp>
        <p:nvSpPr>
          <p:cNvPr id="13" name="Textplatzhalter 2"/>
          <p:cNvSpPr>
            <a:spLocks noGrp="1"/>
          </p:cNvSpPr>
          <p:nvPr>
            <p:ph type="body" idx="16"/>
          </p:nvPr>
        </p:nvSpPr>
        <p:spPr>
          <a:xfrm>
            <a:off x="4644000" y="675625"/>
            <a:ext cx="4116069" cy="270250"/>
          </a:xfrm>
        </p:spPr>
        <p:txBody>
          <a:bodyPr tIns="0" anchor="ctr"/>
          <a:lstStyle>
            <a:lvl1pPr marL="0" indent="0" algn="ctr">
              <a:buNone/>
              <a:defRPr sz="1351" b="0" cap="all" baseline="0">
                <a:solidFill>
                  <a:schemeClr val="accent2"/>
                </a:solidFill>
              </a:defRPr>
            </a:lvl1pPr>
            <a:lvl2pPr marL="343220" indent="0">
              <a:buNone/>
              <a:defRPr sz="1351">
                <a:solidFill>
                  <a:schemeClr val="tx1">
                    <a:tint val="75000"/>
                  </a:schemeClr>
                </a:solidFill>
              </a:defRPr>
            </a:lvl2pPr>
            <a:lvl3pPr marL="686440" indent="0">
              <a:buNone/>
              <a:defRPr sz="1201">
                <a:solidFill>
                  <a:schemeClr val="tx1">
                    <a:tint val="75000"/>
                  </a:schemeClr>
                </a:solidFill>
              </a:defRPr>
            </a:lvl3pPr>
            <a:lvl4pPr marL="1029660" indent="0">
              <a:buNone/>
              <a:defRPr sz="1051">
                <a:solidFill>
                  <a:schemeClr val="tx1">
                    <a:tint val="75000"/>
                  </a:schemeClr>
                </a:solidFill>
              </a:defRPr>
            </a:lvl4pPr>
            <a:lvl5pPr marL="1372880" indent="0">
              <a:buNone/>
              <a:defRPr sz="1051">
                <a:solidFill>
                  <a:schemeClr val="tx1">
                    <a:tint val="75000"/>
                  </a:schemeClr>
                </a:solidFill>
              </a:defRPr>
            </a:lvl5pPr>
            <a:lvl6pPr marL="1716100" indent="0">
              <a:buNone/>
              <a:defRPr sz="1051">
                <a:solidFill>
                  <a:schemeClr val="tx1">
                    <a:tint val="75000"/>
                  </a:schemeClr>
                </a:solidFill>
              </a:defRPr>
            </a:lvl6pPr>
            <a:lvl7pPr marL="2059320" indent="0">
              <a:buNone/>
              <a:defRPr sz="1051">
                <a:solidFill>
                  <a:schemeClr val="tx1">
                    <a:tint val="75000"/>
                  </a:schemeClr>
                </a:solidFill>
              </a:defRPr>
            </a:lvl7pPr>
            <a:lvl8pPr marL="2402540" indent="0">
              <a:buNone/>
              <a:defRPr sz="1051">
                <a:solidFill>
                  <a:schemeClr val="tx1">
                    <a:tint val="75000"/>
                  </a:schemeClr>
                </a:solidFill>
              </a:defRPr>
            </a:lvl8pPr>
            <a:lvl9pPr marL="2745760" indent="0">
              <a:buNone/>
              <a:defRPr sz="1051">
                <a:solidFill>
                  <a:schemeClr val="tx1">
                    <a:tint val="75000"/>
                  </a:schemeClr>
                </a:solidFill>
              </a:defRPr>
            </a:lvl9pPr>
          </a:lstStyle>
          <a:p>
            <a:pPr lvl="0"/>
            <a:r>
              <a:rPr lang="de-DE"/>
              <a:t>Textmasterformat bearbeiten</a:t>
            </a:r>
          </a:p>
        </p:txBody>
      </p:sp>
      <p:sp>
        <p:nvSpPr>
          <p:cNvPr id="15" name="Titel 1"/>
          <p:cNvSpPr>
            <a:spLocks noGrp="1"/>
          </p:cNvSpPr>
          <p:nvPr>
            <p:ph type="title"/>
          </p:nvPr>
        </p:nvSpPr>
        <p:spPr>
          <a:xfrm>
            <a:off x="383931" y="216200"/>
            <a:ext cx="7145936" cy="195691"/>
          </a:xfrm>
        </p:spPr>
        <p:txBody>
          <a:bodyPr/>
          <a:lstStyle>
            <a:lvl1pPr>
              <a:defRPr baseline="0"/>
            </a:lvl1pPr>
          </a:lstStyle>
          <a:p>
            <a:r>
              <a:rPr lang="de-DE"/>
              <a:t>Titelmasterformat durch Klicken bearbeiten</a:t>
            </a:r>
          </a:p>
        </p:txBody>
      </p:sp>
      <p:sp>
        <p:nvSpPr>
          <p:cNvPr id="16" name="Textplatzhalter 2"/>
          <p:cNvSpPr>
            <a:spLocks noGrp="1"/>
          </p:cNvSpPr>
          <p:nvPr>
            <p:ph type="body" idx="13"/>
          </p:nvPr>
        </p:nvSpPr>
        <p:spPr>
          <a:xfrm>
            <a:off x="383931" y="411891"/>
            <a:ext cx="7145936" cy="216200"/>
          </a:xfrm>
        </p:spPr>
        <p:txBody>
          <a:bodyPr tIns="0"/>
          <a:lstStyle>
            <a:lvl1pPr marL="0" indent="0">
              <a:buNone/>
              <a:defRPr sz="1501" cap="all" baseline="0">
                <a:solidFill>
                  <a:schemeClr val="accent4"/>
                </a:solidFill>
              </a:defRPr>
            </a:lvl1pPr>
            <a:lvl2pPr marL="343220" indent="0">
              <a:buNone/>
              <a:defRPr sz="1351">
                <a:solidFill>
                  <a:schemeClr val="tx1">
                    <a:tint val="75000"/>
                  </a:schemeClr>
                </a:solidFill>
              </a:defRPr>
            </a:lvl2pPr>
            <a:lvl3pPr marL="686440" indent="0">
              <a:buNone/>
              <a:defRPr sz="1201">
                <a:solidFill>
                  <a:schemeClr val="tx1">
                    <a:tint val="75000"/>
                  </a:schemeClr>
                </a:solidFill>
              </a:defRPr>
            </a:lvl3pPr>
            <a:lvl4pPr marL="1029660" indent="0">
              <a:buNone/>
              <a:defRPr sz="1051">
                <a:solidFill>
                  <a:schemeClr val="tx1">
                    <a:tint val="75000"/>
                  </a:schemeClr>
                </a:solidFill>
              </a:defRPr>
            </a:lvl4pPr>
            <a:lvl5pPr marL="1372880" indent="0">
              <a:buNone/>
              <a:defRPr sz="1051">
                <a:solidFill>
                  <a:schemeClr val="tx1">
                    <a:tint val="75000"/>
                  </a:schemeClr>
                </a:solidFill>
              </a:defRPr>
            </a:lvl5pPr>
            <a:lvl6pPr marL="1716100" indent="0">
              <a:buNone/>
              <a:defRPr sz="1051">
                <a:solidFill>
                  <a:schemeClr val="tx1">
                    <a:tint val="75000"/>
                  </a:schemeClr>
                </a:solidFill>
              </a:defRPr>
            </a:lvl6pPr>
            <a:lvl7pPr marL="2059320" indent="0">
              <a:buNone/>
              <a:defRPr sz="1051">
                <a:solidFill>
                  <a:schemeClr val="tx1">
                    <a:tint val="75000"/>
                  </a:schemeClr>
                </a:solidFill>
              </a:defRPr>
            </a:lvl7pPr>
            <a:lvl8pPr marL="2402540" indent="0">
              <a:buNone/>
              <a:defRPr sz="1051">
                <a:solidFill>
                  <a:schemeClr val="tx1">
                    <a:tint val="75000"/>
                  </a:schemeClr>
                </a:solidFill>
              </a:defRPr>
            </a:lvl8pPr>
            <a:lvl9pPr marL="2745760" indent="0">
              <a:buNone/>
              <a:defRPr sz="1051">
                <a:solidFill>
                  <a:schemeClr val="tx1">
                    <a:tint val="75000"/>
                  </a:schemeClr>
                </a:solidFill>
              </a:defRPr>
            </a:lvl9pPr>
          </a:lstStyle>
          <a:p>
            <a:pPr lvl="0"/>
            <a:r>
              <a:rPr lang="de-DE"/>
              <a:t>Textmasterformat bearbeiten</a:t>
            </a:r>
          </a:p>
        </p:txBody>
      </p:sp>
      <p:sp>
        <p:nvSpPr>
          <p:cNvPr id="10" name="Datumsplatzhalter 4"/>
          <p:cNvSpPr>
            <a:spLocks noGrp="1"/>
          </p:cNvSpPr>
          <p:nvPr>
            <p:ph type="dt" sz="half" idx="17"/>
          </p:nvPr>
        </p:nvSpPr>
        <p:spPr/>
        <p:txBody>
          <a:bodyPr/>
          <a:lstStyle>
            <a:lvl1pPr>
              <a:defRPr/>
            </a:lvl1pPr>
          </a:lstStyle>
          <a:p>
            <a:pPr>
              <a:defRPr/>
            </a:pPr>
            <a:endParaRPr lang="de-DE">
              <a:solidFill>
                <a:srgbClr val="6E7A82"/>
              </a:solidFill>
            </a:endParaRPr>
          </a:p>
        </p:txBody>
      </p:sp>
      <p:sp>
        <p:nvSpPr>
          <p:cNvPr id="11" name="Fußzeilenplatzhalter 5"/>
          <p:cNvSpPr>
            <a:spLocks noGrp="1"/>
          </p:cNvSpPr>
          <p:nvPr>
            <p:ph type="ftr" sz="quarter" idx="18"/>
          </p:nvPr>
        </p:nvSpPr>
        <p:spPr/>
        <p:txBody>
          <a:bodyPr/>
          <a:lstStyle>
            <a:lvl1pPr>
              <a:defRPr/>
            </a:lvl1pPr>
          </a:lstStyle>
          <a:p>
            <a:pPr>
              <a:defRPr/>
            </a:pPr>
            <a:r>
              <a:rPr lang="de-DE">
                <a:solidFill>
                  <a:srgbClr val="007FC3"/>
                </a:solidFill>
              </a:rPr>
              <a:t>SICK | January 2015 | Confidential</a:t>
            </a:r>
          </a:p>
        </p:txBody>
      </p:sp>
      <p:sp>
        <p:nvSpPr>
          <p:cNvPr id="12" name="Foliennummernplatzhalter 6"/>
          <p:cNvSpPr>
            <a:spLocks noGrp="1"/>
          </p:cNvSpPr>
          <p:nvPr>
            <p:ph type="sldNum" sz="quarter" idx="19"/>
          </p:nvPr>
        </p:nvSpPr>
        <p:spPr/>
        <p:txBody>
          <a:bodyPr/>
          <a:lstStyle>
            <a:lvl1pPr>
              <a:defRPr/>
            </a:lvl1pPr>
          </a:lstStyle>
          <a:p>
            <a:pPr>
              <a:defRPr/>
            </a:pPr>
            <a:fld id="{C3CBCF7C-F037-43F8-B9D2-E65253612A0E}" type="slidenum">
              <a:rPr lang="de-DE">
                <a:solidFill>
                  <a:srgbClr val="6E7A82"/>
                </a:solidFill>
              </a:rPr>
              <a:pPr>
                <a:defRPr/>
              </a:pPr>
              <a:t>‹#›</a:t>
            </a:fld>
            <a:endParaRPr lang="de-DE">
              <a:solidFill>
                <a:srgbClr val="6E7A82"/>
              </a:solidFill>
            </a:endParaRPr>
          </a:p>
        </p:txBody>
      </p:sp>
    </p:spTree>
    <p:extLst>
      <p:ext uri="{BB962C8B-B14F-4D97-AF65-F5344CB8AC3E}">
        <p14:creationId xmlns:p14="http://schemas.microsoft.com/office/powerpoint/2010/main" val="2000858745"/>
      </p:ext>
    </p:extLst>
  </p:cSld>
  <p:clrMapOvr>
    <a:masterClrMapping/>
  </p:clrMapOvr>
  <p:transition>
    <p:zoom/>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Inhalt 3-spaltig">
    <p:spTree>
      <p:nvGrpSpPr>
        <p:cNvPr id="1" name=""/>
        <p:cNvGrpSpPr/>
        <p:nvPr/>
      </p:nvGrpSpPr>
      <p:grpSpPr>
        <a:xfrm>
          <a:off x="0" y="0"/>
          <a:ext cx="0" cy="0"/>
          <a:chOff x="0" y="0"/>
          <a:chExt cx="0" cy="0"/>
        </a:xfrm>
      </p:grpSpPr>
      <p:cxnSp>
        <p:nvCxnSpPr>
          <p:cNvPr id="10" name="Gerade Verbindung 9"/>
          <p:cNvCxnSpPr/>
          <p:nvPr userDrawn="1"/>
        </p:nvCxnSpPr>
        <p:spPr>
          <a:xfrm>
            <a:off x="0" y="946232"/>
            <a:ext cx="9144000" cy="0"/>
          </a:xfrm>
          <a:prstGeom prst="line">
            <a:avLst/>
          </a:prstGeom>
          <a:ln w="9525" cap="sq">
            <a:solidFill>
              <a:srgbClr val="C4CACE"/>
            </a:solidFill>
            <a:miter lim="800000"/>
          </a:ln>
        </p:spPr>
        <p:style>
          <a:lnRef idx="1">
            <a:schemeClr val="accent1"/>
          </a:lnRef>
          <a:fillRef idx="0">
            <a:schemeClr val="accent1"/>
          </a:fillRef>
          <a:effectRef idx="0">
            <a:schemeClr val="accent1"/>
          </a:effectRef>
          <a:fontRef idx="minor">
            <a:schemeClr val="tx1"/>
          </a:fontRef>
        </p:style>
      </p:cxnSp>
      <p:sp>
        <p:nvSpPr>
          <p:cNvPr id="3" name="Inhaltsplatzhalter 2"/>
          <p:cNvSpPr>
            <a:spLocks noGrp="1"/>
          </p:cNvSpPr>
          <p:nvPr>
            <p:ph sz="half" idx="1"/>
          </p:nvPr>
        </p:nvSpPr>
        <p:spPr>
          <a:xfrm>
            <a:off x="383930" y="979479"/>
            <a:ext cx="2758154" cy="3973341"/>
          </a:xfrm>
        </p:spPr>
        <p:txBody>
          <a:bodyPr bIns="72000"/>
          <a:lstStyle>
            <a:lvl1pPr>
              <a:defRPr sz="1501"/>
            </a:lvl1pPr>
            <a:lvl2pPr>
              <a:defRPr sz="1351"/>
            </a:lvl2pPr>
            <a:lvl3pPr>
              <a:defRPr sz="1201"/>
            </a:lvl3pPr>
            <a:lvl4pPr>
              <a:defRPr sz="826"/>
            </a:lvl4pPr>
            <a:lvl5pPr>
              <a:defRPr sz="1351"/>
            </a:lvl5pPr>
            <a:lvl6pPr>
              <a:defRPr sz="1351"/>
            </a:lvl6pPr>
            <a:lvl7pPr>
              <a:defRPr sz="1351"/>
            </a:lvl7pPr>
            <a:lvl8pPr>
              <a:defRPr sz="1351"/>
            </a:lvl8pPr>
            <a:lvl9pPr>
              <a:defRPr sz="1351"/>
            </a:lvl9pPr>
          </a:lstStyle>
          <a:p>
            <a:pPr lvl="0"/>
            <a:r>
              <a:rPr lang="de-DE"/>
              <a:t>Textmasterformat bearbeiten</a:t>
            </a:r>
          </a:p>
          <a:p>
            <a:pPr lvl="1"/>
            <a:r>
              <a:rPr lang="de-DE"/>
              <a:t>Zweite Ebene</a:t>
            </a:r>
          </a:p>
          <a:p>
            <a:pPr lvl="2"/>
            <a:r>
              <a:rPr lang="de-DE"/>
              <a:t>Dritte Ebene</a:t>
            </a:r>
          </a:p>
        </p:txBody>
      </p:sp>
      <p:sp>
        <p:nvSpPr>
          <p:cNvPr id="4" name="Inhaltsplatzhalter 3"/>
          <p:cNvSpPr>
            <a:spLocks noGrp="1"/>
          </p:cNvSpPr>
          <p:nvPr>
            <p:ph sz="half" idx="2"/>
          </p:nvPr>
        </p:nvSpPr>
        <p:spPr>
          <a:xfrm>
            <a:off x="3192505" y="979479"/>
            <a:ext cx="2758154" cy="3973341"/>
          </a:xfrm>
        </p:spPr>
        <p:txBody>
          <a:bodyPr bIns="72000"/>
          <a:lstStyle>
            <a:lvl1pPr>
              <a:defRPr sz="1501"/>
            </a:lvl1pPr>
            <a:lvl2pPr>
              <a:defRPr sz="1351"/>
            </a:lvl2pPr>
            <a:lvl3pPr>
              <a:defRPr sz="1201"/>
            </a:lvl3pPr>
            <a:lvl4pPr>
              <a:defRPr sz="826"/>
            </a:lvl4pPr>
            <a:lvl5pPr>
              <a:defRPr sz="1351"/>
            </a:lvl5pPr>
            <a:lvl6pPr>
              <a:defRPr sz="1351"/>
            </a:lvl6pPr>
            <a:lvl7pPr>
              <a:defRPr sz="1351"/>
            </a:lvl7pPr>
            <a:lvl8pPr>
              <a:defRPr sz="1351"/>
            </a:lvl8pPr>
            <a:lvl9pPr>
              <a:defRPr sz="1351"/>
            </a:lvl9pPr>
          </a:lstStyle>
          <a:p>
            <a:pPr lvl="0"/>
            <a:r>
              <a:rPr lang="de-DE"/>
              <a:t>Textmasterformat bearbeiten</a:t>
            </a:r>
          </a:p>
          <a:p>
            <a:pPr lvl="1"/>
            <a:r>
              <a:rPr lang="de-DE"/>
              <a:t>Zweite Ebene</a:t>
            </a:r>
          </a:p>
          <a:p>
            <a:pPr lvl="2"/>
            <a:r>
              <a:rPr lang="de-DE"/>
              <a:t>Dritte Ebene</a:t>
            </a:r>
          </a:p>
        </p:txBody>
      </p:sp>
      <p:sp>
        <p:nvSpPr>
          <p:cNvPr id="9" name="Textplatzhalter 2"/>
          <p:cNvSpPr>
            <a:spLocks noGrp="1"/>
          </p:cNvSpPr>
          <p:nvPr>
            <p:ph type="body" idx="14"/>
          </p:nvPr>
        </p:nvSpPr>
        <p:spPr>
          <a:xfrm>
            <a:off x="383930" y="675625"/>
            <a:ext cx="2758154" cy="270250"/>
          </a:xfrm>
        </p:spPr>
        <p:txBody>
          <a:bodyPr tIns="0" anchor="ctr"/>
          <a:lstStyle>
            <a:lvl1pPr marL="0" indent="0" algn="ctr">
              <a:buNone/>
              <a:defRPr sz="1351" b="0" cap="all" baseline="0">
                <a:solidFill>
                  <a:schemeClr val="accent2"/>
                </a:solidFill>
              </a:defRPr>
            </a:lvl1pPr>
            <a:lvl2pPr marL="343220" indent="0">
              <a:buNone/>
              <a:defRPr sz="1351">
                <a:solidFill>
                  <a:schemeClr val="tx1">
                    <a:tint val="75000"/>
                  </a:schemeClr>
                </a:solidFill>
              </a:defRPr>
            </a:lvl2pPr>
            <a:lvl3pPr marL="686440" indent="0">
              <a:buNone/>
              <a:defRPr sz="1201">
                <a:solidFill>
                  <a:schemeClr val="tx1">
                    <a:tint val="75000"/>
                  </a:schemeClr>
                </a:solidFill>
              </a:defRPr>
            </a:lvl3pPr>
            <a:lvl4pPr marL="1029660" indent="0">
              <a:buNone/>
              <a:defRPr sz="1051">
                <a:solidFill>
                  <a:schemeClr val="tx1">
                    <a:tint val="75000"/>
                  </a:schemeClr>
                </a:solidFill>
              </a:defRPr>
            </a:lvl4pPr>
            <a:lvl5pPr marL="1372880" indent="0">
              <a:buNone/>
              <a:defRPr sz="1051">
                <a:solidFill>
                  <a:schemeClr val="tx1">
                    <a:tint val="75000"/>
                  </a:schemeClr>
                </a:solidFill>
              </a:defRPr>
            </a:lvl5pPr>
            <a:lvl6pPr marL="1716100" indent="0">
              <a:buNone/>
              <a:defRPr sz="1051">
                <a:solidFill>
                  <a:schemeClr val="tx1">
                    <a:tint val="75000"/>
                  </a:schemeClr>
                </a:solidFill>
              </a:defRPr>
            </a:lvl6pPr>
            <a:lvl7pPr marL="2059320" indent="0">
              <a:buNone/>
              <a:defRPr sz="1051">
                <a:solidFill>
                  <a:schemeClr val="tx1">
                    <a:tint val="75000"/>
                  </a:schemeClr>
                </a:solidFill>
              </a:defRPr>
            </a:lvl7pPr>
            <a:lvl8pPr marL="2402540" indent="0">
              <a:buNone/>
              <a:defRPr sz="1051">
                <a:solidFill>
                  <a:schemeClr val="tx1">
                    <a:tint val="75000"/>
                  </a:schemeClr>
                </a:solidFill>
              </a:defRPr>
            </a:lvl8pPr>
            <a:lvl9pPr marL="2745760" indent="0">
              <a:buNone/>
              <a:defRPr sz="1051">
                <a:solidFill>
                  <a:schemeClr val="tx1">
                    <a:tint val="75000"/>
                  </a:schemeClr>
                </a:solidFill>
              </a:defRPr>
            </a:lvl9pPr>
          </a:lstStyle>
          <a:p>
            <a:pPr lvl="0"/>
            <a:r>
              <a:rPr lang="de-DE"/>
              <a:t>Textmasterformat bearbeiten</a:t>
            </a:r>
          </a:p>
        </p:txBody>
      </p:sp>
      <p:sp>
        <p:nvSpPr>
          <p:cNvPr id="12" name="Inhaltsplatzhalter 3"/>
          <p:cNvSpPr>
            <a:spLocks noGrp="1"/>
          </p:cNvSpPr>
          <p:nvPr>
            <p:ph sz="half" idx="15"/>
          </p:nvPr>
        </p:nvSpPr>
        <p:spPr>
          <a:xfrm>
            <a:off x="6001082" y="979479"/>
            <a:ext cx="2758154" cy="3973341"/>
          </a:xfrm>
        </p:spPr>
        <p:txBody>
          <a:bodyPr bIns="72000"/>
          <a:lstStyle>
            <a:lvl1pPr>
              <a:defRPr sz="1501"/>
            </a:lvl1pPr>
            <a:lvl2pPr>
              <a:defRPr sz="1351"/>
            </a:lvl2pPr>
            <a:lvl3pPr>
              <a:defRPr sz="1201"/>
            </a:lvl3pPr>
            <a:lvl4pPr>
              <a:defRPr sz="826"/>
            </a:lvl4pPr>
            <a:lvl5pPr>
              <a:defRPr sz="1351"/>
            </a:lvl5pPr>
            <a:lvl6pPr>
              <a:defRPr sz="1351"/>
            </a:lvl6pPr>
            <a:lvl7pPr>
              <a:defRPr sz="1351"/>
            </a:lvl7pPr>
            <a:lvl8pPr>
              <a:defRPr sz="1351"/>
            </a:lvl8pPr>
            <a:lvl9pPr>
              <a:defRPr sz="1351"/>
            </a:lvl9pPr>
          </a:lstStyle>
          <a:p>
            <a:pPr lvl="0"/>
            <a:r>
              <a:rPr lang="de-DE"/>
              <a:t>Textmasterformat bearbeiten</a:t>
            </a:r>
          </a:p>
          <a:p>
            <a:pPr lvl="1"/>
            <a:r>
              <a:rPr lang="de-DE"/>
              <a:t>Zweite Ebene</a:t>
            </a:r>
          </a:p>
          <a:p>
            <a:pPr lvl="2"/>
            <a:r>
              <a:rPr lang="de-DE"/>
              <a:t>Dritte Ebene</a:t>
            </a:r>
          </a:p>
        </p:txBody>
      </p:sp>
      <p:sp>
        <p:nvSpPr>
          <p:cNvPr id="13" name="Textplatzhalter 2"/>
          <p:cNvSpPr>
            <a:spLocks noGrp="1"/>
          </p:cNvSpPr>
          <p:nvPr>
            <p:ph type="body" idx="16"/>
          </p:nvPr>
        </p:nvSpPr>
        <p:spPr>
          <a:xfrm>
            <a:off x="3192505" y="675625"/>
            <a:ext cx="2758154" cy="270250"/>
          </a:xfrm>
        </p:spPr>
        <p:txBody>
          <a:bodyPr tIns="0" anchor="ctr"/>
          <a:lstStyle>
            <a:lvl1pPr marL="0" indent="0" algn="ctr">
              <a:buNone/>
              <a:defRPr sz="1351" b="0" cap="all" baseline="0">
                <a:solidFill>
                  <a:schemeClr val="accent2"/>
                </a:solidFill>
              </a:defRPr>
            </a:lvl1pPr>
            <a:lvl2pPr marL="343220" indent="0">
              <a:buNone/>
              <a:defRPr sz="1351">
                <a:solidFill>
                  <a:schemeClr val="tx1">
                    <a:tint val="75000"/>
                  </a:schemeClr>
                </a:solidFill>
              </a:defRPr>
            </a:lvl2pPr>
            <a:lvl3pPr marL="686440" indent="0">
              <a:buNone/>
              <a:defRPr sz="1201">
                <a:solidFill>
                  <a:schemeClr val="tx1">
                    <a:tint val="75000"/>
                  </a:schemeClr>
                </a:solidFill>
              </a:defRPr>
            </a:lvl3pPr>
            <a:lvl4pPr marL="1029660" indent="0">
              <a:buNone/>
              <a:defRPr sz="1051">
                <a:solidFill>
                  <a:schemeClr val="tx1">
                    <a:tint val="75000"/>
                  </a:schemeClr>
                </a:solidFill>
              </a:defRPr>
            </a:lvl4pPr>
            <a:lvl5pPr marL="1372880" indent="0">
              <a:buNone/>
              <a:defRPr sz="1051">
                <a:solidFill>
                  <a:schemeClr val="tx1">
                    <a:tint val="75000"/>
                  </a:schemeClr>
                </a:solidFill>
              </a:defRPr>
            </a:lvl5pPr>
            <a:lvl6pPr marL="1716100" indent="0">
              <a:buNone/>
              <a:defRPr sz="1051">
                <a:solidFill>
                  <a:schemeClr val="tx1">
                    <a:tint val="75000"/>
                  </a:schemeClr>
                </a:solidFill>
              </a:defRPr>
            </a:lvl6pPr>
            <a:lvl7pPr marL="2059320" indent="0">
              <a:buNone/>
              <a:defRPr sz="1051">
                <a:solidFill>
                  <a:schemeClr val="tx1">
                    <a:tint val="75000"/>
                  </a:schemeClr>
                </a:solidFill>
              </a:defRPr>
            </a:lvl7pPr>
            <a:lvl8pPr marL="2402540" indent="0">
              <a:buNone/>
              <a:defRPr sz="1051">
                <a:solidFill>
                  <a:schemeClr val="tx1">
                    <a:tint val="75000"/>
                  </a:schemeClr>
                </a:solidFill>
              </a:defRPr>
            </a:lvl8pPr>
            <a:lvl9pPr marL="2745760" indent="0">
              <a:buNone/>
              <a:defRPr sz="1051">
                <a:solidFill>
                  <a:schemeClr val="tx1">
                    <a:tint val="75000"/>
                  </a:schemeClr>
                </a:solidFill>
              </a:defRPr>
            </a:lvl9pPr>
          </a:lstStyle>
          <a:p>
            <a:pPr lvl="0"/>
            <a:r>
              <a:rPr lang="de-DE"/>
              <a:t>Textmasterformat bearbeiten</a:t>
            </a:r>
          </a:p>
        </p:txBody>
      </p:sp>
      <p:sp>
        <p:nvSpPr>
          <p:cNvPr id="14" name="Textplatzhalter 2"/>
          <p:cNvSpPr>
            <a:spLocks noGrp="1"/>
          </p:cNvSpPr>
          <p:nvPr>
            <p:ph type="body" idx="17"/>
          </p:nvPr>
        </p:nvSpPr>
        <p:spPr>
          <a:xfrm>
            <a:off x="6001082" y="675625"/>
            <a:ext cx="2758154" cy="270250"/>
          </a:xfrm>
        </p:spPr>
        <p:txBody>
          <a:bodyPr tIns="0" anchor="ctr"/>
          <a:lstStyle>
            <a:lvl1pPr marL="0" indent="0" algn="ctr">
              <a:buNone/>
              <a:defRPr sz="1351" b="0" cap="all" baseline="0">
                <a:solidFill>
                  <a:schemeClr val="accent2"/>
                </a:solidFill>
              </a:defRPr>
            </a:lvl1pPr>
            <a:lvl2pPr marL="343220" indent="0">
              <a:buNone/>
              <a:defRPr sz="1351">
                <a:solidFill>
                  <a:schemeClr val="tx1">
                    <a:tint val="75000"/>
                  </a:schemeClr>
                </a:solidFill>
              </a:defRPr>
            </a:lvl2pPr>
            <a:lvl3pPr marL="686440" indent="0">
              <a:buNone/>
              <a:defRPr sz="1201">
                <a:solidFill>
                  <a:schemeClr val="tx1">
                    <a:tint val="75000"/>
                  </a:schemeClr>
                </a:solidFill>
              </a:defRPr>
            </a:lvl3pPr>
            <a:lvl4pPr marL="1029660" indent="0">
              <a:buNone/>
              <a:defRPr sz="1051">
                <a:solidFill>
                  <a:schemeClr val="tx1">
                    <a:tint val="75000"/>
                  </a:schemeClr>
                </a:solidFill>
              </a:defRPr>
            </a:lvl4pPr>
            <a:lvl5pPr marL="1372880" indent="0">
              <a:buNone/>
              <a:defRPr sz="1051">
                <a:solidFill>
                  <a:schemeClr val="tx1">
                    <a:tint val="75000"/>
                  </a:schemeClr>
                </a:solidFill>
              </a:defRPr>
            </a:lvl5pPr>
            <a:lvl6pPr marL="1716100" indent="0">
              <a:buNone/>
              <a:defRPr sz="1051">
                <a:solidFill>
                  <a:schemeClr val="tx1">
                    <a:tint val="75000"/>
                  </a:schemeClr>
                </a:solidFill>
              </a:defRPr>
            </a:lvl6pPr>
            <a:lvl7pPr marL="2059320" indent="0">
              <a:buNone/>
              <a:defRPr sz="1051">
                <a:solidFill>
                  <a:schemeClr val="tx1">
                    <a:tint val="75000"/>
                  </a:schemeClr>
                </a:solidFill>
              </a:defRPr>
            </a:lvl7pPr>
            <a:lvl8pPr marL="2402540" indent="0">
              <a:buNone/>
              <a:defRPr sz="1051">
                <a:solidFill>
                  <a:schemeClr val="tx1">
                    <a:tint val="75000"/>
                  </a:schemeClr>
                </a:solidFill>
              </a:defRPr>
            </a:lvl8pPr>
            <a:lvl9pPr marL="2745760" indent="0">
              <a:buNone/>
              <a:defRPr sz="1051">
                <a:solidFill>
                  <a:schemeClr val="tx1">
                    <a:tint val="75000"/>
                  </a:schemeClr>
                </a:solidFill>
              </a:defRPr>
            </a:lvl9pPr>
          </a:lstStyle>
          <a:p>
            <a:pPr lvl="0"/>
            <a:r>
              <a:rPr lang="de-DE"/>
              <a:t>Textmasterformat bearbeiten</a:t>
            </a:r>
          </a:p>
        </p:txBody>
      </p:sp>
      <p:sp>
        <p:nvSpPr>
          <p:cNvPr id="18" name="Titel 1"/>
          <p:cNvSpPr>
            <a:spLocks noGrp="1"/>
          </p:cNvSpPr>
          <p:nvPr>
            <p:ph type="title"/>
          </p:nvPr>
        </p:nvSpPr>
        <p:spPr>
          <a:xfrm>
            <a:off x="383931" y="216200"/>
            <a:ext cx="7145936" cy="195691"/>
          </a:xfrm>
        </p:spPr>
        <p:txBody>
          <a:bodyPr/>
          <a:lstStyle>
            <a:lvl1pPr>
              <a:defRPr baseline="0"/>
            </a:lvl1pPr>
          </a:lstStyle>
          <a:p>
            <a:r>
              <a:rPr lang="de-DE"/>
              <a:t>Titelmasterformat durch Klicken bearbeiten</a:t>
            </a:r>
          </a:p>
        </p:txBody>
      </p:sp>
      <p:sp>
        <p:nvSpPr>
          <p:cNvPr id="19" name="Textplatzhalter 2"/>
          <p:cNvSpPr>
            <a:spLocks noGrp="1"/>
          </p:cNvSpPr>
          <p:nvPr>
            <p:ph type="body" idx="13"/>
          </p:nvPr>
        </p:nvSpPr>
        <p:spPr>
          <a:xfrm>
            <a:off x="383931" y="411891"/>
            <a:ext cx="7145936" cy="216200"/>
          </a:xfrm>
        </p:spPr>
        <p:txBody>
          <a:bodyPr tIns="0"/>
          <a:lstStyle>
            <a:lvl1pPr marL="0" indent="0">
              <a:buNone/>
              <a:defRPr sz="1501" cap="all" baseline="0">
                <a:solidFill>
                  <a:schemeClr val="accent4"/>
                </a:solidFill>
              </a:defRPr>
            </a:lvl1pPr>
            <a:lvl2pPr marL="343220" indent="0">
              <a:buNone/>
              <a:defRPr sz="1351">
                <a:solidFill>
                  <a:schemeClr val="tx1">
                    <a:tint val="75000"/>
                  </a:schemeClr>
                </a:solidFill>
              </a:defRPr>
            </a:lvl2pPr>
            <a:lvl3pPr marL="686440" indent="0">
              <a:buNone/>
              <a:defRPr sz="1201">
                <a:solidFill>
                  <a:schemeClr val="tx1">
                    <a:tint val="75000"/>
                  </a:schemeClr>
                </a:solidFill>
              </a:defRPr>
            </a:lvl3pPr>
            <a:lvl4pPr marL="1029660" indent="0">
              <a:buNone/>
              <a:defRPr sz="1051">
                <a:solidFill>
                  <a:schemeClr val="tx1">
                    <a:tint val="75000"/>
                  </a:schemeClr>
                </a:solidFill>
              </a:defRPr>
            </a:lvl4pPr>
            <a:lvl5pPr marL="1372880" indent="0">
              <a:buNone/>
              <a:defRPr sz="1051">
                <a:solidFill>
                  <a:schemeClr val="tx1">
                    <a:tint val="75000"/>
                  </a:schemeClr>
                </a:solidFill>
              </a:defRPr>
            </a:lvl5pPr>
            <a:lvl6pPr marL="1716100" indent="0">
              <a:buNone/>
              <a:defRPr sz="1051">
                <a:solidFill>
                  <a:schemeClr val="tx1">
                    <a:tint val="75000"/>
                  </a:schemeClr>
                </a:solidFill>
              </a:defRPr>
            </a:lvl6pPr>
            <a:lvl7pPr marL="2059320" indent="0">
              <a:buNone/>
              <a:defRPr sz="1051">
                <a:solidFill>
                  <a:schemeClr val="tx1">
                    <a:tint val="75000"/>
                  </a:schemeClr>
                </a:solidFill>
              </a:defRPr>
            </a:lvl7pPr>
            <a:lvl8pPr marL="2402540" indent="0">
              <a:buNone/>
              <a:defRPr sz="1051">
                <a:solidFill>
                  <a:schemeClr val="tx1">
                    <a:tint val="75000"/>
                  </a:schemeClr>
                </a:solidFill>
              </a:defRPr>
            </a:lvl8pPr>
            <a:lvl9pPr marL="2745760" indent="0">
              <a:buNone/>
              <a:defRPr sz="1051">
                <a:solidFill>
                  <a:schemeClr val="tx1">
                    <a:tint val="75000"/>
                  </a:schemeClr>
                </a:solidFill>
              </a:defRPr>
            </a:lvl9pPr>
          </a:lstStyle>
          <a:p>
            <a:pPr lvl="0"/>
            <a:r>
              <a:rPr lang="de-DE"/>
              <a:t>Textmasterformat bearbeiten</a:t>
            </a:r>
          </a:p>
        </p:txBody>
      </p:sp>
      <p:sp>
        <p:nvSpPr>
          <p:cNvPr id="11" name="Datumsplatzhalter 4"/>
          <p:cNvSpPr>
            <a:spLocks noGrp="1"/>
          </p:cNvSpPr>
          <p:nvPr>
            <p:ph type="dt" sz="half" idx="18"/>
          </p:nvPr>
        </p:nvSpPr>
        <p:spPr/>
        <p:txBody>
          <a:bodyPr/>
          <a:lstStyle>
            <a:lvl1pPr>
              <a:defRPr/>
            </a:lvl1pPr>
          </a:lstStyle>
          <a:p>
            <a:pPr>
              <a:defRPr/>
            </a:pPr>
            <a:endParaRPr lang="de-DE">
              <a:solidFill>
                <a:srgbClr val="6E7A82"/>
              </a:solidFill>
            </a:endParaRPr>
          </a:p>
        </p:txBody>
      </p:sp>
      <p:sp>
        <p:nvSpPr>
          <p:cNvPr id="15" name="Fußzeilenplatzhalter 5"/>
          <p:cNvSpPr>
            <a:spLocks noGrp="1"/>
          </p:cNvSpPr>
          <p:nvPr>
            <p:ph type="ftr" sz="quarter" idx="19"/>
          </p:nvPr>
        </p:nvSpPr>
        <p:spPr/>
        <p:txBody>
          <a:bodyPr/>
          <a:lstStyle>
            <a:lvl1pPr>
              <a:defRPr/>
            </a:lvl1pPr>
          </a:lstStyle>
          <a:p>
            <a:pPr>
              <a:defRPr/>
            </a:pPr>
            <a:r>
              <a:rPr lang="de-DE">
                <a:solidFill>
                  <a:srgbClr val="007FC3"/>
                </a:solidFill>
              </a:rPr>
              <a:t>SICK | January 2015 | Confidential</a:t>
            </a:r>
          </a:p>
        </p:txBody>
      </p:sp>
      <p:sp>
        <p:nvSpPr>
          <p:cNvPr id="16" name="Foliennummernplatzhalter 6"/>
          <p:cNvSpPr>
            <a:spLocks noGrp="1"/>
          </p:cNvSpPr>
          <p:nvPr>
            <p:ph type="sldNum" sz="quarter" idx="20"/>
          </p:nvPr>
        </p:nvSpPr>
        <p:spPr/>
        <p:txBody>
          <a:bodyPr/>
          <a:lstStyle>
            <a:lvl1pPr>
              <a:defRPr/>
            </a:lvl1pPr>
          </a:lstStyle>
          <a:p>
            <a:pPr>
              <a:defRPr/>
            </a:pPr>
            <a:fld id="{16B21096-7603-4414-BDE7-D1CB03C88D54}" type="slidenum">
              <a:rPr lang="de-DE">
                <a:solidFill>
                  <a:srgbClr val="6E7A82"/>
                </a:solidFill>
              </a:rPr>
              <a:pPr>
                <a:defRPr/>
              </a:pPr>
              <a:t>‹#›</a:t>
            </a:fld>
            <a:endParaRPr lang="de-DE">
              <a:solidFill>
                <a:srgbClr val="6E7A82"/>
              </a:solidFill>
            </a:endParaRPr>
          </a:p>
        </p:txBody>
      </p:sp>
    </p:spTree>
    <p:extLst>
      <p:ext uri="{BB962C8B-B14F-4D97-AF65-F5344CB8AC3E}">
        <p14:creationId xmlns:p14="http://schemas.microsoft.com/office/powerpoint/2010/main" val="2172415142"/>
      </p:ext>
    </p:extLst>
  </p:cSld>
  <p:clrMapOvr>
    <a:masterClrMapping/>
  </p:clrMapOvr>
  <p:transition>
    <p:zoom/>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E79A1E9E-F4C0-E444-92A5-0404E58135FE}"/>
              </a:ext>
            </a:extLst>
          </p:cNvPr>
          <p:cNvSpPr>
            <a:spLocks noGrp="1"/>
          </p:cNvSpPr>
          <p:nvPr>
            <p:ph type="title" hasCustomPrompt="1"/>
          </p:nvPr>
        </p:nvSpPr>
        <p:spPr>
          <a:xfrm>
            <a:off x="361950" y="291592"/>
            <a:ext cx="8229600" cy="461345"/>
          </a:xfrm>
          <a:prstGeom prst="rect">
            <a:avLst/>
          </a:prstGeom>
        </p:spPr>
        <p:txBody>
          <a:bodyPr vert="horz" lIns="91440" tIns="45720" rIns="91440" bIns="45720" rtlCol="0" anchor="ctr">
            <a:spAutoFit/>
          </a:bodyPr>
          <a:lstStyle>
            <a:lvl1pPr>
              <a:defRPr b="0" cap="none">
                <a:solidFill>
                  <a:schemeClr val="accent1"/>
                </a:solidFill>
              </a:defRPr>
            </a:lvl1pPr>
          </a:lstStyle>
          <a:p>
            <a:r>
              <a:rPr lang="en-US" dirty="0"/>
              <a:t>Click to Add Title</a:t>
            </a:r>
          </a:p>
        </p:txBody>
      </p:sp>
      <p:sp>
        <p:nvSpPr>
          <p:cNvPr id="8" name="Content Placeholder 2">
            <a:extLst>
              <a:ext uri="{FF2B5EF4-FFF2-40B4-BE49-F238E27FC236}">
                <a16:creationId xmlns:a16="http://schemas.microsoft.com/office/drawing/2014/main" id="{96590667-13A5-2429-6253-5A3C333BB988}"/>
              </a:ext>
            </a:extLst>
          </p:cNvPr>
          <p:cNvSpPr>
            <a:spLocks noGrp="1"/>
          </p:cNvSpPr>
          <p:nvPr>
            <p:ph idx="1" hasCustomPrompt="1"/>
          </p:nvPr>
        </p:nvSpPr>
        <p:spPr>
          <a:xfrm>
            <a:off x="361950" y="1162751"/>
            <a:ext cx="8229600" cy="3267075"/>
          </a:xfrm>
          <a:prstGeom prst="rect">
            <a:avLst/>
          </a:prstGeom>
        </p:spPr>
        <p:txBody>
          <a:bodyPr/>
          <a:lstStyle>
            <a:lvl1pPr marL="0" indent="0">
              <a:buNone/>
              <a:defRPr sz="1399">
                <a:solidFill>
                  <a:schemeClr val="tx1"/>
                </a:solidFill>
              </a:defRPr>
            </a:lvl1pPr>
            <a:lvl2pPr marL="173038" indent="-173038">
              <a:spcBef>
                <a:spcPts val="600"/>
              </a:spcBef>
              <a:buFont typeface="System Font Regular"/>
              <a:buChar char="»"/>
              <a:tabLst/>
              <a:defRPr sz="1399">
                <a:solidFill>
                  <a:schemeClr val="tx1"/>
                </a:solidFill>
              </a:defRPr>
            </a:lvl2pPr>
            <a:lvl3pPr marL="287338" indent="-114300">
              <a:spcBef>
                <a:spcPts val="0"/>
              </a:spcBef>
              <a:buSzPct val="100000"/>
              <a:buFont typeface="Arial" panose="020B0604020202020204" pitchFamily="34" charset="0"/>
              <a:buChar char="•"/>
              <a:tabLst/>
              <a:defRPr sz="1399">
                <a:solidFill>
                  <a:schemeClr val="tx1"/>
                </a:solidFill>
              </a:defRPr>
            </a:lvl3pPr>
            <a:lvl4pPr marL="634413" indent="-174464">
              <a:buClr>
                <a:schemeClr val="accent1"/>
              </a:buClr>
              <a:buSzPct val="80000"/>
              <a:buFont typeface="Courier New" panose="02070309020205020404" pitchFamily="49" charset="0"/>
              <a:buChar char="o"/>
              <a:tabLst/>
              <a:defRPr sz="1399">
                <a:solidFill>
                  <a:schemeClr val="tx2"/>
                </a:solidFill>
              </a:defRPr>
            </a:lvl4pPr>
            <a:lvl5pPr marL="799360" indent="-164948">
              <a:buClr>
                <a:schemeClr val="accent1"/>
              </a:buClr>
              <a:buFont typeface=".AppleSystemUIFont"/>
              <a:buChar char="–"/>
              <a:tabLst/>
              <a:defRPr sz="1399">
                <a:solidFill>
                  <a:schemeClr val="tx2"/>
                </a:solidFill>
              </a:defRPr>
            </a:lvl5pPr>
          </a:lstStyle>
          <a:p>
            <a:pPr lvl="0"/>
            <a:r>
              <a:rPr lang="en-US" dirty="0"/>
              <a:t>Edit Master text styles</a:t>
            </a:r>
          </a:p>
          <a:p>
            <a:pPr lvl="1"/>
            <a:r>
              <a:rPr lang="en-US" dirty="0"/>
              <a:t>First level level</a:t>
            </a:r>
          </a:p>
          <a:p>
            <a:pPr lvl="2"/>
            <a:r>
              <a:rPr lang="en-US" dirty="0"/>
              <a:t>Second level</a:t>
            </a:r>
          </a:p>
          <a:p>
            <a:pPr lvl="1"/>
            <a:r>
              <a:rPr lang="en-US" dirty="0"/>
              <a:t>First level level</a:t>
            </a:r>
          </a:p>
          <a:p>
            <a:pPr lvl="2"/>
            <a:r>
              <a:rPr lang="en-US" dirty="0"/>
              <a:t>Second level</a:t>
            </a:r>
          </a:p>
          <a:p>
            <a:pPr lvl="2"/>
            <a:endParaRPr lang="en-US" dirty="0"/>
          </a:p>
        </p:txBody>
      </p:sp>
      <p:sp>
        <p:nvSpPr>
          <p:cNvPr id="3" name="Footer Placeholder 5">
            <a:extLst>
              <a:ext uri="{FF2B5EF4-FFF2-40B4-BE49-F238E27FC236}">
                <a16:creationId xmlns:a16="http://schemas.microsoft.com/office/drawing/2014/main" id="{12AB60CE-749B-7937-024E-8B2B2D2AB18E}"/>
              </a:ext>
            </a:extLst>
          </p:cNvPr>
          <p:cNvSpPr>
            <a:spLocks noGrp="1"/>
          </p:cNvSpPr>
          <p:nvPr>
            <p:ph type="ftr" sz="quarter" idx="3"/>
          </p:nvPr>
        </p:nvSpPr>
        <p:spPr>
          <a:xfrm>
            <a:off x="5778500" y="4839481"/>
            <a:ext cx="3086100" cy="273050"/>
          </a:xfrm>
          <a:prstGeom prst="rect">
            <a:avLst/>
          </a:prstGeom>
        </p:spPr>
        <p:txBody>
          <a:bodyPr vert="horz" lIns="91440" tIns="45720" rIns="91440" bIns="45720" rtlCol="0" anchor="ctr"/>
          <a:lstStyle>
            <a:lvl1pPr algn="r">
              <a:defRPr sz="799">
                <a:solidFill>
                  <a:schemeClr val="tx2"/>
                </a:solidFill>
              </a:defRPr>
            </a:lvl1pPr>
          </a:lstStyle>
          <a:p>
            <a:endParaRPr lang="en-US" dirty="0"/>
          </a:p>
        </p:txBody>
      </p:sp>
    </p:spTree>
    <p:extLst>
      <p:ext uri="{BB962C8B-B14F-4D97-AF65-F5344CB8AC3E}">
        <p14:creationId xmlns:p14="http://schemas.microsoft.com/office/powerpoint/2010/main" val="58494679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Inhalt 3-spaltig mit Bildern">
    <p:spTree>
      <p:nvGrpSpPr>
        <p:cNvPr id="1" name=""/>
        <p:cNvGrpSpPr/>
        <p:nvPr/>
      </p:nvGrpSpPr>
      <p:grpSpPr>
        <a:xfrm>
          <a:off x="0" y="0"/>
          <a:ext cx="0" cy="0"/>
          <a:chOff x="0" y="0"/>
          <a:chExt cx="0" cy="0"/>
        </a:xfrm>
      </p:grpSpPr>
      <p:graphicFrame>
        <p:nvGraphicFramePr>
          <p:cNvPr id="13" name="Objekt 27" hidden="1"/>
          <p:cNvGraphicFramePr>
            <a:graphicFrameLocks noChangeAspect="1"/>
          </p:cNvGraphicFramePr>
          <p:nvPr userDrawn="1">
            <p:custDataLst>
              <p:tags r:id="rId1"/>
            </p:custDataLst>
          </p:nvPr>
        </p:nvGraphicFramePr>
        <p:xfrm>
          <a:off x="1466" y="1193"/>
          <a:ext cx="1465" cy="1191"/>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13" name="Objekt 2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66" y="1193"/>
                        <a:ext cx="1465" cy="1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14" name="Gerade Verbindung 13"/>
          <p:cNvCxnSpPr/>
          <p:nvPr userDrawn="1"/>
        </p:nvCxnSpPr>
        <p:spPr>
          <a:xfrm>
            <a:off x="0" y="946232"/>
            <a:ext cx="9144000" cy="0"/>
          </a:xfrm>
          <a:prstGeom prst="line">
            <a:avLst/>
          </a:prstGeom>
          <a:ln w="9525" cap="sq">
            <a:solidFill>
              <a:schemeClr val="accent4">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8" name="Gerade Verbindung 17"/>
          <p:cNvCxnSpPr/>
          <p:nvPr userDrawn="1"/>
        </p:nvCxnSpPr>
        <p:spPr>
          <a:xfrm>
            <a:off x="0" y="946232"/>
            <a:ext cx="2734408" cy="0"/>
          </a:xfrm>
          <a:prstGeom prst="line">
            <a:avLst/>
          </a:prstGeom>
          <a:ln w="9525" cap="sq">
            <a:solidFill>
              <a:srgbClr val="C4CACE"/>
            </a:solidFill>
            <a:miter lim="800000"/>
          </a:ln>
        </p:spPr>
        <p:style>
          <a:lnRef idx="1">
            <a:schemeClr val="accent1"/>
          </a:lnRef>
          <a:fillRef idx="0">
            <a:schemeClr val="accent1"/>
          </a:fillRef>
          <a:effectRef idx="0">
            <a:schemeClr val="accent1"/>
          </a:effectRef>
          <a:fontRef idx="minor">
            <a:schemeClr val="tx1"/>
          </a:fontRef>
        </p:style>
      </p:cxnSp>
      <p:sp>
        <p:nvSpPr>
          <p:cNvPr id="15" name="Bildplatzhalter 8"/>
          <p:cNvSpPr>
            <a:spLocks noGrp="1"/>
          </p:cNvSpPr>
          <p:nvPr>
            <p:ph type="pic" sz="quarter" idx="18"/>
          </p:nvPr>
        </p:nvSpPr>
        <p:spPr>
          <a:xfrm>
            <a:off x="383930" y="3565030"/>
            <a:ext cx="2758154" cy="1351250"/>
          </a:xfrm>
        </p:spPr>
        <p:txBody>
          <a:bodyPr tIns="180000" bIns="180000" rtlCol="0">
            <a:noAutofit/>
          </a:bodyPr>
          <a:lstStyle>
            <a:lvl1pPr marL="0" indent="0">
              <a:buFontTx/>
              <a:buNone/>
              <a:defRPr sz="1051">
                <a:solidFill>
                  <a:schemeClr val="accent2"/>
                </a:solidFill>
              </a:defRPr>
            </a:lvl1pPr>
          </a:lstStyle>
          <a:p>
            <a:pPr lvl="0"/>
            <a:r>
              <a:rPr lang="de-DE" noProof="0"/>
              <a:t>Bild durch Klicken auf Symbol hinzufügen</a:t>
            </a:r>
          </a:p>
        </p:txBody>
      </p:sp>
      <p:sp>
        <p:nvSpPr>
          <p:cNvPr id="16" name="Bildplatzhalter 8"/>
          <p:cNvSpPr>
            <a:spLocks noGrp="1"/>
          </p:cNvSpPr>
          <p:nvPr>
            <p:ph type="pic" sz="quarter" idx="19"/>
          </p:nvPr>
        </p:nvSpPr>
        <p:spPr>
          <a:xfrm>
            <a:off x="3192506" y="3565030"/>
            <a:ext cx="2758154" cy="1351250"/>
          </a:xfrm>
        </p:spPr>
        <p:txBody>
          <a:bodyPr tIns="180000" bIns="180000" rtlCol="0">
            <a:noAutofit/>
          </a:bodyPr>
          <a:lstStyle>
            <a:lvl1pPr marL="0" indent="0">
              <a:buFontTx/>
              <a:buNone/>
              <a:defRPr sz="1051">
                <a:solidFill>
                  <a:schemeClr val="accent2"/>
                </a:solidFill>
              </a:defRPr>
            </a:lvl1pPr>
          </a:lstStyle>
          <a:p>
            <a:pPr lvl="0"/>
            <a:r>
              <a:rPr lang="de-DE" noProof="0"/>
              <a:t>Bild durch Klicken auf Symbol hinzufügen</a:t>
            </a:r>
          </a:p>
        </p:txBody>
      </p:sp>
      <p:sp>
        <p:nvSpPr>
          <p:cNvPr id="17" name="Bildplatzhalter 8"/>
          <p:cNvSpPr>
            <a:spLocks noGrp="1"/>
          </p:cNvSpPr>
          <p:nvPr>
            <p:ph type="pic" sz="quarter" idx="20"/>
          </p:nvPr>
        </p:nvSpPr>
        <p:spPr>
          <a:xfrm>
            <a:off x="6001082" y="3565030"/>
            <a:ext cx="2758154" cy="1351250"/>
          </a:xfrm>
        </p:spPr>
        <p:txBody>
          <a:bodyPr tIns="180000" bIns="180000" rtlCol="0">
            <a:noAutofit/>
          </a:bodyPr>
          <a:lstStyle>
            <a:lvl1pPr marL="0" indent="0">
              <a:buFontTx/>
              <a:buNone/>
              <a:defRPr sz="1051">
                <a:solidFill>
                  <a:schemeClr val="accent2"/>
                </a:solidFill>
              </a:defRPr>
            </a:lvl1pPr>
          </a:lstStyle>
          <a:p>
            <a:pPr lvl="0"/>
            <a:r>
              <a:rPr lang="de-DE" noProof="0"/>
              <a:t>Bild durch Klicken auf Symbol hinzufügen</a:t>
            </a:r>
          </a:p>
        </p:txBody>
      </p:sp>
      <p:sp>
        <p:nvSpPr>
          <p:cNvPr id="34" name="Inhaltsplatzhalter 2"/>
          <p:cNvSpPr>
            <a:spLocks noGrp="1"/>
          </p:cNvSpPr>
          <p:nvPr>
            <p:ph sz="half" idx="1"/>
          </p:nvPr>
        </p:nvSpPr>
        <p:spPr>
          <a:xfrm>
            <a:off x="383930" y="979479"/>
            <a:ext cx="2758154" cy="2587821"/>
          </a:xfrm>
        </p:spPr>
        <p:txBody>
          <a:bodyPr bIns="72000"/>
          <a:lstStyle>
            <a:lvl1pPr>
              <a:defRPr sz="1501"/>
            </a:lvl1pPr>
            <a:lvl2pPr>
              <a:defRPr sz="1351"/>
            </a:lvl2pPr>
            <a:lvl3pPr>
              <a:defRPr sz="1201"/>
            </a:lvl3pPr>
            <a:lvl4pPr>
              <a:defRPr sz="826"/>
            </a:lvl4pPr>
            <a:lvl5pPr>
              <a:defRPr sz="1351"/>
            </a:lvl5pPr>
            <a:lvl6pPr>
              <a:defRPr sz="1351"/>
            </a:lvl6pPr>
            <a:lvl7pPr>
              <a:defRPr sz="1351"/>
            </a:lvl7pPr>
            <a:lvl8pPr>
              <a:defRPr sz="1351"/>
            </a:lvl8pPr>
            <a:lvl9pPr>
              <a:defRPr sz="1351"/>
            </a:lvl9pPr>
          </a:lstStyle>
          <a:p>
            <a:pPr lvl="0"/>
            <a:r>
              <a:rPr lang="de-DE"/>
              <a:t>Textmasterformat bearbeiten</a:t>
            </a:r>
          </a:p>
          <a:p>
            <a:pPr lvl="1"/>
            <a:r>
              <a:rPr lang="de-DE"/>
              <a:t>Zweite Ebene</a:t>
            </a:r>
          </a:p>
          <a:p>
            <a:pPr lvl="2"/>
            <a:r>
              <a:rPr lang="de-DE"/>
              <a:t>Dritte Ebene</a:t>
            </a:r>
          </a:p>
        </p:txBody>
      </p:sp>
      <p:sp>
        <p:nvSpPr>
          <p:cNvPr id="35" name="Inhaltsplatzhalter 3"/>
          <p:cNvSpPr>
            <a:spLocks noGrp="1"/>
          </p:cNvSpPr>
          <p:nvPr>
            <p:ph sz="half" idx="2"/>
          </p:nvPr>
        </p:nvSpPr>
        <p:spPr>
          <a:xfrm>
            <a:off x="3192505" y="979479"/>
            <a:ext cx="2758154" cy="2587821"/>
          </a:xfrm>
        </p:spPr>
        <p:txBody>
          <a:bodyPr bIns="72000"/>
          <a:lstStyle>
            <a:lvl1pPr>
              <a:defRPr sz="1501"/>
            </a:lvl1pPr>
            <a:lvl2pPr>
              <a:defRPr sz="1351"/>
            </a:lvl2pPr>
            <a:lvl3pPr>
              <a:defRPr sz="1201"/>
            </a:lvl3pPr>
            <a:lvl4pPr>
              <a:defRPr sz="826"/>
            </a:lvl4pPr>
            <a:lvl5pPr>
              <a:defRPr sz="1351"/>
            </a:lvl5pPr>
            <a:lvl6pPr>
              <a:defRPr sz="1351"/>
            </a:lvl6pPr>
            <a:lvl7pPr>
              <a:defRPr sz="1351"/>
            </a:lvl7pPr>
            <a:lvl8pPr>
              <a:defRPr sz="1351"/>
            </a:lvl8pPr>
            <a:lvl9pPr>
              <a:defRPr sz="1351"/>
            </a:lvl9pPr>
          </a:lstStyle>
          <a:p>
            <a:pPr lvl="0"/>
            <a:r>
              <a:rPr lang="de-DE"/>
              <a:t>Textmasterformat bearbeiten</a:t>
            </a:r>
          </a:p>
          <a:p>
            <a:pPr lvl="1"/>
            <a:r>
              <a:rPr lang="de-DE"/>
              <a:t>Zweite Ebene</a:t>
            </a:r>
          </a:p>
          <a:p>
            <a:pPr lvl="2"/>
            <a:r>
              <a:rPr lang="de-DE"/>
              <a:t>Dritte Ebene</a:t>
            </a:r>
          </a:p>
        </p:txBody>
      </p:sp>
      <p:sp>
        <p:nvSpPr>
          <p:cNvPr id="36" name="Textplatzhalter 2"/>
          <p:cNvSpPr>
            <a:spLocks noGrp="1"/>
          </p:cNvSpPr>
          <p:nvPr>
            <p:ph type="body" idx="14"/>
          </p:nvPr>
        </p:nvSpPr>
        <p:spPr>
          <a:xfrm>
            <a:off x="383930" y="675625"/>
            <a:ext cx="2758154" cy="270250"/>
          </a:xfrm>
        </p:spPr>
        <p:txBody>
          <a:bodyPr tIns="0" anchor="ctr"/>
          <a:lstStyle>
            <a:lvl1pPr marL="0" indent="0" algn="ctr">
              <a:buNone/>
              <a:defRPr sz="1351" b="0" cap="all" baseline="0">
                <a:solidFill>
                  <a:schemeClr val="accent2"/>
                </a:solidFill>
              </a:defRPr>
            </a:lvl1pPr>
            <a:lvl2pPr marL="343220" indent="0">
              <a:buNone/>
              <a:defRPr sz="1351">
                <a:solidFill>
                  <a:schemeClr val="tx1">
                    <a:tint val="75000"/>
                  </a:schemeClr>
                </a:solidFill>
              </a:defRPr>
            </a:lvl2pPr>
            <a:lvl3pPr marL="686440" indent="0">
              <a:buNone/>
              <a:defRPr sz="1201">
                <a:solidFill>
                  <a:schemeClr val="tx1">
                    <a:tint val="75000"/>
                  </a:schemeClr>
                </a:solidFill>
              </a:defRPr>
            </a:lvl3pPr>
            <a:lvl4pPr marL="1029660" indent="0">
              <a:buNone/>
              <a:defRPr sz="1051">
                <a:solidFill>
                  <a:schemeClr val="tx1">
                    <a:tint val="75000"/>
                  </a:schemeClr>
                </a:solidFill>
              </a:defRPr>
            </a:lvl4pPr>
            <a:lvl5pPr marL="1372880" indent="0">
              <a:buNone/>
              <a:defRPr sz="1051">
                <a:solidFill>
                  <a:schemeClr val="tx1">
                    <a:tint val="75000"/>
                  </a:schemeClr>
                </a:solidFill>
              </a:defRPr>
            </a:lvl5pPr>
            <a:lvl6pPr marL="1716100" indent="0">
              <a:buNone/>
              <a:defRPr sz="1051">
                <a:solidFill>
                  <a:schemeClr val="tx1">
                    <a:tint val="75000"/>
                  </a:schemeClr>
                </a:solidFill>
              </a:defRPr>
            </a:lvl6pPr>
            <a:lvl7pPr marL="2059320" indent="0">
              <a:buNone/>
              <a:defRPr sz="1051">
                <a:solidFill>
                  <a:schemeClr val="tx1">
                    <a:tint val="75000"/>
                  </a:schemeClr>
                </a:solidFill>
              </a:defRPr>
            </a:lvl7pPr>
            <a:lvl8pPr marL="2402540" indent="0">
              <a:buNone/>
              <a:defRPr sz="1051">
                <a:solidFill>
                  <a:schemeClr val="tx1">
                    <a:tint val="75000"/>
                  </a:schemeClr>
                </a:solidFill>
              </a:defRPr>
            </a:lvl8pPr>
            <a:lvl9pPr marL="2745760" indent="0">
              <a:buNone/>
              <a:defRPr sz="1051">
                <a:solidFill>
                  <a:schemeClr val="tx1">
                    <a:tint val="75000"/>
                  </a:schemeClr>
                </a:solidFill>
              </a:defRPr>
            </a:lvl9pPr>
          </a:lstStyle>
          <a:p>
            <a:pPr lvl="0"/>
            <a:r>
              <a:rPr lang="de-DE"/>
              <a:t>Textmasterformat bearbeiten</a:t>
            </a:r>
          </a:p>
        </p:txBody>
      </p:sp>
      <p:sp>
        <p:nvSpPr>
          <p:cNvPr id="37" name="Inhaltsplatzhalter 3"/>
          <p:cNvSpPr>
            <a:spLocks noGrp="1"/>
          </p:cNvSpPr>
          <p:nvPr>
            <p:ph sz="half" idx="15"/>
          </p:nvPr>
        </p:nvSpPr>
        <p:spPr>
          <a:xfrm>
            <a:off x="6001082" y="979479"/>
            <a:ext cx="2758154" cy="2587821"/>
          </a:xfrm>
        </p:spPr>
        <p:txBody>
          <a:bodyPr bIns="72000"/>
          <a:lstStyle>
            <a:lvl1pPr>
              <a:defRPr sz="1501"/>
            </a:lvl1pPr>
            <a:lvl2pPr>
              <a:defRPr sz="1351"/>
            </a:lvl2pPr>
            <a:lvl3pPr>
              <a:defRPr sz="1201"/>
            </a:lvl3pPr>
            <a:lvl4pPr>
              <a:defRPr sz="826"/>
            </a:lvl4pPr>
            <a:lvl5pPr>
              <a:defRPr sz="1351"/>
            </a:lvl5pPr>
            <a:lvl6pPr>
              <a:defRPr sz="1351"/>
            </a:lvl6pPr>
            <a:lvl7pPr>
              <a:defRPr sz="1351"/>
            </a:lvl7pPr>
            <a:lvl8pPr>
              <a:defRPr sz="1351"/>
            </a:lvl8pPr>
            <a:lvl9pPr>
              <a:defRPr sz="1351"/>
            </a:lvl9pPr>
          </a:lstStyle>
          <a:p>
            <a:pPr lvl="0"/>
            <a:r>
              <a:rPr lang="de-DE"/>
              <a:t>Textmasterformat bearbeiten</a:t>
            </a:r>
          </a:p>
          <a:p>
            <a:pPr lvl="1"/>
            <a:r>
              <a:rPr lang="de-DE"/>
              <a:t>Zweite Ebene</a:t>
            </a:r>
          </a:p>
          <a:p>
            <a:pPr lvl="2"/>
            <a:r>
              <a:rPr lang="de-DE"/>
              <a:t>Dritte Ebene</a:t>
            </a:r>
          </a:p>
        </p:txBody>
      </p:sp>
      <p:sp>
        <p:nvSpPr>
          <p:cNvPr id="38" name="Textplatzhalter 2"/>
          <p:cNvSpPr>
            <a:spLocks noGrp="1"/>
          </p:cNvSpPr>
          <p:nvPr>
            <p:ph type="body" idx="16"/>
          </p:nvPr>
        </p:nvSpPr>
        <p:spPr>
          <a:xfrm>
            <a:off x="3192505" y="675625"/>
            <a:ext cx="2758154" cy="270250"/>
          </a:xfrm>
        </p:spPr>
        <p:txBody>
          <a:bodyPr tIns="0" anchor="ctr"/>
          <a:lstStyle>
            <a:lvl1pPr marL="0" indent="0" algn="ctr">
              <a:buNone/>
              <a:defRPr sz="1351" b="0" cap="all" baseline="0">
                <a:solidFill>
                  <a:schemeClr val="accent2"/>
                </a:solidFill>
              </a:defRPr>
            </a:lvl1pPr>
            <a:lvl2pPr marL="343220" indent="0">
              <a:buNone/>
              <a:defRPr sz="1351">
                <a:solidFill>
                  <a:schemeClr val="tx1">
                    <a:tint val="75000"/>
                  </a:schemeClr>
                </a:solidFill>
              </a:defRPr>
            </a:lvl2pPr>
            <a:lvl3pPr marL="686440" indent="0">
              <a:buNone/>
              <a:defRPr sz="1201">
                <a:solidFill>
                  <a:schemeClr val="tx1">
                    <a:tint val="75000"/>
                  </a:schemeClr>
                </a:solidFill>
              </a:defRPr>
            </a:lvl3pPr>
            <a:lvl4pPr marL="1029660" indent="0">
              <a:buNone/>
              <a:defRPr sz="1051">
                <a:solidFill>
                  <a:schemeClr val="tx1">
                    <a:tint val="75000"/>
                  </a:schemeClr>
                </a:solidFill>
              </a:defRPr>
            </a:lvl4pPr>
            <a:lvl5pPr marL="1372880" indent="0">
              <a:buNone/>
              <a:defRPr sz="1051">
                <a:solidFill>
                  <a:schemeClr val="tx1">
                    <a:tint val="75000"/>
                  </a:schemeClr>
                </a:solidFill>
              </a:defRPr>
            </a:lvl5pPr>
            <a:lvl6pPr marL="1716100" indent="0">
              <a:buNone/>
              <a:defRPr sz="1051">
                <a:solidFill>
                  <a:schemeClr val="tx1">
                    <a:tint val="75000"/>
                  </a:schemeClr>
                </a:solidFill>
              </a:defRPr>
            </a:lvl6pPr>
            <a:lvl7pPr marL="2059320" indent="0">
              <a:buNone/>
              <a:defRPr sz="1051">
                <a:solidFill>
                  <a:schemeClr val="tx1">
                    <a:tint val="75000"/>
                  </a:schemeClr>
                </a:solidFill>
              </a:defRPr>
            </a:lvl7pPr>
            <a:lvl8pPr marL="2402540" indent="0">
              <a:buNone/>
              <a:defRPr sz="1051">
                <a:solidFill>
                  <a:schemeClr val="tx1">
                    <a:tint val="75000"/>
                  </a:schemeClr>
                </a:solidFill>
              </a:defRPr>
            </a:lvl8pPr>
            <a:lvl9pPr marL="2745760" indent="0">
              <a:buNone/>
              <a:defRPr sz="1051">
                <a:solidFill>
                  <a:schemeClr val="tx1">
                    <a:tint val="75000"/>
                  </a:schemeClr>
                </a:solidFill>
              </a:defRPr>
            </a:lvl9pPr>
          </a:lstStyle>
          <a:p>
            <a:pPr lvl="0"/>
            <a:r>
              <a:rPr lang="de-DE"/>
              <a:t>Textmasterformat bearbeiten</a:t>
            </a:r>
          </a:p>
        </p:txBody>
      </p:sp>
      <p:sp>
        <p:nvSpPr>
          <p:cNvPr id="39" name="Textplatzhalter 2"/>
          <p:cNvSpPr>
            <a:spLocks noGrp="1"/>
          </p:cNvSpPr>
          <p:nvPr>
            <p:ph type="body" idx="17"/>
          </p:nvPr>
        </p:nvSpPr>
        <p:spPr>
          <a:xfrm>
            <a:off x="6001082" y="675625"/>
            <a:ext cx="2758154" cy="270250"/>
          </a:xfrm>
        </p:spPr>
        <p:txBody>
          <a:bodyPr tIns="0" anchor="ctr"/>
          <a:lstStyle>
            <a:lvl1pPr marL="0" indent="0" algn="ctr">
              <a:buNone/>
              <a:defRPr sz="1351" b="0" cap="all" baseline="0">
                <a:solidFill>
                  <a:schemeClr val="accent2"/>
                </a:solidFill>
              </a:defRPr>
            </a:lvl1pPr>
            <a:lvl2pPr marL="343220" indent="0">
              <a:buNone/>
              <a:defRPr sz="1351">
                <a:solidFill>
                  <a:schemeClr val="tx1">
                    <a:tint val="75000"/>
                  </a:schemeClr>
                </a:solidFill>
              </a:defRPr>
            </a:lvl2pPr>
            <a:lvl3pPr marL="686440" indent="0">
              <a:buNone/>
              <a:defRPr sz="1201">
                <a:solidFill>
                  <a:schemeClr val="tx1">
                    <a:tint val="75000"/>
                  </a:schemeClr>
                </a:solidFill>
              </a:defRPr>
            </a:lvl3pPr>
            <a:lvl4pPr marL="1029660" indent="0">
              <a:buNone/>
              <a:defRPr sz="1051">
                <a:solidFill>
                  <a:schemeClr val="tx1">
                    <a:tint val="75000"/>
                  </a:schemeClr>
                </a:solidFill>
              </a:defRPr>
            </a:lvl4pPr>
            <a:lvl5pPr marL="1372880" indent="0">
              <a:buNone/>
              <a:defRPr sz="1051">
                <a:solidFill>
                  <a:schemeClr val="tx1">
                    <a:tint val="75000"/>
                  </a:schemeClr>
                </a:solidFill>
              </a:defRPr>
            </a:lvl5pPr>
            <a:lvl6pPr marL="1716100" indent="0">
              <a:buNone/>
              <a:defRPr sz="1051">
                <a:solidFill>
                  <a:schemeClr val="tx1">
                    <a:tint val="75000"/>
                  </a:schemeClr>
                </a:solidFill>
              </a:defRPr>
            </a:lvl6pPr>
            <a:lvl7pPr marL="2059320" indent="0">
              <a:buNone/>
              <a:defRPr sz="1051">
                <a:solidFill>
                  <a:schemeClr val="tx1">
                    <a:tint val="75000"/>
                  </a:schemeClr>
                </a:solidFill>
              </a:defRPr>
            </a:lvl7pPr>
            <a:lvl8pPr marL="2402540" indent="0">
              <a:buNone/>
              <a:defRPr sz="1051">
                <a:solidFill>
                  <a:schemeClr val="tx1">
                    <a:tint val="75000"/>
                  </a:schemeClr>
                </a:solidFill>
              </a:defRPr>
            </a:lvl8pPr>
            <a:lvl9pPr marL="2745760" indent="0">
              <a:buNone/>
              <a:defRPr sz="1051">
                <a:solidFill>
                  <a:schemeClr val="tx1">
                    <a:tint val="75000"/>
                  </a:schemeClr>
                </a:solidFill>
              </a:defRPr>
            </a:lvl9pPr>
          </a:lstStyle>
          <a:p>
            <a:pPr lvl="0"/>
            <a:r>
              <a:rPr lang="de-DE"/>
              <a:t>Textmasterformat bearbeiten</a:t>
            </a:r>
          </a:p>
        </p:txBody>
      </p:sp>
      <p:sp>
        <p:nvSpPr>
          <p:cNvPr id="19" name="Titel 1"/>
          <p:cNvSpPr>
            <a:spLocks noGrp="1"/>
          </p:cNvSpPr>
          <p:nvPr>
            <p:ph type="title"/>
          </p:nvPr>
        </p:nvSpPr>
        <p:spPr>
          <a:xfrm>
            <a:off x="383931" y="216200"/>
            <a:ext cx="7145936" cy="195691"/>
          </a:xfrm>
        </p:spPr>
        <p:txBody>
          <a:bodyPr/>
          <a:lstStyle>
            <a:lvl1pPr>
              <a:defRPr baseline="0"/>
            </a:lvl1pPr>
          </a:lstStyle>
          <a:p>
            <a:r>
              <a:rPr lang="de-DE"/>
              <a:t>Titelmasterformat durch Klicken bearbeiten</a:t>
            </a:r>
          </a:p>
        </p:txBody>
      </p:sp>
      <p:sp>
        <p:nvSpPr>
          <p:cNvPr id="20" name="Textplatzhalter 2"/>
          <p:cNvSpPr>
            <a:spLocks noGrp="1"/>
          </p:cNvSpPr>
          <p:nvPr>
            <p:ph type="body" idx="13"/>
          </p:nvPr>
        </p:nvSpPr>
        <p:spPr>
          <a:xfrm>
            <a:off x="383931" y="411891"/>
            <a:ext cx="7145936" cy="216200"/>
          </a:xfrm>
        </p:spPr>
        <p:txBody>
          <a:bodyPr tIns="0"/>
          <a:lstStyle>
            <a:lvl1pPr marL="0" indent="0">
              <a:buNone/>
              <a:defRPr sz="1501" cap="all" baseline="0">
                <a:solidFill>
                  <a:schemeClr val="accent4"/>
                </a:solidFill>
              </a:defRPr>
            </a:lvl1pPr>
            <a:lvl2pPr marL="343220" indent="0">
              <a:buNone/>
              <a:defRPr sz="1351">
                <a:solidFill>
                  <a:schemeClr val="tx1">
                    <a:tint val="75000"/>
                  </a:schemeClr>
                </a:solidFill>
              </a:defRPr>
            </a:lvl2pPr>
            <a:lvl3pPr marL="686440" indent="0">
              <a:buNone/>
              <a:defRPr sz="1201">
                <a:solidFill>
                  <a:schemeClr val="tx1">
                    <a:tint val="75000"/>
                  </a:schemeClr>
                </a:solidFill>
              </a:defRPr>
            </a:lvl3pPr>
            <a:lvl4pPr marL="1029660" indent="0">
              <a:buNone/>
              <a:defRPr sz="1051">
                <a:solidFill>
                  <a:schemeClr val="tx1">
                    <a:tint val="75000"/>
                  </a:schemeClr>
                </a:solidFill>
              </a:defRPr>
            </a:lvl4pPr>
            <a:lvl5pPr marL="1372880" indent="0">
              <a:buNone/>
              <a:defRPr sz="1051">
                <a:solidFill>
                  <a:schemeClr val="tx1">
                    <a:tint val="75000"/>
                  </a:schemeClr>
                </a:solidFill>
              </a:defRPr>
            </a:lvl5pPr>
            <a:lvl6pPr marL="1716100" indent="0">
              <a:buNone/>
              <a:defRPr sz="1051">
                <a:solidFill>
                  <a:schemeClr val="tx1">
                    <a:tint val="75000"/>
                  </a:schemeClr>
                </a:solidFill>
              </a:defRPr>
            </a:lvl6pPr>
            <a:lvl7pPr marL="2059320" indent="0">
              <a:buNone/>
              <a:defRPr sz="1051">
                <a:solidFill>
                  <a:schemeClr val="tx1">
                    <a:tint val="75000"/>
                  </a:schemeClr>
                </a:solidFill>
              </a:defRPr>
            </a:lvl7pPr>
            <a:lvl8pPr marL="2402540" indent="0">
              <a:buNone/>
              <a:defRPr sz="1051">
                <a:solidFill>
                  <a:schemeClr val="tx1">
                    <a:tint val="75000"/>
                  </a:schemeClr>
                </a:solidFill>
              </a:defRPr>
            </a:lvl8pPr>
            <a:lvl9pPr marL="2745760" indent="0">
              <a:buNone/>
              <a:defRPr sz="1051">
                <a:solidFill>
                  <a:schemeClr val="tx1">
                    <a:tint val="75000"/>
                  </a:schemeClr>
                </a:solidFill>
              </a:defRPr>
            </a:lvl9pPr>
          </a:lstStyle>
          <a:p>
            <a:pPr lvl="0"/>
            <a:r>
              <a:rPr lang="de-DE"/>
              <a:t>Textmasterformat bearbeiten</a:t>
            </a:r>
          </a:p>
        </p:txBody>
      </p:sp>
      <p:sp>
        <p:nvSpPr>
          <p:cNvPr id="21" name="Datumsplatzhalter 4"/>
          <p:cNvSpPr>
            <a:spLocks noGrp="1"/>
          </p:cNvSpPr>
          <p:nvPr>
            <p:ph type="dt" sz="half" idx="21"/>
          </p:nvPr>
        </p:nvSpPr>
        <p:spPr/>
        <p:txBody>
          <a:bodyPr/>
          <a:lstStyle>
            <a:lvl1pPr>
              <a:defRPr/>
            </a:lvl1pPr>
          </a:lstStyle>
          <a:p>
            <a:pPr>
              <a:defRPr/>
            </a:pPr>
            <a:endParaRPr lang="de-DE">
              <a:solidFill>
                <a:srgbClr val="6E7A82"/>
              </a:solidFill>
            </a:endParaRPr>
          </a:p>
        </p:txBody>
      </p:sp>
      <p:sp>
        <p:nvSpPr>
          <p:cNvPr id="22" name="Fußzeilenplatzhalter 5"/>
          <p:cNvSpPr>
            <a:spLocks noGrp="1"/>
          </p:cNvSpPr>
          <p:nvPr>
            <p:ph type="ftr" sz="quarter" idx="22"/>
          </p:nvPr>
        </p:nvSpPr>
        <p:spPr/>
        <p:txBody>
          <a:bodyPr/>
          <a:lstStyle>
            <a:lvl1pPr>
              <a:defRPr/>
            </a:lvl1pPr>
          </a:lstStyle>
          <a:p>
            <a:pPr>
              <a:defRPr/>
            </a:pPr>
            <a:r>
              <a:rPr lang="de-DE">
                <a:solidFill>
                  <a:srgbClr val="007FC3"/>
                </a:solidFill>
              </a:rPr>
              <a:t>SICK | January 2015 | Confidential</a:t>
            </a:r>
          </a:p>
        </p:txBody>
      </p:sp>
      <p:sp>
        <p:nvSpPr>
          <p:cNvPr id="23" name="Foliennummernplatzhalter 6"/>
          <p:cNvSpPr>
            <a:spLocks noGrp="1"/>
          </p:cNvSpPr>
          <p:nvPr>
            <p:ph type="sldNum" sz="quarter" idx="23"/>
          </p:nvPr>
        </p:nvSpPr>
        <p:spPr/>
        <p:txBody>
          <a:bodyPr/>
          <a:lstStyle>
            <a:lvl1pPr>
              <a:defRPr/>
            </a:lvl1pPr>
          </a:lstStyle>
          <a:p>
            <a:pPr>
              <a:defRPr/>
            </a:pPr>
            <a:fld id="{410C8368-0498-4A1F-9BD7-9E5F94FC9141}" type="slidenum">
              <a:rPr lang="de-DE">
                <a:solidFill>
                  <a:srgbClr val="6E7A82"/>
                </a:solidFill>
              </a:rPr>
              <a:pPr>
                <a:defRPr/>
              </a:pPr>
              <a:t>‹#›</a:t>
            </a:fld>
            <a:endParaRPr lang="de-DE">
              <a:solidFill>
                <a:srgbClr val="6E7A82"/>
              </a:solidFill>
            </a:endParaRPr>
          </a:p>
        </p:txBody>
      </p:sp>
    </p:spTree>
    <p:extLst>
      <p:ext uri="{BB962C8B-B14F-4D97-AF65-F5344CB8AC3E}">
        <p14:creationId xmlns:p14="http://schemas.microsoft.com/office/powerpoint/2010/main" val="3927726551"/>
      </p:ext>
    </p:extLst>
  </p:cSld>
  <p:clrMapOvr>
    <a:masterClrMapping/>
  </p:clrMapOvr>
  <p:transition>
    <p:zoom/>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 Bilder 2 Inhalte">
    <p:spTree>
      <p:nvGrpSpPr>
        <p:cNvPr id="1" name=""/>
        <p:cNvGrpSpPr/>
        <p:nvPr/>
      </p:nvGrpSpPr>
      <p:grpSpPr>
        <a:xfrm>
          <a:off x="0" y="0"/>
          <a:ext cx="0" cy="0"/>
          <a:chOff x="0" y="0"/>
          <a:chExt cx="0" cy="0"/>
        </a:xfrm>
      </p:grpSpPr>
      <p:sp>
        <p:nvSpPr>
          <p:cNvPr id="3" name="Inhaltsplatzhalter 2"/>
          <p:cNvSpPr>
            <a:spLocks noGrp="1"/>
          </p:cNvSpPr>
          <p:nvPr>
            <p:ph idx="1"/>
          </p:nvPr>
        </p:nvSpPr>
        <p:spPr>
          <a:xfrm>
            <a:off x="3168000" y="709079"/>
            <a:ext cx="5580000" cy="2121274"/>
          </a:xfrm>
        </p:spPr>
        <p:txBody>
          <a:bodyPr bIns="72000"/>
          <a:lstStyle/>
          <a:p>
            <a:pPr lvl="0"/>
            <a:r>
              <a:rPr lang="de-DE"/>
              <a:t>Textmasterformat bearbeiten</a:t>
            </a:r>
          </a:p>
          <a:p>
            <a:pPr lvl="1"/>
            <a:r>
              <a:rPr lang="de-DE"/>
              <a:t>Zweite Ebene</a:t>
            </a:r>
          </a:p>
          <a:p>
            <a:pPr lvl="2"/>
            <a:r>
              <a:rPr lang="de-DE"/>
              <a:t>Dritte Ebene</a:t>
            </a:r>
          </a:p>
        </p:txBody>
      </p:sp>
      <p:sp>
        <p:nvSpPr>
          <p:cNvPr id="9" name="Bildplatzhalter 8"/>
          <p:cNvSpPr>
            <a:spLocks noGrp="1"/>
          </p:cNvSpPr>
          <p:nvPr>
            <p:ph type="pic" sz="quarter" idx="14"/>
          </p:nvPr>
        </p:nvSpPr>
        <p:spPr>
          <a:xfrm>
            <a:off x="383931" y="709078"/>
            <a:ext cx="2558769" cy="2080925"/>
          </a:xfrm>
        </p:spPr>
        <p:txBody>
          <a:bodyPr tIns="180000" bIns="180000" rtlCol="0">
            <a:noAutofit/>
          </a:bodyPr>
          <a:lstStyle>
            <a:lvl1pPr marL="0" indent="0">
              <a:buFontTx/>
              <a:buNone/>
              <a:defRPr sz="1201">
                <a:solidFill>
                  <a:schemeClr val="accent2"/>
                </a:solidFill>
              </a:defRPr>
            </a:lvl1pPr>
          </a:lstStyle>
          <a:p>
            <a:pPr lvl="0"/>
            <a:r>
              <a:rPr lang="de-DE" noProof="0"/>
              <a:t>Bild durch Klicken auf Symbol hinzufügen</a:t>
            </a:r>
          </a:p>
        </p:txBody>
      </p:sp>
      <p:sp>
        <p:nvSpPr>
          <p:cNvPr id="10" name="Bildplatzhalter 8"/>
          <p:cNvSpPr>
            <a:spLocks noGrp="1"/>
          </p:cNvSpPr>
          <p:nvPr>
            <p:ph type="pic" sz="quarter" idx="15"/>
          </p:nvPr>
        </p:nvSpPr>
        <p:spPr>
          <a:xfrm>
            <a:off x="384932" y="2871895"/>
            <a:ext cx="2558769" cy="2080925"/>
          </a:xfrm>
        </p:spPr>
        <p:txBody>
          <a:bodyPr tIns="180000" bIns="180000" rtlCol="0">
            <a:noAutofit/>
          </a:bodyPr>
          <a:lstStyle>
            <a:lvl1pPr marL="0" indent="0">
              <a:buFontTx/>
              <a:buNone/>
              <a:defRPr sz="1201">
                <a:solidFill>
                  <a:schemeClr val="accent2"/>
                </a:solidFill>
              </a:defRPr>
            </a:lvl1pPr>
          </a:lstStyle>
          <a:p>
            <a:pPr lvl="0"/>
            <a:r>
              <a:rPr lang="de-DE" noProof="0"/>
              <a:t>Bild durch Klicken auf Symbol hinzufügen</a:t>
            </a:r>
          </a:p>
        </p:txBody>
      </p:sp>
      <p:sp>
        <p:nvSpPr>
          <p:cNvPr id="11" name="Inhaltsplatzhalter 2"/>
          <p:cNvSpPr>
            <a:spLocks noGrp="1"/>
          </p:cNvSpPr>
          <p:nvPr>
            <p:ph idx="16"/>
          </p:nvPr>
        </p:nvSpPr>
        <p:spPr>
          <a:xfrm>
            <a:off x="3168000" y="2830354"/>
            <a:ext cx="5580000" cy="2122466"/>
          </a:xfrm>
        </p:spPr>
        <p:txBody>
          <a:bodyPr bIns="72000"/>
          <a:lstStyle/>
          <a:p>
            <a:pPr lvl="0"/>
            <a:r>
              <a:rPr lang="de-DE"/>
              <a:t>Textmasterformat bearbeiten</a:t>
            </a:r>
          </a:p>
          <a:p>
            <a:pPr lvl="1"/>
            <a:r>
              <a:rPr lang="de-DE"/>
              <a:t>Zweite Ebene</a:t>
            </a:r>
          </a:p>
          <a:p>
            <a:pPr lvl="2"/>
            <a:r>
              <a:rPr lang="de-DE"/>
              <a:t>Dritte Ebene</a:t>
            </a:r>
          </a:p>
        </p:txBody>
      </p:sp>
      <p:sp>
        <p:nvSpPr>
          <p:cNvPr id="12" name="Titel 1"/>
          <p:cNvSpPr>
            <a:spLocks noGrp="1"/>
          </p:cNvSpPr>
          <p:nvPr>
            <p:ph type="title"/>
          </p:nvPr>
        </p:nvSpPr>
        <p:spPr>
          <a:xfrm>
            <a:off x="383931" y="216200"/>
            <a:ext cx="7145936" cy="195691"/>
          </a:xfrm>
        </p:spPr>
        <p:txBody>
          <a:bodyPr/>
          <a:lstStyle>
            <a:lvl1pPr>
              <a:defRPr baseline="0"/>
            </a:lvl1pPr>
          </a:lstStyle>
          <a:p>
            <a:r>
              <a:rPr lang="de-DE"/>
              <a:t>Titelmasterformat durch Klicken bearbeiten</a:t>
            </a:r>
          </a:p>
        </p:txBody>
      </p:sp>
      <p:sp>
        <p:nvSpPr>
          <p:cNvPr id="13" name="Textplatzhalter 2"/>
          <p:cNvSpPr>
            <a:spLocks noGrp="1"/>
          </p:cNvSpPr>
          <p:nvPr>
            <p:ph type="body" idx="13"/>
          </p:nvPr>
        </p:nvSpPr>
        <p:spPr>
          <a:xfrm>
            <a:off x="383931" y="411891"/>
            <a:ext cx="7145936" cy="216200"/>
          </a:xfrm>
        </p:spPr>
        <p:txBody>
          <a:bodyPr tIns="0"/>
          <a:lstStyle>
            <a:lvl1pPr marL="0" indent="0">
              <a:buNone/>
              <a:defRPr sz="1501" cap="all" baseline="0">
                <a:solidFill>
                  <a:schemeClr val="accent4"/>
                </a:solidFill>
              </a:defRPr>
            </a:lvl1pPr>
            <a:lvl2pPr marL="343220" indent="0">
              <a:buNone/>
              <a:defRPr sz="1351">
                <a:solidFill>
                  <a:schemeClr val="tx1">
                    <a:tint val="75000"/>
                  </a:schemeClr>
                </a:solidFill>
              </a:defRPr>
            </a:lvl2pPr>
            <a:lvl3pPr marL="686440" indent="0">
              <a:buNone/>
              <a:defRPr sz="1201">
                <a:solidFill>
                  <a:schemeClr val="tx1">
                    <a:tint val="75000"/>
                  </a:schemeClr>
                </a:solidFill>
              </a:defRPr>
            </a:lvl3pPr>
            <a:lvl4pPr marL="1029660" indent="0">
              <a:buNone/>
              <a:defRPr sz="1051">
                <a:solidFill>
                  <a:schemeClr val="tx1">
                    <a:tint val="75000"/>
                  </a:schemeClr>
                </a:solidFill>
              </a:defRPr>
            </a:lvl4pPr>
            <a:lvl5pPr marL="1372880" indent="0">
              <a:buNone/>
              <a:defRPr sz="1051">
                <a:solidFill>
                  <a:schemeClr val="tx1">
                    <a:tint val="75000"/>
                  </a:schemeClr>
                </a:solidFill>
              </a:defRPr>
            </a:lvl5pPr>
            <a:lvl6pPr marL="1716100" indent="0">
              <a:buNone/>
              <a:defRPr sz="1051">
                <a:solidFill>
                  <a:schemeClr val="tx1">
                    <a:tint val="75000"/>
                  </a:schemeClr>
                </a:solidFill>
              </a:defRPr>
            </a:lvl6pPr>
            <a:lvl7pPr marL="2059320" indent="0">
              <a:buNone/>
              <a:defRPr sz="1051">
                <a:solidFill>
                  <a:schemeClr val="tx1">
                    <a:tint val="75000"/>
                  </a:schemeClr>
                </a:solidFill>
              </a:defRPr>
            </a:lvl7pPr>
            <a:lvl8pPr marL="2402540" indent="0">
              <a:buNone/>
              <a:defRPr sz="1051">
                <a:solidFill>
                  <a:schemeClr val="tx1">
                    <a:tint val="75000"/>
                  </a:schemeClr>
                </a:solidFill>
              </a:defRPr>
            </a:lvl8pPr>
            <a:lvl9pPr marL="2745760" indent="0">
              <a:buNone/>
              <a:defRPr sz="1051">
                <a:solidFill>
                  <a:schemeClr val="tx1">
                    <a:tint val="75000"/>
                  </a:schemeClr>
                </a:solidFill>
              </a:defRPr>
            </a:lvl9pPr>
          </a:lstStyle>
          <a:p>
            <a:pPr lvl="0"/>
            <a:r>
              <a:rPr lang="de-DE"/>
              <a:t>Textmasterformat bearbeiten</a:t>
            </a:r>
          </a:p>
        </p:txBody>
      </p:sp>
      <p:sp>
        <p:nvSpPr>
          <p:cNvPr id="8" name="Datumsplatzhalter 3"/>
          <p:cNvSpPr>
            <a:spLocks noGrp="1"/>
          </p:cNvSpPr>
          <p:nvPr>
            <p:ph type="dt" sz="half" idx="17"/>
          </p:nvPr>
        </p:nvSpPr>
        <p:spPr/>
        <p:txBody>
          <a:bodyPr/>
          <a:lstStyle>
            <a:lvl1pPr>
              <a:defRPr/>
            </a:lvl1pPr>
          </a:lstStyle>
          <a:p>
            <a:pPr>
              <a:defRPr/>
            </a:pPr>
            <a:endParaRPr lang="de-DE">
              <a:solidFill>
                <a:srgbClr val="6E7A82"/>
              </a:solidFill>
            </a:endParaRPr>
          </a:p>
        </p:txBody>
      </p:sp>
      <p:sp>
        <p:nvSpPr>
          <p:cNvPr id="14" name="Fußzeilenplatzhalter 4"/>
          <p:cNvSpPr>
            <a:spLocks noGrp="1"/>
          </p:cNvSpPr>
          <p:nvPr>
            <p:ph type="ftr" sz="quarter" idx="18"/>
          </p:nvPr>
        </p:nvSpPr>
        <p:spPr/>
        <p:txBody>
          <a:bodyPr/>
          <a:lstStyle>
            <a:lvl1pPr>
              <a:defRPr/>
            </a:lvl1pPr>
          </a:lstStyle>
          <a:p>
            <a:pPr>
              <a:defRPr/>
            </a:pPr>
            <a:r>
              <a:rPr lang="de-DE">
                <a:solidFill>
                  <a:srgbClr val="007FC3"/>
                </a:solidFill>
              </a:rPr>
              <a:t>SICK | January 2015 | Confidential</a:t>
            </a:r>
          </a:p>
        </p:txBody>
      </p:sp>
      <p:sp>
        <p:nvSpPr>
          <p:cNvPr id="15" name="Foliennummernplatzhalter 5"/>
          <p:cNvSpPr>
            <a:spLocks noGrp="1"/>
          </p:cNvSpPr>
          <p:nvPr>
            <p:ph type="sldNum" sz="quarter" idx="19"/>
          </p:nvPr>
        </p:nvSpPr>
        <p:spPr/>
        <p:txBody>
          <a:bodyPr/>
          <a:lstStyle>
            <a:lvl1pPr>
              <a:defRPr/>
            </a:lvl1pPr>
          </a:lstStyle>
          <a:p>
            <a:pPr>
              <a:defRPr/>
            </a:pPr>
            <a:fld id="{159A8163-EA98-409E-8F1D-314D967738C8}" type="slidenum">
              <a:rPr lang="de-DE">
                <a:solidFill>
                  <a:srgbClr val="6E7A82"/>
                </a:solidFill>
              </a:rPr>
              <a:pPr>
                <a:defRPr/>
              </a:pPr>
              <a:t>‹#›</a:t>
            </a:fld>
            <a:endParaRPr lang="de-DE">
              <a:solidFill>
                <a:srgbClr val="6E7A82"/>
              </a:solidFill>
            </a:endParaRPr>
          </a:p>
        </p:txBody>
      </p:sp>
    </p:spTree>
    <p:extLst>
      <p:ext uri="{BB962C8B-B14F-4D97-AF65-F5344CB8AC3E}">
        <p14:creationId xmlns:p14="http://schemas.microsoft.com/office/powerpoint/2010/main" val="499368435"/>
      </p:ext>
    </p:extLst>
  </p:cSld>
  <p:clrMapOvr>
    <a:masterClrMapping/>
  </p:clrMapOvr>
  <p:transition>
    <p:zoom/>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4 Inhalte Matrix">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379997" y="709078"/>
            <a:ext cx="4086346" cy="2121275"/>
          </a:xfrm>
        </p:spPr>
        <p:txBody>
          <a:bodyPr bIns="72000"/>
          <a:lstStyle>
            <a:lvl1pPr>
              <a:defRPr sz="1501"/>
            </a:lvl1pPr>
            <a:lvl2pPr>
              <a:defRPr sz="1351"/>
            </a:lvl2pPr>
            <a:lvl3pPr>
              <a:defRPr sz="1201"/>
            </a:lvl3pPr>
            <a:lvl4pPr>
              <a:defRPr sz="826"/>
            </a:lvl4pPr>
            <a:lvl5pPr>
              <a:defRPr sz="1351"/>
            </a:lvl5pPr>
            <a:lvl6pPr>
              <a:defRPr sz="1351"/>
            </a:lvl6pPr>
            <a:lvl7pPr>
              <a:defRPr sz="1351"/>
            </a:lvl7pPr>
            <a:lvl8pPr>
              <a:defRPr sz="1351"/>
            </a:lvl8pPr>
            <a:lvl9pPr>
              <a:defRPr sz="1351"/>
            </a:lvl9pPr>
          </a:lstStyle>
          <a:p>
            <a:pPr lvl="0"/>
            <a:r>
              <a:rPr lang="de-DE"/>
              <a:t>Textmasterformat bearbeiten</a:t>
            </a:r>
          </a:p>
          <a:p>
            <a:pPr lvl="1"/>
            <a:r>
              <a:rPr lang="de-DE"/>
              <a:t>Zweite Ebene</a:t>
            </a:r>
          </a:p>
          <a:p>
            <a:pPr lvl="2"/>
            <a:r>
              <a:rPr lang="de-DE"/>
              <a:t>Dritte Ebene</a:t>
            </a:r>
          </a:p>
        </p:txBody>
      </p:sp>
      <p:sp>
        <p:nvSpPr>
          <p:cNvPr id="4" name="Inhaltsplatzhalter 3"/>
          <p:cNvSpPr>
            <a:spLocks noGrp="1"/>
          </p:cNvSpPr>
          <p:nvPr>
            <p:ph sz="half" idx="2"/>
          </p:nvPr>
        </p:nvSpPr>
        <p:spPr>
          <a:xfrm>
            <a:off x="379997" y="2830353"/>
            <a:ext cx="4086346" cy="2122466"/>
          </a:xfrm>
        </p:spPr>
        <p:txBody>
          <a:bodyPr bIns="72000"/>
          <a:lstStyle>
            <a:lvl1pPr>
              <a:defRPr sz="1501"/>
            </a:lvl1pPr>
            <a:lvl2pPr>
              <a:defRPr sz="1351"/>
            </a:lvl2pPr>
            <a:lvl3pPr>
              <a:defRPr sz="1201"/>
            </a:lvl3pPr>
            <a:lvl4pPr>
              <a:defRPr sz="826"/>
            </a:lvl4pPr>
            <a:lvl5pPr>
              <a:defRPr sz="1351"/>
            </a:lvl5pPr>
            <a:lvl6pPr>
              <a:defRPr sz="1351"/>
            </a:lvl6pPr>
            <a:lvl7pPr>
              <a:defRPr sz="1351"/>
            </a:lvl7pPr>
            <a:lvl8pPr>
              <a:defRPr sz="1351"/>
            </a:lvl8pPr>
            <a:lvl9pPr>
              <a:defRPr sz="1351"/>
            </a:lvl9pPr>
          </a:lstStyle>
          <a:p>
            <a:pPr lvl="0"/>
            <a:r>
              <a:rPr lang="de-DE"/>
              <a:t>Textmasterformat bearbeiten</a:t>
            </a:r>
          </a:p>
          <a:p>
            <a:pPr lvl="1"/>
            <a:r>
              <a:rPr lang="de-DE"/>
              <a:t>Zweite Ebene</a:t>
            </a:r>
          </a:p>
          <a:p>
            <a:pPr lvl="2"/>
            <a:r>
              <a:rPr lang="de-DE"/>
              <a:t>Dritte Ebene</a:t>
            </a:r>
          </a:p>
        </p:txBody>
      </p:sp>
      <p:sp>
        <p:nvSpPr>
          <p:cNvPr id="12" name="Inhaltsplatzhalter 3"/>
          <p:cNvSpPr>
            <a:spLocks noGrp="1"/>
          </p:cNvSpPr>
          <p:nvPr>
            <p:ph sz="half" idx="15"/>
          </p:nvPr>
        </p:nvSpPr>
        <p:spPr>
          <a:xfrm>
            <a:off x="4672157" y="709078"/>
            <a:ext cx="4087385" cy="2121275"/>
          </a:xfrm>
        </p:spPr>
        <p:txBody>
          <a:bodyPr bIns="72000"/>
          <a:lstStyle>
            <a:lvl1pPr>
              <a:defRPr sz="1501"/>
            </a:lvl1pPr>
            <a:lvl2pPr>
              <a:defRPr sz="1351"/>
            </a:lvl2pPr>
            <a:lvl3pPr>
              <a:defRPr sz="1201"/>
            </a:lvl3pPr>
            <a:lvl4pPr>
              <a:defRPr sz="826"/>
            </a:lvl4pPr>
            <a:lvl5pPr>
              <a:defRPr sz="1351"/>
            </a:lvl5pPr>
            <a:lvl6pPr>
              <a:defRPr sz="1351"/>
            </a:lvl6pPr>
            <a:lvl7pPr>
              <a:defRPr sz="1351"/>
            </a:lvl7pPr>
            <a:lvl8pPr>
              <a:defRPr sz="1351"/>
            </a:lvl8pPr>
            <a:lvl9pPr>
              <a:defRPr sz="1351"/>
            </a:lvl9pPr>
          </a:lstStyle>
          <a:p>
            <a:pPr lvl="0"/>
            <a:r>
              <a:rPr lang="de-DE"/>
              <a:t>Textmasterformat bearbeiten</a:t>
            </a:r>
          </a:p>
          <a:p>
            <a:pPr lvl="1"/>
            <a:r>
              <a:rPr lang="de-DE"/>
              <a:t>Zweite Ebene</a:t>
            </a:r>
          </a:p>
          <a:p>
            <a:pPr lvl="2"/>
            <a:r>
              <a:rPr lang="de-DE"/>
              <a:t>Dritte Ebene</a:t>
            </a:r>
          </a:p>
        </p:txBody>
      </p:sp>
      <p:sp>
        <p:nvSpPr>
          <p:cNvPr id="15" name="Inhaltsplatzhalter 3"/>
          <p:cNvSpPr>
            <a:spLocks noGrp="1"/>
          </p:cNvSpPr>
          <p:nvPr>
            <p:ph sz="half" idx="18"/>
          </p:nvPr>
        </p:nvSpPr>
        <p:spPr>
          <a:xfrm>
            <a:off x="4672157" y="2830353"/>
            <a:ext cx="4087385" cy="2122466"/>
          </a:xfrm>
        </p:spPr>
        <p:txBody>
          <a:bodyPr bIns="72000"/>
          <a:lstStyle>
            <a:lvl1pPr>
              <a:defRPr sz="1501"/>
            </a:lvl1pPr>
            <a:lvl2pPr>
              <a:defRPr sz="1351"/>
            </a:lvl2pPr>
            <a:lvl3pPr>
              <a:defRPr sz="1201"/>
            </a:lvl3pPr>
            <a:lvl4pPr>
              <a:defRPr sz="826"/>
            </a:lvl4pPr>
            <a:lvl5pPr>
              <a:defRPr sz="1351"/>
            </a:lvl5pPr>
            <a:lvl6pPr>
              <a:defRPr sz="1351"/>
            </a:lvl6pPr>
            <a:lvl7pPr>
              <a:defRPr sz="1351"/>
            </a:lvl7pPr>
            <a:lvl8pPr>
              <a:defRPr sz="1351"/>
            </a:lvl8pPr>
            <a:lvl9pPr>
              <a:defRPr sz="1351"/>
            </a:lvl9pPr>
          </a:lstStyle>
          <a:p>
            <a:pPr lvl="0"/>
            <a:r>
              <a:rPr lang="de-DE"/>
              <a:t>Textmasterformat bearbeiten</a:t>
            </a:r>
          </a:p>
          <a:p>
            <a:pPr lvl="1"/>
            <a:r>
              <a:rPr lang="de-DE"/>
              <a:t>Zweite Ebene</a:t>
            </a:r>
          </a:p>
          <a:p>
            <a:pPr lvl="2"/>
            <a:r>
              <a:rPr lang="de-DE"/>
              <a:t>Dritte Ebene</a:t>
            </a:r>
          </a:p>
        </p:txBody>
      </p:sp>
      <p:sp>
        <p:nvSpPr>
          <p:cNvPr id="11" name="Titel 1"/>
          <p:cNvSpPr>
            <a:spLocks noGrp="1"/>
          </p:cNvSpPr>
          <p:nvPr>
            <p:ph type="title"/>
          </p:nvPr>
        </p:nvSpPr>
        <p:spPr>
          <a:xfrm>
            <a:off x="383931" y="216200"/>
            <a:ext cx="7145936" cy="195691"/>
          </a:xfrm>
        </p:spPr>
        <p:txBody>
          <a:bodyPr/>
          <a:lstStyle>
            <a:lvl1pPr>
              <a:defRPr baseline="0"/>
            </a:lvl1pPr>
          </a:lstStyle>
          <a:p>
            <a:r>
              <a:rPr lang="de-DE"/>
              <a:t>Titelmasterformat durch Klicken bearbeiten</a:t>
            </a:r>
          </a:p>
        </p:txBody>
      </p:sp>
      <p:sp>
        <p:nvSpPr>
          <p:cNvPr id="13" name="Textplatzhalter 2"/>
          <p:cNvSpPr>
            <a:spLocks noGrp="1"/>
          </p:cNvSpPr>
          <p:nvPr>
            <p:ph type="body" idx="13"/>
          </p:nvPr>
        </p:nvSpPr>
        <p:spPr>
          <a:xfrm>
            <a:off x="383931" y="411891"/>
            <a:ext cx="7145936" cy="216200"/>
          </a:xfrm>
        </p:spPr>
        <p:txBody>
          <a:bodyPr tIns="0"/>
          <a:lstStyle>
            <a:lvl1pPr marL="0" indent="0">
              <a:buNone/>
              <a:defRPr sz="1501" cap="all" baseline="0">
                <a:solidFill>
                  <a:schemeClr val="accent4"/>
                </a:solidFill>
              </a:defRPr>
            </a:lvl1pPr>
            <a:lvl2pPr marL="343220" indent="0">
              <a:buNone/>
              <a:defRPr sz="1351">
                <a:solidFill>
                  <a:schemeClr val="tx1">
                    <a:tint val="75000"/>
                  </a:schemeClr>
                </a:solidFill>
              </a:defRPr>
            </a:lvl2pPr>
            <a:lvl3pPr marL="686440" indent="0">
              <a:buNone/>
              <a:defRPr sz="1201">
                <a:solidFill>
                  <a:schemeClr val="tx1">
                    <a:tint val="75000"/>
                  </a:schemeClr>
                </a:solidFill>
              </a:defRPr>
            </a:lvl3pPr>
            <a:lvl4pPr marL="1029660" indent="0">
              <a:buNone/>
              <a:defRPr sz="1051">
                <a:solidFill>
                  <a:schemeClr val="tx1">
                    <a:tint val="75000"/>
                  </a:schemeClr>
                </a:solidFill>
              </a:defRPr>
            </a:lvl4pPr>
            <a:lvl5pPr marL="1372880" indent="0">
              <a:buNone/>
              <a:defRPr sz="1051">
                <a:solidFill>
                  <a:schemeClr val="tx1">
                    <a:tint val="75000"/>
                  </a:schemeClr>
                </a:solidFill>
              </a:defRPr>
            </a:lvl5pPr>
            <a:lvl6pPr marL="1716100" indent="0">
              <a:buNone/>
              <a:defRPr sz="1051">
                <a:solidFill>
                  <a:schemeClr val="tx1">
                    <a:tint val="75000"/>
                  </a:schemeClr>
                </a:solidFill>
              </a:defRPr>
            </a:lvl6pPr>
            <a:lvl7pPr marL="2059320" indent="0">
              <a:buNone/>
              <a:defRPr sz="1051">
                <a:solidFill>
                  <a:schemeClr val="tx1">
                    <a:tint val="75000"/>
                  </a:schemeClr>
                </a:solidFill>
              </a:defRPr>
            </a:lvl7pPr>
            <a:lvl8pPr marL="2402540" indent="0">
              <a:buNone/>
              <a:defRPr sz="1051">
                <a:solidFill>
                  <a:schemeClr val="tx1">
                    <a:tint val="75000"/>
                  </a:schemeClr>
                </a:solidFill>
              </a:defRPr>
            </a:lvl8pPr>
            <a:lvl9pPr marL="2745760" indent="0">
              <a:buNone/>
              <a:defRPr sz="1051">
                <a:solidFill>
                  <a:schemeClr val="tx1">
                    <a:tint val="75000"/>
                  </a:schemeClr>
                </a:solidFill>
              </a:defRPr>
            </a:lvl9pPr>
          </a:lstStyle>
          <a:p>
            <a:pPr lvl="0"/>
            <a:r>
              <a:rPr lang="de-DE"/>
              <a:t>Textmasterformat bearbeiten</a:t>
            </a:r>
          </a:p>
        </p:txBody>
      </p:sp>
      <p:sp>
        <p:nvSpPr>
          <p:cNvPr id="8" name="Datumsplatzhalter 3"/>
          <p:cNvSpPr>
            <a:spLocks noGrp="1"/>
          </p:cNvSpPr>
          <p:nvPr>
            <p:ph type="dt" sz="half" idx="19"/>
          </p:nvPr>
        </p:nvSpPr>
        <p:spPr/>
        <p:txBody>
          <a:bodyPr/>
          <a:lstStyle>
            <a:lvl1pPr>
              <a:defRPr/>
            </a:lvl1pPr>
          </a:lstStyle>
          <a:p>
            <a:pPr>
              <a:defRPr/>
            </a:pPr>
            <a:endParaRPr lang="de-DE">
              <a:solidFill>
                <a:srgbClr val="6E7A82"/>
              </a:solidFill>
            </a:endParaRPr>
          </a:p>
        </p:txBody>
      </p:sp>
      <p:sp>
        <p:nvSpPr>
          <p:cNvPr id="9" name="Fußzeilenplatzhalter 4"/>
          <p:cNvSpPr>
            <a:spLocks noGrp="1"/>
          </p:cNvSpPr>
          <p:nvPr>
            <p:ph type="ftr" sz="quarter" idx="20"/>
          </p:nvPr>
        </p:nvSpPr>
        <p:spPr/>
        <p:txBody>
          <a:bodyPr/>
          <a:lstStyle>
            <a:lvl1pPr>
              <a:defRPr/>
            </a:lvl1pPr>
          </a:lstStyle>
          <a:p>
            <a:pPr>
              <a:defRPr/>
            </a:pPr>
            <a:r>
              <a:rPr lang="de-DE">
                <a:solidFill>
                  <a:srgbClr val="007FC3"/>
                </a:solidFill>
              </a:rPr>
              <a:t>SICK | January 2015 | Confidential</a:t>
            </a:r>
          </a:p>
        </p:txBody>
      </p:sp>
      <p:sp>
        <p:nvSpPr>
          <p:cNvPr id="10" name="Foliennummernplatzhalter 5"/>
          <p:cNvSpPr>
            <a:spLocks noGrp="1"/>
          </p:cNvSpPr>
          <p:nvPr>
            <p:ph type="sldNum" sz="quarter" idx="21"/>
          </p:nvPr>
        </p:nvSpPr>
        <p:spPr/>
        <p:txBody>
          <a:bodyPr/>
          <a:lstStyle>
            <a:lvl1pPr>
              <a:defRPr/>
            </a:lvl1pPr>
          </a:lstStyle>
          <a:p>
            <a:pPr>
              <a:defRPr/>
            </a:pPr>
            <a:fld id="{F6082A08-D02A-4C2C-B808-CA773990A7BB}" type="slidenum">
              <a:rPr lang="de-DE">
                <a:solidFill>
                  <a:srgbClr val="6E7A82"/>
                </a:solidFill>
              </a:rPr>
              <a:pPr>
                <a:defRPr/>
              </a:pPr>
              <a:t>‹#›</a:t>
            </a:fld>
            <a:endParaRPr lang="de-DE">
              <a:solidFill>
                <a:srgbClr val="6E7A82"/>
              </a:solidFill>
            </a:endParaRPr>
          </a:p>
        </p:txBody>
      </p:sp>
    </p:spTree>
    <p:extLst>
      <p:ext uri="{BB962C8B-B14F-4D97-AF65-F5344CB8AC3E}">
        <p14:creationId xmlns:p14="http://schemas.microsoft.com/office/powerpoint/2010/main" val="2554515095"/>
      </p:ext>
    </p:extLst>
  </p:cSld>
  <p:clrMapOvr>
    <a:masterClrMapping/>
  </p:clrMapOvr>
  <p:transition>
    <p:zoom/>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Nur Titel + Untertitel">
    <p:spTree>
      <p:nvGrpSpPr>
        <p:cNvPr id="1" name=""/>
        <p:cNvGrpSpPr/>
        <p:nvPr/>
      </p:nvGrpSpPr>
      <p:grpSpPr>
        <a:xfrm>
          <a:off x="0" y="0"/>
          <a:ext cx="0" cy="0"/>
          <a:chOff x="0" y="0"/>
          <a:chExt cx="0" cy="0"/>
        </a:xfrm>
      </p:grpSpPr>
      <p:sp>
        <p:nvSpPr>
          <p:cNvPr id="7" name="Titel 1"/>
          <p:cNvSpPr>
            <a:spLocks noGrp="1"/>
          </p:cNvSpPr>
          <p:nvPr>
            <p:ph type="title"/>
          </p:nvPr>
        </p:nvSpPr>
        <p:spPr>
          <a:xfrm>
            <a:off x="383931" y="216200"/>
            <a:ext cx="7145936" cy="195691"/>
          </a:xfrm>
        </p:spPr>
        <p:txBody>
          <a:bodyPr/>
          <a:lstStyle>
            <a:lvl1pPr>
              <a:defRPr baseline="0"/>
            </a:lvl1pPr>
          </a:lstStyle>
          <a:p>
            <a:r>
              <a:rPr lang="de-DE"/>
              <a:t>Titelmasterformat durch Klicken bearbeiten</a:t>
            </a:r>
          </a:p>
        </p:txBody>
      </p:sp>
      <p:sp>
        <p:nvSpPr>
          <p:cNvPr id="8" name="Textplatzhalter 2"/>
          <p:cNvSpPr>
            <a:spLocks noGrp="1"/>
          </p:cNvSpPr>
          <p:nvPr>
            <p:ph type="body" idx="13"/>
          </p:nvPr>
        </p:nvSpPr>
        <p:spPr>
          <a:xfrm>
            <a:off x="383931" y="411891"/>
            <a:ext cx="7145936" cy="216200"/>
          </a:xfrm>
        </p:spPr>
        <p:txBody>
          <a:bodyPr tIns="0"/>
          <a:lstStyle>
            <a:lvl1pPr marL="0" indent="0">
              <a:buNone/>
              <a:defRPr sz="1501" cap="all" baseline="0">
                <a:solidFill>
                  <a:schemeClr val="accent4"/>
                </a:solidFill>
              </a:defRPr>
            </a:lvl1pPr>
            <a:lvl2pPr marL="343220" indent="0">
              <a:buNone/>
              <a:defRPr sz="1351">
                <a:solidFill>
                  <a:schemeClr val="tx1">
                    <a:tint val="75000"/>
                  </a:schemeClr>
                </a:solidFill>
              </a:defRPr>
            </a:lvl2pPr>
            <a:lvl3pPr marL="686440" indent="0">
              <a:buNone/>
              <a:defRPr sz="1201">
                <a:solidFill>
                  <a:schemeClr val="tx1">
                    <a:tint val="75000"/>
                  </a:schemeClr>
                </a:solidFill>
              </a:defRPr>
            </a:lvl3pPr>
            <a:lvl4pPr marL="1029660" indent="0">
              <a:buNone/>
              <a:defRPr sz="1051">
                <a:solidFill>
                  <a:schemeClr val="tx1">
                    <a:tint val="75000"/>
                  </a:schemeClr>
                </a:solidFill>
              </a:defRPr>
            </a:lvl4pPr>
            <a:lvl5pPr marL="1372880" indent="0">
              <a:buNone/>
              <a:defRPr sz="1051">
                <a:solidFill>
                  <a:schemeClr val="tx1">
                    <a:tint val="75000"/>
                  </a:schemeClr>
                </a:solidFill>
              </a:defRPr>
            </a:lvl5pPr>
            <a:lvl6pPr marL="1716100" indent="0">
              <a:buNone/>
              <a:defRPr sz="1051">
                <a:solidFill>
                  <a:schemeClr val="tx1">
                    <a:tint val="75000"/>
                  </a:schemeClr>
                </a:solidFill>
              </a:defRPr>
            </a:lvl6pPr>
            <a:lvl7pPr marL="2059320" indent="0">
              <a:buNone/>
              <a:defRPr sz="1051">
                <a:solidFill>
                  <a:schemeClr val="tx1">
                    <a:tint val="75000"/>
                  </a:schemeClr>
                </a:solidFill>
              </a:defRPr>
            </a:lvl7pPr>
            <a:lvl8pPr marL="2402540" indent="0">
              <a:buNone/>
              <a:defRPr sz="1051">
                <a:solidFill>
                  <a:schemeClr val="tx1">
                    <a:tint val="75000"/>
                  </a:schemeClr>
                </a:solidFill>
              </a:defRPr>
            </a:lvl8pPr>
            <a:lvl9pPr marL="2745760" indent="0">
              <a:buNone/>
              <a:defRPr sz="1051">
                <a:solidFill>
                  <a:schemeClr val="tx1">
                    <a:tint val="75000"/>
                  </a:schemeClr>
                </a:solidFill>
              </a:defRPr>
            </a:lvl9pPr>
          </a:lstStyle>
          <a:p>
            <a:pPr lvl="0"/>
            <a:r>
              <a:rPr lang="de-DE"/>
              <a:t>Textmasterformat bearbeiten</a:t>
            </a:r>
          </a:p>
        </p:txBody>
      </p:sp>
      <p:sp>
        <p:nvSpPr>
          <p:cNvPr id="4" name="Datumsplatzhalter 3"/>
          <p:cNvSpPr>
            <a:spLocks noGrp="1"/>
          </p:cNvSpPr>
          <p:nvPr>
            <p:ph type="dt" sz="half" idx="14"/>
          </p:nvPr>
        </p:nvSpPr>
        <p:spPr/>
        <p:txBody>
          <a:bodyPr/>
          <a:lstStyle>
            <a:lvl1pPr>
              <a:defRPr/>
            </a:lvl1pPr>
          </a:lstStyle>
          <a:p>
            <a:pPr>
              <a:defRPr/>
            </a:pPr>
            <a:endParaRPr lang="de-DE">
              <a:solidFill>
                <a:srgbClr val="6E7A82"/>
              </a:solidFill>
            </a:endParaRPr>
          </a:p>
        </p:txBody>
      </p:sp>
      <p:sp>
        <p:nvSpPr>
          <p:cNvPr id="5" name="Fußzeilenplatzhalter 4"/>
          <p:cNvSpPr>
            <a:spLocks noGrp="1"/>
          </p:cNvSpPr>
          <p:nvPr>
            <p:ph type="ftr" sz="quarter" idx="15"/>
          </p:nvPr>
        </p:nvSpPr>
        <p:spPr/>
        <p:txBody>
          <a:bodyPr/>
          <a:lstStyle>
            <a:lvl1pPr>
              <a:defRPr/>
            </a:lvl1pPr>
          </a:lstStyle>
          <a:p>
            <a:pPr>
              <a:defRPr/>
            </a:pPr>
            <a:r>
              <a:rPr lang="de-DE">
                <a:solidFill>
                  <a:srgbClr val="007FC3"/>
                </a:solidFill>
              </a:rPr>
              <a:t>SICK | January 2015 | Confidential</a:t>
            </a:r>
          </a:p>
        </p:txBody>
      </p:sp>
      <p:sp>
        <p:nvSpPr>
          <p:cNvPr id="6" name="Foliennummernplatzhalter 5"/>
          <p:cNvSpPr>
            <a:spLocks noGrp="1"/>
          </p:cNvSpPr>
          <p:nvPr>
            <p:ph type="sldNum" sz="quarter" idx="16"/>
          </p:nvPr>
        </p:nvSpPr>
        <p:spPr/>
        <p:txBody>
          <a:bodyPr/>
          <a:lstStyle>
            <a:lvl1pPr>
              <a:defRPr/>
            </a:lvl1pPr>
          </a:lstStyle>
          <a:p>
            <a:pPr>
              <a:defRPr/>
            </a:pPr>
            <a:fld id="{132E5621-9C96-4D5F-949B-3AB499BE0119}" type="slidenum">
              <a:rPr lang="de-DE">
                <a:solidFill>
                  <a:srgbClr val="6E7A82"/>
                </a:solidFill>
              </a:rPr>
              <a:pPr>
                <a:defRPr/>
              </a:pPr>
              <a:t>‹#›</a:t>
            </a:fld>
            <a:endParaRPr lang="de-DE">
              <a:solidFill>
                <a:srgbClr val="6E7A82"/>
              </a:solidFill>
            </a:endParaRPr>
          </a:p>
        </p:txBody>
      </p:sp>
    </p:spTree>
    <p:extLst>
      <p:ext uri="{BB962C8B-B14F-4D97-AF65-F5344CB8AC3E}">
        <p14:creationId xmlns:p14="http://schemas.microsoft.com/office/powerpoint/2010/main" val="3662287794"/>
      </p:ext>
    </p:extLst>
  </p:cSld>
  <p:clrMapOvr>
    <a:masterClrMapping/>
  </p:clrMapOvr>
  <p:transition>
    <p:zoom/>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Kapitelfolie">
    <p:spTree>
      <p:nvGrpSpPr>
        <p:cNvPr id="1" name=""/>
        <p:cNvGrpSpPr/>
        <p:nvPr/>
      </p:nvGrpSpPr>
      <p:grpSpPr>
        <a:xfrm>
          <a:off x="0" y="0"/>
          <a:ext cx="0" cy="0"/>
          <a:chOff x="0" y="0"/>
          <a:chExt cx="0" cy="0"/>
        </a:xfrm>
      </p:grpSpPr>
      <p:graphicFrame>
        <p:nvGraphicFramePr>
          <p:cNvPr id="5" name="Objekt 27" hidden="1"/>
          <p:cNvGraphicFramePr>
            <a:graphicFrameLocks noChangeAspect="1"/>
          </p:cNvGraphicFramePr>
          <p:nvPr userDrawn="1">
            <p:custDataLst>
              <p:tags r:id="rId1"/>
            </p:custDataLst>
          </p:nvPr>
        </p:nvGraphicFramePr>
        <p:xfrm>
          <a:off x="1466" y="1193"/>
          <a:ext cx="1465" cy="1191"/>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5" name="Objekt 2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66" y="1193"/>
                        <a:ext cx="1465" cy="1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hteck 5"/>
          <p:cNvSpPr/>
          <p:nvPr userDrawn="1"/>
        </p:nvSpPr>
        <p:spPr>
          <a:xfrm>
            <a:off x="0" y="0"/>
            <a:ext cx="9144000" cy="514826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1351">
              <a:solidFill>
                <a:srgbClr val="FFFFFF"/>
              </a:solidFill>
            </a:endParaRPr>
          </a:p>
        </p:txBody>
      </p:sp>
      <p:sp>
        <p:nvSpPr>
          <p:cNvPr id="7" name="Rechteck 6"/>
          <p:cNvSpPr/>
          <p:nvPr userDrawn="1"/>
        </p:nvSpPr>
        <p:spPr>
          <a:xfrm>
            <a:off x="0" y="3242692"/>
            <a:ext cx="9144000" cy="54819"/>
          </a:xfrm>
          <a:prstGeom prst="rect">
            <a:avLst/>
          </a:prstGeom>
          <a:gradFill flip="none" rotWithShape="1">
            <a:gsLst>
              <a:gs pos="0">
                <a:schemeClr val="tx2"/>
              </a:gs>
              <a:gs pos="100000">
                <a:schemeClr val="tx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1351">
              <a:solidFill>
                <a:srgbClr val="FFFFFF"/>
              </a:solidFill>
            </a:endParaRPr>
          </a:p>
        </p:txBody>
      </p:sp>
      <p:pic>
        <p:nvPicPr>
          <p:cNvPr id="8" name="Grafik 33"/>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7281496" y="3513213"/>
            <a:ext cx="1465385" cy="4886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Bildplatzhalter 8"/>
          <p:cNvSpPr>
            <a:spLocks noGrp="1"/>
          </p:cNvSpPr>
          <p:nvPr>
            <p:ph type="pic" sz="quarter" idx="14"/>
          </p:nvPr>
        </p:nvSpPr>
        <p:spPr>
          <a:xfrm>
            <a:off x="0" y="0"/>
            <a:ext cx="9144000" cy="3216280"/>
          </a:xfrm>
        </p:spPr>
        <p:txBody>
          <a:bodyPr lIns="396000" tIns="180000" rIns="396000" bIns="180000" rtlCol="0">
            <a:noAutofit/>
          </a:bodyPr>
          <a:lstStyle>
            <a:lvl1pPr marL="0" indent="0">
              <a:buFontTx/>
              <a:buNone/>
              <a:defRPr sz="1201">
                <a:solidFill>
                  <a:schemeClr val="accent2"/>
                </a:solidFill>
              </a:defRPr>
            </a:lvl1pPr>
          </a:lstStyle>
          <a:p>
            <a:pPr lvl="0"/>
            <a:r>
              <a:rPr lang="de-DE" noProof="0"/>
              <a:t>Bild durch Klicken auf Symbol hinzufügen</a:t>
            </a:r>
          </a:p>
        </p:txBody>
      </p:sp>
      <p:sp>
        <p:nvSpPr>
          <p:cNvPr id="2" name="Titel 1"/>
          <p:cNvSpPr>
            <a:spLocks noGrp="1"/>
          </p:cNvSpPr>
          <p:nvPr>
            <p:ph type="title"/>
          </p:nvPr>
        </p:nvSpPr>
        <p:spPr>
          <a:xfrm>
            <a:off x="384458" y="3513250"/>
            <a:ext cx="6480000" cy="1351250"/>
          </a:xfrm>
        </p:spPr>
        <p:txBody>
          <a:bodyPr/>
          <a:lstStyle>
            <a:lvl1pPr algn="l">
              <a:defRPr sz="2402" b="0" cap="all" baseline="0"/>
            </a:lvl1pPr>
          </a:lstStyle>
          <a:p>
            <a:r>
              <a:rPr lang="de-DE"/>
              <a:t>Titelmasterformat durch Klicken bearbeiten</a:t>
            </a:r>
          </a:p>
        </p:txBody>
      </p:sp>
      <p:sp>
        <p:nvSpPr>
          <p:cNvPr id="3" name="Textplatzhalter 2"/>
          <p:cNvSpPr>
            <a:spLocks noGrp="1"/>
          </p:cNvSpPr>
          <p:nvPr>
            <p:ph type="body" idx="1"/>
          </p:nvPr>
        </p:nvSpPr>
        <p:spPr>
          <a:xfrm>
            <a:off x="7164000" y="2270405"/>
            <a:ext cx="1980000" cy="945875"/>
          </a:xfrm>
          <a:solidFill>
            <a:schemeClr val="bg1">
              <a:alpha val="85000"/>
            </a:schemeClr>
          </a:solidFill>
        </p:spPr>
        <p:txBody>
          <a:bodyPr lIns="180000" tIns="72000" rIns="396000" bIns="72000" anchor="ctr"/>
          <a:lstStyle>
            <a:lvl1pPr marL="0" indent="0">
              <a:buNone/>
              <a:defRPr sz="4504" b="0">
                <a:solidFill>
                  <a:schemeClr val="tx2"/>
                </a:solidFill>
              </a:defRPr>
            </a:lvl1pPr>
            <a:lvl2pPr marL="343220" indent="0">
              <a:buNone/>
              <a:defRPr sz="1351">
                <a:solidFill>
                  <a:schemeClr val="tx1">
                    <a:tint val="75000"/>
                  </a:schemeClr>
                </a:solidFill>
              </a:defRPr>
            </a:lvl2pPr>
            <a:lvl3pPr marL="686440" indent="0">
              <a:buNone/>
              <a:defRPr sz="1201">
                <a:solidFill>
                  <a:schemeClr val="tx1">
                    <a:tint val="75000"/>
                  </a:schemeClr>
                </a:solidFill>
              </a:defRPr>
            </a:lvl3pPr>
            <a:lvl4pPr marL="1029660" indent="0">
              <a:buNone/>
              <a:defRPr sz="1051">
                <a:solidFill>
                  <a:schemeClr val="tx1">
                    <a:tint val="75000"/>
                  </a:schemeClr>
                </a:solidFill>
              </a:defRPr>
            </a:lvl4pPr>
            <a:lvl5pPr marL="1372880" indent="0">
              <a:buNone/>
              <a:defRPr sz="1051">
                <a:solidFill>
                  <a:schemeClr val="tx1">
                    <a:tint val="75000"/>
                  </a:schemeClr>
                </a:solidFill>
              </a:defRPr>
            </a:lvl5pPr>
            <a:lvl6pPr marL="1716100" indent="0">
              <a:buNone/>
              <a:defRPr sz="1051">
                <a:solidFill>
                  <a:schemeClr val="tx1">
                    <a:tint val="75000"/>
                  </a:schemeClr>
                </a:solidFill>
              </a:defRPr>
            </a:lvl6pPr>
            <a:lvl7pPr marL="2059320" indent="0">
              <a:buNone/>
              <a:defRPr sz="1051">
                <a:solidFill>
                  <a:schemeClr val="tx1">
                    <a:tint val="75000"/>
                  </a:schemeClr>
                </a:solidFill>
              </a:defRPr>
            </a:lvl7pPr>
            <a:lvl8pPr marL="2402540" indent="0">
              <a:buNone/>
              <a:defRPr sz="1051">
                <a:solidFill>
                  <a:schemeClr val="tx1">
                    <a:tint val="75000"/>
                  </a:schemeClr>
                </a:solidFill>
              </a:defRPr>
            </a:lvl8pPr>
            <a:lvl9pPr marL="2745760" indent="0">
              <a:buNone/>
              <a:defRPr sz="1051">
                <a:solidFill>
                  <a:schemeClr val="tx1">
                    <a:tint val="75000"/>
                  </a:schemeClr>
                </a:solidFill>
              </a:defRPr>
            </a:lvl9pPr>
          </a:lstStyle>
          <a:p>
            <a:pPr lvl="0"/>
            <a:r>
              <a:rPr lang="de-DE"/>
              <a:t>Textmasterformat bearbeiten</a:t>
            </a:r>
          </a:p>
        </p:txBody>
      </p:sp>
    </p:spTree>
    <p:extLst>
      <p:ext uri="{BB962C8B-B14F-4D97-AF65-F5344CB8AC3E}">
        <p14:creationId xmlns:p14="http://schemas.microsoft.com/office/powerpoint/2010/main" val="3026117744"/>
      </p:ext>
    </p:extLst>
  </p:cSld>
  <p:clrMapOvr>
    <a:masterClrMapping/>
  </p:clrMapOvr>
  <p:transition>
    <p:zoom/>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type="picTx" preserve="1">
  <p:cSld name="Bild vollflächig mit Titelbanderole">
    <p:spTree>
      <p:nvGrpSpPr>
        <p:cNvPr id="1" name=""/>
        <p:cNvGrpSpPr/>
        <p:nvPr/>
      </p:nvGrpSpPr>
      <p:grpSpPr>
        <a:xfrm>
          <a:off x="0" y="0"/>
          <a:ext cx="0" cy="0"/>
          <a:chOff x="0" y="0"/>
          <a:chExt cx="0" cy="0"/>
        </a:xfrm>
      </p:grpSpPr>
      <p:graphicFrame>
        <p:nvGraphicFramePr>
          <p:cNvPr id="5" name="Objekt 27" hidden="1"/>
          <p:cNvGraphicFramePr>
            <a:graphicFrameLocks noChangeAspect="1"/>
          </p:cNvGraphicFramePr>
          <p:nvPr userDrawn="1">
            <p:custDataLst>
              <p:tags r:id="rId1"/>
            </p:custDataLst>
          </p:nvPr>
        </p:nvGraphicFramePr>
        <p:xfrm>
          <a:off x="1466" y="1193"/>
          <a:ext cx="1465" cy="1191"/>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5" name="Objekt 2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66" y="1193"/>
                        <a:ext cx="1465" cy="1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Bildplatzhalter 2"/>
          <p:cNvSpPr>
            <a:spLocks noGrp="1"/>
          </p:cNvSpPr>
          <p:nvPr>
            <p:ph type="pic" idx="1"/>
          </p:nvPr>
        </p:nvSpPr>
        <p:spPr>
          <a:xfrm>
            <a:off x="0" y="709079"/>
            <a:ext cx="9144000" cy="4243741"/>
          </a:xfrm>
        </p:spPr>
        <p:txBody>
          <a:bodyPr lIns="396000" tIns="180000" rIns="396000" bIns="180000" rtlCol="0">
            <a:noAutofit/>
          </a:bodyPr>
          <a:lstStyle>
            <a:lvl1pPr marL="0" indent="0">
              <a:buNone/>
              <a:defRPr sz="1201">
                <a:solidFill>
                  <a:schemeClr val="accent2"/>
                </a:solidFill>
              </a:defRPr>
            </a:lvl1pPr>
            <a:lvl2pPr marL="343220" indent="0">
              <a:buNone/>
              <a:defRPr sz="2102"/>
            </a:lvl2pPr>
            <a:lvl3pPr marL="686440" indent="0">
              <a:buNone/>
              <a:defRPr sz="1802"/>
            </a:lvl3pPr>
            <a:lvl4pPr marL="1029660" indent="0">
              <a:buNone/>
              <a:defRPr sz="1501"/>
            </a:lvl4pPr>
            <a:lvl5pPr marL="1372880" indent="0">
              <a:buNone/>
              <a:defRPr sz="1501"/>
            </a:lvl5pPr>
            <a:lvl6pPr marL="1716100" indent="0">
              <a:buNone/>
              <a:defRPr sz="1501"/>
            </a:lvl6pPr>
            <a:lvl7pPr marL="2059320" indent="0">
              <a:buNone/>
              <a:defRPr sz="1501"/>
            </a:lvl7pPr>
            <a:lvl8pPr marL="2402540" indent="0">
              <a:buNone/>
              <a:defRPr sz="1501"/>
            </a:lvl8pPr>
            <a:lvl9pPr marL="2745760" indent="0">
              <a:buNone/>
              <a:defRPr sz="1501"/>
            </a:lvl9pPr>
          </a:lstStyle>
          <a:p>
            <a:pPr lvl="0"/>
            <a:r>
              <a:rPr lang="de-DE" noProof="0"/>
              <a:t>Bild durch Klicken auf Symbol hinzufügen</a:t>
            </a:r>
          </a:p>
        </p:txBody>
      </p:sp>
      <p:sp>
        <p:nvSpPr>
          <p:cNvPr id="2" name="Titel 1"/>
          <p:cNvSpPr>
            <a:spLocks noGrp="1"/>
          </p:cNvSpPr>
          <p:nvPr>
            <p:ph type="title"/>
          </p:nvPr>
        </p:nvSpPr>
        <p:spPr>
          <a:xfrm>
            <a:off x="-1" y="3378125"/>
            <a:ext cx="9144000" cy="540500"/>
          </a:xfrm>
          <a:solidFill>
            <a:srgbClr val="FFFFFF">
              <a:alpha val="90000"/>
            </a:srgbClr>
          </a:solidFill>
        </p:spPr>
        <p:txBody>
          <a:bodyPr lIns="396000" tIns="36000" rIns="396000" bIns="36000" anchor="b"/>
          <a:lstStyle>
            <a:lvl1pPr algn="l">
              <a:defRPr sz="1802" b="0" baseline="0"/>
            </a:lvl1pPr>
          </a:lstStyle>
          <a:p>
            <a:r>
              <a:rPr lang="de-DE"/>
              <a:t>Titelmasterformat durch Klicken bearbeiten</a:t>
            </a:r>
          </a:p>
        </p:txBody>
      </p:sp>
      <p:sp>
        <p:nvSpPr>
          <p:cNvPr id="4" name="Textplatzhalter 3"/>
          <p:cNvSpPr>
            <a:spLocks noGrp="1"/>
          </p:cNvSpPr>
          <p:nvPr>
            <p:ph type="body" sz="half" idx="2"/>
          </p:nvPr>
        </p:nvSpPr>
        <p:spPr>
          <a:xfrm>
            <a:off x="0" y="3918625"/>
            <a:ext cx="9144000" cy="405375"/>
          </a:xfrm>
          <a:solidFill>
            <a:srgbClr val="FFFFFF">
              <a:alpha val="75000"/>
            </a:srgbClr>
          </a:solidFill>
        </p:spPr>
        <p:txBody>
          <a:bodyPr lIns="396000" tIns="36000" rIns="396000" bIns="36000"/>
          <a:lstStyle>
            <a:lvl1pPr marL="0" indent="0">
              <a:buNone/>
              <a:defRPr sz="1501" cap="all" baseline="0"/>
            </a:lvl1pPr>
            <a:lvl2pPr marL="343220" indent="0">
              <a:buNone/>
              <a:defRPr sz="901"/>
            </a:lvl2pPr>
            <a:lvl3pPr marL="686440" indent="0">
              <a:buNone/>
              <a:defRPr sz="751"/>
            </a:lvl3pPr>
            <a:lvl4pPr marL="1029660" indent="0">
              <a:buNone/>
              <a:defRPr sz="676"/>
            </a:lvl4pPr>
            <a:lvl5pPr marL="1372880" indent="0">
              <a:buNone/>
              <a:defRPr sz="676"/>
            </a:lvl5pPr>
            <a:lvl6pPr marL="1716100" indent="0">
              <a:buNone/>
              <a:defRPr sz="676"/>
            </a:lvl6pPr>
            <a:lvl7pPr marL="2059320" indent="0">
              <a:buNone/>
              <a:defRPr sz="676"/>
            </a:lvl7pPr>
            <a:lvl8pPr marL="2402540" indent="0">
              <a:buNone/>
              <a:defRPr sz="676"/>
            </a:lvl8pPr>
            <a:lvl9pPr marL="2745760" indent="0">
              <a:buNone/>
              <a:defRPr sz="676"/>
            </a:lvl9pPr>
          </a:lstStyle>
          <a:p>
            <a:pPr lvl="0"/>
            <a:r>
              <a:rPr lang="de-DE"/>
              <a:t>Textmasterformat bearbeiten</a:t>
            </a:r>
          </a:p>
        </p:txBody>
      </p:sp>
      <p:sp>
        <p:nvSpPr>
          <p:cNvPr id="6" name="Datumsplatzhalter 4"/>
          <p:cNvSpPr>
            <a:spLocks noGrp="1"/>
          </p:cNvSpPr>
          <p:nvPr>
            <p:ph type="dt" sz="half" idx="10"/>
          </p:nvPr>
        </p:nvSpPr>
        <p:spPr/>
        <p:txBody>
          <a:bodyPr/>
          <a:lstStyle>
            <a:lvl1pPr>
              <a:defRPr/>
            </a:lvl1pPr>
          </a:lstStyle>
          <a:p>
            <a:pPr>
              <a:defRPr/>
            </a:pPr>
            <a:endParaRPr lang="de-DE">
              <a:solidFill>
                <a:srgbClr val="6E7A82"/>
              </a:solidFill>
            </a:endParaRPr>
          </a:p>
        </p:txBody>
      </p:sp>
      <p:sp>
        <p:nvSpPr>
          <p:cNvPr id="7" name="Fußzeilenplatzhalter 5"/>
          <p:cNvSpPr>
            <a:spLocks noGrp="1"/>
          </p:cNvSpPr>
          <p:nvPr>
            <p:ph type="ftr" sz="quarter" idx="11"/>
          </p:nvPr>
        </p:nvSpPr>
        <p:spPr/>
        <p:txBody>
          <a:bodyPr/>
          <a:lstStyle>
            <a:lvl1pPr>
              <a:defRPr/>
            </a:lvl1pPr>
          </a:lstStyle>
          <a:p>
            <a:pPr>
              <a:defRPr/>
            </a:pPr>
            <a:r>
              <a:rPr lang="de-DE">
                <a:solidFill>
                  <a:srgbClr val="007FC3"/>
                </a:solidFill>
              </a:rPr>
              <a:t>SICK | January 2015 | Confidential</a:t>
            </a:r>
          </a:p>
        </p:txBody>
      </p:sp>
      <p:sp>
        <p:nvSpPr>
          <p:cNvPr id="8" name="Foliennummernplatzhalter 6"/>
          <p:cNvSpPr>
            <a:spLocks noGrp="1"/>
          </p:cNvSpPr>
          <p:nvPr>
            <p:ph type="sldNum" sz="quarter" idx="12"/>
          </p:nvPr>
        </p:nvSpPr>
        <p:spPr/>
        <p:txBody>
          <a:bodyPr/>
          <a:lstStyle>
            <a:lvl1pPr>
              <a:defRPr/>
            </a:lvl1pPr>
          </a:lstStyle>
          <a:p>
            <a:pPr>
              <a:defRPr/>
            </a:pPr>
            <a:fld id="{52153AD6-318F-4E62-9F3F-80B042BADD10}" type="slidenum">
              <a:rPr lang="de-DE">
                <a:solidFill>
                  <a:srgbClr val="6E7A82"/>
                </a:solidFill>
              </a:rPr>
              <a:pPr>
                <a:defRPr/>
              </a:pPr>
              <a:t>‹#›</a:t>
            </a:fld>
            <a:endParaRPr lang="de-DE">
              <a:solidFill>
                <a:srgbClr val="6E7A82"/>
              </a:solidFill>
            </a:endParaRPr>
          </a:p>
        </p:txBody>
      </p:sp>
    </p:spTree>
    <p:extLst>
      <p:ext uri="{BB962C8B-B14F-4D97-AF65-F5344CB8AC3E}">
        <p14:creationId xmlns:p14="http://schemas.microsoft.com/office/powerpoint/2010/main" val="23190927"/>
      </p:ext>
    </p:extLst>
  </p:cSld>
  <p:clrMapOvr>
    <a:masterClrMapping/>
  </p:clrMapOvr>
  <p:transition>
    <p:zoom/>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type="secHead" preserve="1">
  <p:cSld name="Schlussfolie">
    <p:spTree>
      <p:nvGrpSpPr>
        <p:cNvPr id="1" name=""/>
        <p:cNvGrpSpPr/>
        <p:nvPr/>
      </p:nvGrpSpPr>
      <p:grpSpPr>
        <a:xfrm>
          <a:off x="0" y="0"/>
          <a:ext cx="0" cy="0"/>
          <a:chOff x="0" y="0"/>
          <a:chExt cx="0" cy="0"/>
        </a:xfrm>
      </p:grpSpPr>
      <p:graphicFrame>
        <p:nvGraphicFramePr>
          <p:cNvPr id="4" name="Objekt 27" hidden="1"/>
          <p:cNvGraphicFramePr>
            <a:graphicFrameLocks noChangeAspect="1"/>
          </p:cNvGraphicFramePr>
          <p:nvPr userDrawn="1">
            <p:custDataLst>
              <p:tags r:id="rId1"/>
            </p:custDataLst>
          </p:nvPr>
        </p:nvGraphicFramePr>
        <p:xfrm>
          <a:off x="1466" y="1193"/>
          <a:ext cx="1465" cy="1191"/>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4" name="Objekt 2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66" y="1193"/>
                        <a:ext cx="1465" cy="1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hteck 4"/>
          <p:cNvSpPr/>
          <p:nvPr userDrawn="1"/>
        </p:nvSpPr>
        <p:spPr>
          <a:xfrm>
            <a:off x="0" y="0"/>
            <a:ext cx="9144000" cy="514826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1351">
              <a:solidFill>
                <a:srgbClr val="FFFFFF"/>
              </a:solidFill>
            </a:endParaRPr>
          </a:p>
        </p:txBody>
      </p:sp>
      <p:sp>
        <p:nvSpPr>
          <p:cNvPr id="6" name="Rechteck 5"/>
          <p:cNvSpPr/>
          <p:nvPr userDrawn="1"/>
        </p:nvSpPr>
        <p:spPr>
          <a:xfrm>
            <a:off x="0" y="3242692"/>
            <a:ext cx="9144000" cy="54819"/>
          </a:xfrm>
          <a:prstGeom prst="rect">
            <a:avLst/>
          </a:prstGeom>
          <a:gradFill flip="none" rotWithShape="1">
            <a:gsLst>
              <a:gs pos="0">
                <a:schemeClr val="tx2"/>
              </a:gs>
              <a:gs pos="100000">
                <a:schemeClr val="tx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1351">
              <a:solidFill>
                <a:srgbClr val="FFFFFF"/>
              </a:solidFill>
            </a:endParaRPr>
          </a:p>
        </p:txBody>
      </p:sp>
      <p:pic>
        <p:nvPicPr>
          <p:cNvPr id="7" name="Grafik 33"/>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7281496" y="3513213"/>
            <a:ext cx="1465385" cy="4886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el 1"/>
          <p:cNvSpPr>
            <a:spLocks noGrp="1"/>
          </p:cNvSpPr>
          <p:nvPr>
            <p:ph type="title"/>
          </p:nvPr>
        </p:nvSpPr>
        <p:spPr>
          <a:xfrm>
            <a:off x="375780" y="2195739"/>
            <a:ext cx="6480000" cy="777011"/>
          </a:xfrm>
        </p:spPr>
        <p:txBody>
          <a:bodyPr anchor="b"/>
          <a:lstStyle>
            <a:lvl1pPr algn="l">
              <a:defRPr sz="2402" b="0" cap="all" baseline="0"/>
            </a:lvl1pPr>
          </a:lstStyle>
          <a:p>
            <a:r>
              <a:rPr lang="de-DE"/>
              <a:t>Titelmasterformat durch Klicken bearbeiten</a:t>
            </a:r>
          </a:p>
        </p:txBody>
      </p:sp>
      <p:sp>
        <p:nvSpPr>
          <p:cNvPr id="3" name="Textplatzhalter 2"/>
          <p:cNvSpPr>
            <a:spLocks noGrp="1"/>
          </p:cNvSpPr>
          <p:nvPr>
            <p:ph type="body" idx="1"/>
          </p:nvPr>
        </p:nvSpPr>
        <p:spPr>
          <a:xfrm>
            <a:off x="375780" y="3459200"/>
            <a:ext cx="6480000" cy="1351250"/>
          </a:xfrm>
        </p:spPr>
        <p:txBody>
          <a:bodyPr tIns="0"/>
          <a:lstStyle>
            <a:lvl1pPr marL="0" indent="0">
              <a:buNone/>
              <a:defRPr sz="1501" baseline="0">
                <a:solidFill>
                  <a:schemeClr val="tx1">
                    <a:tint val="75000"/>
                  </a:schemeClr>
                </a:solidFill>
              </a:defRPr>
            </a:lvl1pPr>
            <a:lvl2pPr marL="343220" indent="0">
              <a:buNone/>
              <a:defRPr sz="1351">
                <a:solidFill>
                  <a:schemeClr val="tx1">
                    <a:tint val="75000"/>
                  </a:schemeClr>
                </a:solidFill>
              </a:defRPr>
            </a:lvl2pPr>
            <a:lvl3pPr marL="686440" indent="0">
              <a:buNone/>
              <a:defRPr sz="1201">
                <a:solidFill>
                  <a:schemeClr val="tx1">
                    <a:tint val="75000"/>
                  </a:schemeClr>
                </a:solidFill>
              </a:defRPr>
            </a:lvl3pPr>
            <a:lvl4pPr marL="1029660" indent="0">
              <a:buNone/>
              <a:defRPr sz="1051">
                <a:solidFill>
                  <a:schemeClr val="tx1">
                    <a:tint val="75000"/>
                  </a:schemeClr>
                </a:solidFill>
              </a:defRPr>
            </a:lvl4pPr>
            <a:lvl5pPr marL="1372880" indent="0">
              <a:buNone/>
              <a:defRPr sz="1051">
                <a:solidFill>
                  <a:schemeClr val="tx1">
                    <a:tint val="75000"/>
                  </a:schemeClr>
                </a:solidFill>
              </a:defRPr>
            </a:lvl5pPr>
            <a:lvl6pPr marL="1716100" indent="0">
              <a:buNone/>
              <a:defRPr sz="1051">
                <a:solidFill>
                  <a:schemeClr val="tx1">
                    <a:tint val="75000"/>
                  </a:schemeClr>
                </a:solidFill>
              </a:defRPr>
            </a:lvl6pPr>
            <a:lvl7pPr marL="2059320" indent="0">
              <a:buNone/>
              <a:defRPr sz="1051">
                <a:solidFill>
                  <a:schemeClr val="tx1">
                    <a:tint val="75000"/>
                  </a:schemeClr>
                </a:solidFill>
              </a:defRPr>
            </a:lvl7pPr>
            <a:lvl8pPr marL="2402540" indent="0">
              <a:buNone/>
              <a:defRPr sz="1051">
                <a:solidFill>
                  <a:schemeClr val="tx1">
                    <a:tint val="75000"/>
                  </a:schemeClr>
                </a:solidFill>
              </a:defRPr>
            </a:lvl8pPr>
            <a:lvl9pPr marL="2745760" indent="0">
              <a:buNone/>
              <a:defRPr sz="1051">
                <a:solidFill>
                  <a:schemeClr val="tx1">
                    <a:tint val="75000"/>
                  </a:schemeClr>
                </a:solidFill>
              </a:defRPr>
            </a:lvl9pPr>
          </a:lstStyle>
          <a:p>
            <a:pPr lvl="0"/>
            <a:r>
              <a:rPr lang="de-DE"/>
              <a:t>Textmasterformat bearbeiten</a:t>
            </a:r>
          </a:p>
        </p:txBody>
      </p:sp>
    </p:spTree>
    <p:extLst>
      <p:ext uri="{BB962C8B-B14F-4D97-AF65-F5344CB8AC3E}">
        <p14:creationId xmlns:p14="http://schemas.microsoft.com/office/powerpoint/2010/main" val="3574203287"/>
      </p:ext>
    </p:extLst>
  </p:cSld>
  <p:clrMapOvr>
    <a:masterClrMapping/>
  </p:clrMapOvr>
  <p:transition>
    <p:zoom/>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graphicFrame>
        <p:nvGraphicFramePr>
          <p:cNvPr id="2" name="Objekt 27" hidden="1"/>
          <p:cNvGraphicFramePr>
            <a:graphicFrameLocks noChangeAspect="1"/>
          </p:cNvGraphicFramePr>
          <p:nvPr userDrawn="1">
            <p:custDataLst>
              <p:tags r:id="rId1"/>
            </p:custDataLst>
          </p:nvPr>
        </p:nvGraphicFramePr>
        <p:xfrm>
          <a:off x="1466" y="1193"/>
          <a:ext cx="1465" cy="1191"/>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2" name="Objekt 2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66" y="1193"/>
                        <a:ext cx="1465" cy="1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hteck 2"/>
          <p:cNvSpPr/>
          <p:nvPr userDrawn="1"/>
        </p:nvSpPr>
        <p:spPr>
          <a:xfrm>
            <a:off x="0" y="0"/>
            <a:ext cx="9144000" cy="514826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1351">
              <a:solidFill>
                <a:srgbClr val="FFFFFF"/>
              </a:solidFill>
            </a:endParaRPr>
          </a:p>
        </p:txBody>
      </p:sp>
    </p:spTree>
    <p:extLst>
      <p:ext uri="{BB962C8B-B14F-4D97-AF65-F5344CB8AC3E}">
        <p14:creationId xmlns:p14="http://schemas.microsoft.com/office/powerpoint/2010/main" val="1411805443"/>
      </p:ext>
    </p:extLst>
  </p:cSld>
  <p:clrMapOvr>
    <a:masterClrMapping/>
  </p:clrMapOvr>
  <p:transition>
    <p:zoom/>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type="titleOnly">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Rectangle 4"/>
          <p:cNvSpPr>
            <a:spLocks noGrp="1" noChangeArrowheads="1"/>
          </p:cNvSpPr>
          <p:nvPr>
            <p:ph type="ftr" sz="quarter" idx="10"/>
          </p:nvPr>
        </p:nvSpPr>
        <p:spPr/>
        <p:txBody>
          <a:bodyPr/>
          <a:lstStyle>
            <a:lvl1pPr>
              <a:defRPr/>
            </a:lvl1pPr>
          </a:lstStyle>
          <a:p>
            <a:pPr>
              <a:defRPr/>
            </a:pPr>
            <a:r>
              <a:rPr lang="en-US">
                <a:solidFill>
                  <a:srgbClr val="007FC3"/>
                </a:solidFill>
              </a:rPr>
              <a:t>SICK | January 2015 | Confidential</a:t>
            </a:r>
          </a:p>
        </p:txBody>
      </p:sp>
      <p:sp>
        <p:nvSpPr>
          <p:cNvPr id="4" name="Rectangle 5"/>
          <p:cNvSpPr>
            <a:spLocks noGrp="1" noChangeArrowheads="1"/>
          </p:cNvSpPr>
          <p:nvPr>
            <p:ph type="sldNum" sz="quarter" idx="11"/>
          </p:nvPr>
        </p:nvSpPr>
        <p:spPr/>
        <p:txBody>
          <a:bodyPr/>
          <a:lstStyle>
            <a:lvl1pPr>
              <a:defRPr/>
            </a:lvl1pPr>
          </a:lstStyle>
          <a:p>
            <a:pPr>
              <a:defRPr/>
            </a:pPr>
            <a:fld id="{5F08BCD2-5BE6-4D82-A1AF-04762E12C74E}" type="slidenum">
              <a:rPr lang="en-US">
                <a:solidFill>
                  <a:srgbClr val="6E7A82"/>
                </a:solidFill>
              </a:rPr>
              <a:pPr>
                <a:defRPr/>
              </a:pPr>
              <a:t>‹#›</a:t>
            </a:fld>
            <a:endParaRPr lang="en-US">
              <a:solidFill>
                <a:srgbClr val="6E7A82"/>
              </a:solidFill>
            </a:endParaRPr>
          </a:p>
        </p:txBody>
      </p:sp>
    </p:spTree>
    <p:extLst>
      <p:ext uri="{BB962C8B-B14F-4D97-AF65-F5344CB8AC3E}">
        <p14:creationId xmlns:p14="http://schemas.microsoft.com/office/powerpoint/2010/main" val="3653315321"/>
      </p:ext>
    </p:extLst>
  </p:cSld>
  <p:clrMapOvr>
    <a:masterClrMapping/>
  </p:clrMapOvr>
  <p:transition>
    <p:zoom/>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Only title + subheadline">
    <p:spTree>
      <p:nvGrpSpPr>
        <p:cNvPr id="1" name=""/>
        <p:cNvGrpSpPr/>
        <p:nvPr/>
      </p:nvGrpSpPr>
      <p:grpSpPr>
        <a:xfrm>
          <a:off x="0" y="0"/>
          <a:ext cx="0" cy="0"/>
          <a:chOff x="0" y="0"/>
          <a:chExt cx="0" cy="0"/>
        </a:xfrm>
      </p:grpSpPr>
      <p:sp>
        <p:nvSpPr>
          <p:cNvPr id="8" name="Subheadline"/>
          <p:cNvSpPr>
            <a:spLocks noGrp="1"/>
          </p:cNvSpPr>
          <p:nvPr>
            <p:ph type="body" idx="13"/>
          </p:nvPr>
        </p:nvSpPr>
        <p:spPr>
          <a:xfrm>
            <a:off x="485169" y="411891"/>
            <a:ext cx="6745846" cy="216200"/>
          </a:xfrm>
        </p:spPr>
        <p:txBody>
          <a:bodyPr tIns="0"/>
          <a:lstStyle>
            <a:lvl1pPr marL="0" indent="0">
              <a:buNone/>
              <a:defRPr sz="1501" cap="all" baseline="0">
                <a:solidFill>
                  <a:schemeClr val="tx1"/>
                </a:solidFill>
              </a:defRPr>
            </a:lvl1pPr>
            <a:lvl2pPr marL="343220" indent="0">
              <a:buNone/>
              <a:defRPr sz="1351">
                <a:solidFill>
                  <a:schemeClr val="tx1">
                    <a:tint val="75000"/>
                  </a:schemeClr>
                </a:solidFill>
              </a:defRPr>
            </a:lvl2pPr>
            <a:lvl3pPr marL="686440" indent="0">
              <a:buNone/>
              <a:defRPr sz="1201">
                <a:solidFill>
                  <a:schemeClr val="tx1">
                    <a:tint val="75000"/>
                  </a:schemeClr>
                </a:solidFill>
              </a:defRPr>
            </a:lvl3pPr>
            <a:lvl4pPr marL="1029660" indent="0">
              <a:buNone/>
              <a:defRPr sz="1051">
                <a:solidFill>
                  <a:schemeClr val="tx1">
                    <a:tint val="75000"/>
                  </a:schemeClr>
                </a:solidFill>
              </a:defRPr>
            </a:lvl4pPr>
            <a:lvl5pPr marL="1372880" indent="0">
              <a:buNone/>
              <a:defRPr sz="1051">
                <a:solidFill>
                  <a:schemeClr val="tx1">
                    <a:tint val="75000"/>
                  </a:schemeClr>
                </a:solidFill>
              </a:defRPr>
            </a:lvl5pPr>
            <a:lvl6pPr marL="1716100" indent="0">
              <a:buNone/>
              <a:defRPr sz="1051">
                <a:solidFill>
                  <a:schemeClr val="tx1">
                    <a:tint val="75000"/>
                  </a:schemeClr>
                </a:solidFill>
              </a:defRPr>
            </a:lvl6pPr>
            <a:lvl7pPr marL="2059320" indent="0">
              <a:buNone/>
              <a:defRPr sz="1051">
                <a:solidFill>
                  <a:schemeClr val="tx1">
                    <a:tint val="75000"/>
                  </a:schemeClr>
                </a:solidFill>
              </a:defRPr>
            </a:lvl7pPr>
            <a:lvl8pPr marL="2402540" indent="0">
              <a:buNone/>
              <a:defRPr sz="1051">
                <a:solidFill>
                  <a:schemeClr val="tx1">
                    <a:tint val="75000"/>
                  </a:schemeClr>
                </a:solidFill>
              </a:defRPr>
            </a:lvl8pPr>
            <a:lvl9pPr marL="2745760" indent="0">
              <a:buNone/>
              <a:defRPr sz="1051">
                <a:solidFill>
                  <a:schemeClr val="tx1">
                    <a:tint val="75000"/>
                  </a:schemeClr>
                </a:solidFill>
              </a:defRPr>
            </a:lvl9pPr>
          </a:lstStyle>
          <a:p>
            <a:pPr lvl="0"/>
            <a:r>
              <a:rPr lang="de-DE" noProof="0"/>
              <a:t>Textmasterformat bearbeiten</a:t>
            </a:r>
          </a:p>
        </p:txBody>
      </p:sp>
      <p:sp>
        <p:nvSpPr>
          <p:cNvPr id="7" name="Titel"/>
          <p:cNvSpPr>
            <a:spLocks noGrp="1"/>
          </p:cNvSpPr>
          <p:nvPr>
            <p:ph type="title"/>
          </p:nvPr>
        </p:nvSpPr>
        <p:spPr>
          <a:xfrm>
            <a:off x="485169" y="216200"/>
            <a:ext cx="6745846" cy="195691"/>
          </a:xfrm>
        </p:spPr>
        <p:txBody>
          <a:bodyPr/>
          <a:lstStyle>
            <a:lvl1pPr>
              <a:defRPr baseline="0"/>
            </a:lvl1pPr>
          </a:lstStyle>
          <a:p>
            <a:r>
              <a:rPr lang="de-DE" noProof="0"/>
              <a:t>Titelmasterformat durch Klicken bearbeiten</a:t>
            </a:r>
            <a:endParaRPr lang="en-US" noProof="0"/>
          </a:p>
        </p:txBody>
      </p:sp>
      <p:sp>
        <p:nvSpPr>
          <p:cNvPr id="4" name="Foliennummernplatzhalter"/>
          <p:cNvSpPr>
            <a:spLocks noGrp="1"/>
          </p:cNvSpPr>
          <p:nvPr>
            <p:ph type="sldNum" sz="quarter" idx="14"/>
          </p:nvPr>
        </p:nvSpPr>
        <p:spPr/>
        <p:txBody>
          <a:bodyPr/>
          <a:lstStyle>
            <a:lvl1pPr>
              <a:defRPr/>
            </a:lvl1pPr>
          </a:lstStyle>
          <a:p>
            <a:pPr>
              <a:defRPr/>
            </a:pPr>
            <a:fld id="{D7015AB8-ABE2-415C-9FCE-90D43291F5A7}" type="slidenum">
              <a:rPr lang="en-US">
                <a:solidFill>
                  <a:srgbClr val="6E7A82"/>
                </a:solidFill>
              </a:rPr>
              <a:pPr>
                <a:defRPr/>
              </a:pPr>
              <a:t>‹#›</a:t>
            </a:fld>
            <a:endParaRPr lang="en-US">
              <a:solidFill>
                <a:srgbClr val="6E7A82"/>
              </a:solidFill>
            </a:endParaRPr>
          </a:p>
        </p:txBody>
      </p:sp>
      <p:sp>
        <p:nvSpPr>
          <p:cNvPr id="5" name="Fußzeilenplatzhalter"/>
          <p:cNvSpPr>
            <a:spLocks noGrp="1"/>
          </p:cNvSpPr>
          <p:nvPr>
            <p:ph type="ftr" sz="quarter" idx="15"/>
          </p:nvPr>
        </p:nvSpPr>
        <p:spPr/>
        <p:txBody>
          <a:bodyPr/>
          <a:lstStyle>
            <a:lvl1pPr>
              <a:defRPr/>
            </a:lvl1pPr>
          </a:lstStyle>
          <a:p>
            <a:pPr>
              <a:defRPr/>
            </a:pPr>
            <a:r>
              <a:rPr lang="en-US">
                <a:solidFill>
                  <a:srgbClr val="007FC3"/>
                </a:solidFill>
              </a:rPr>
              <a:t>SICK | January 2015 | Confidential</a:t>
            </a:r>
          </a:p>
        </p:txBody>
      </p:sp>
      <p:sp>
        <p:nvSpPr>
          <p:cNvPr id="6" name="Datumsplatzhalter"/>
          <p:cNvSpPr>
            <a:spLocks noGrp="1"/>
          </p:cNvSpPr>
          <p:nvPr>
            <p:ph type="dt" sz="half" idx="16"/>
          </p:nvPr>
        </p:nvSpPr>
        <p:spPr/>
        <p:txBody>
          <a:bodyPr/>
          <a:lstStyle>
            <a:lvl1pPr>
              <a:defRPr/>
            </a:lvl1pPr>
          </a:lstStyle>
          <a:p>
            <a:pPr>
              <a:defRPr/>
            </a:pPr>
            <a:endParaRPr lang="en-US">
              <a:solidFill>
                <a:srgbClr val="6E7A82"/>
              </a:solidFill>
            </a:endParaRPr>
          </a:p>
        </p:txBody>
      </p:sp>
    </p:spTree>
    <p:extLst>
      <p:ext uri="{BB962C8B-B14F-4D97-AF65-F5344CB8AC3E}">
        <p14:creationId xmlns:p14="http://schemas.microsoft.com/office/powerpoint/2010/main" val="2431921774"/>
      </p:ext>
    </p:extLst>
  </p:cSld>
  <p:clrMapOvr>
    <a:masterClrMapping/>
  </p:clrMapOvr>
  <p:transition>
    <p:zoom/>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FB888F5D-118B-5844-BDBD-792C8F9E02B8}"/>
              </a:ext>
            </a:extLst>
          </p:cNvPr>
          <p:cNvSpPr>
            <a:spLocks noGrp="1"/>
          </p:cNvSpPr>
          <p:nvPr>
            <p:ph type="title" hasCustomPrompt="1"/>
          </p:nvPr>
        </p:nvSpPr>
        <p:spPr>
          <a:xfrm>
            <a:off x="361950" y="291592"/>
            <a:ext cx="8229600" cy="461345"/>
          </a:xfrm>
          <a:prstGeom prst="rect">
            <a:avLst/>
          </a:prstGeom>
        </p:spPr>
        <p:txBody>
          <a:bodyPr vert="horz" lIns="91440" tIns="45720" rIns="91440" bIns="45720" rtlCol="0" anchor="ctr">
            <a:spAutoFit/>
          </a:bodyPr>
          <a:lstStyle>
            <a:lvl1pPr>
              <a:defRPr b="0" cap="none">
                <a:solidFill>
                  <a:schemeClr val="accent1"/>
                </a:solidFill>
              </a:defRPr>
            </a:lvl1pPr>
          </a:lstStyle>
          <a:p>
            <a:r>
              <a:rPr lang="en-US" dirty="0"/>
              <a:t>Click to Add Title</a:t>
            </a:r>
          </a:p>
        </p:txBody>
      </p:sp>
      <p:sp>
        <p:nvSpPr>
          <p:cNvPr id="6" name="Content Placeholder 2">
            <a:extLst>
              <a:ext uri="{FF2B5EF4-FFF2-40B4-BE49-F238E27FC236}">
                <a16:creationId xmlns:a16="http://schemas.microsoft.com/office/drawing/2014/main" id="{EABEC4AA-FFB6-2F0F-C9DE-5720CD3D84D1}"/>
              </a:ext>
            </a:extLst>
          </p:cNvPr>
          <p:cNvSpPr>
            <a:spLocks noGrp="1"/>
          </p:cNvSpPr>
          <p:nvPr>
            <p:ph idx="1"/>
          </p:nvPr>
        </p:nvSpPr>
        <p:spPr>
          <a:xfrm>
            <a:off x="361950" y="1162751"/>
            <a:ext cx="8229600" cy="3267075"/>
          </a:xfrm>
          <a:prstGeom prst="rect">
            <a:avLst/>
          </a:prstGeom>
        </p:spPr>
        <p:txBody>
          <a:bodyPr/>
          <a:lstStyle>
            <a:lvl1pPr>
              <a:defRPr sz="1399">
                <a:solidFill>
                  <a:schemeClr val="tx1"/>
                </a:solidFill>
              </a:defRPr>
            </a:lvl1pPr>
            <a:lvl2pPr>
              <a:defRPr sz="1399">
                <a:solidFill>
                  <a:schemeClr val="tx1"/>
                </a:solidFill>
              </a:defRPr>
            </a:lvl2pPr>
            <a:lvl3pPr>
              <a:defRPr sz="1399">
                <a:solidFill>
                  <a:schemeClr val="tx1"/>
                </a:solidFill>
              </a:defRPr>
            </a:lvl3pPr>
            <a:lvl4pPr marL="634413" indent="-174464">
              <a:buClr>
                <a:schemeClr val="accent1"/>
              </a:buClr>
              <a:buSzPct val="80000"/>
              <a:buFont typeface="Courier New" panose="02070309020205020404" pitchFamily="49" charset="0"/>
              <a:buChar char="o"/>
              <a:tabLst/>
              <a:defRPr sz="1399">
                <a:solidFill>
                  <a:schemeClr val="tx1"/>
                </a:solidFill>
              </a:defRPr>
            </a:lvl4pPr>
            <a:lvl5pPr marL="799360" indent="-164948">
              <a:buClr>
                <a:schemeClr val="accent1"/>
              </a:buClr>
              <a:buFont typeface=".AppleSystemUIFont"/>
              <a:buChar char="–"/>
              <a:tabLst/>
              <a:defRPr sz="1399">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5">
            <a:extLst>
              <a:ext uri="{FF2B5EF4-FFF2-40B4-BE49-F238E27FC236}">
                <a16:creationId xmlns:a16="http://schemas.microsoft.com/office/drawing/2014/main" id="{B6C01CE3-ECE1-D924-EE4A-D09E55B9A5D1}"/>
              </a:ext>
            </a:extLst>
          </p:cNvPr>
          <p:cNvSpPr>
            <a:spLocks noGrp="1"/>
          </p:cNvSpPr>
          <p:nvPr>
            <p:ph type="ftr" sz="quarter" idx="3"/>
          </p:nvPr>
        </p:nvSpPr>
        <p:spPr>
          <a:xfrm>
            <a:off x="5778500" y="4839481"/>
            <a:ext cx="3086100" cy="273050"/>
          </a:xfrm>
          <a:prstGeom prst="rect">
            <a:avLst/>
          </a:prstGeom>
        </p:spPr>
        <p:txBody>
          <a:bodyPr vert="horz" lIns="91440" tIns="45720" rIns="91440" bIns="45720" rtlCol="0" anchor="ctr"/>
          <a:lstStyle>
            <a:lvl1pPr algn="r">
              <a:defRPr sz="799">
                <a:solidFill>
                  <a:schemeClr val="tx2"/>
                </a:solidFill>
              </a:defRPr>
            </a:lvl1pPr>
          </a:lstStyle>
          <a:p>
            <a:endParaRPr lang="en-US" dirty="0"/>
          </a:p>
        </p:txBody>
      </p:sp>
    </p:spTree>
    <p:extLst>
      <p:ext uri="{BB962C8B-B14F-4D97-AF65-F5344CB8AC3E}">
        <p14:creationId xmlns:p14="http://schemas.microsoft.com/office/powerpoint/2010/main" val="1680025978"/>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1" y="58396"/>
            <a:ext cx="7171592" cy="541044"/>
          </a:xfrm>
        </p:spPr>
        <p:txBody>
          <a:bodyPr/>
          <a:lstStyle/>
          <a:p>
            <a:r>
              <a:rPr lang="en-US"/>
              <a:t>Click to edit Master title style</a:t>
            </a:r>
          </a:p>
        </p:txBody>
      </p:sp>
      <p:sp>
        <p:nvSpPr>
          <p:cNvPr id="3" name="Text Placeholder 2"/>
          <p:cNvSpPr>
            <a:spLocks noGrp="1"/>
          </p:cNvSpPr>
          <p:nvPr>
            <p:ph type="body" sz="half" idx="1"/>
          </p:nvPr>
        </p:nvSpPr>
        <p:spPr>
          <a:xfrm>
            <a:off x="197828" y="732913"/>
            <a:ext cx="4309696" cy="41650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732913"/>
            <a:ext cx="4311162" cy="41650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0"/>
          </p:nvPr>
        </p:nvSpPr>
        <p:spPr/>
        <p:txBody>
          <a:bodyPr/>
          <a:lstStyle>
            <a:lvl1pPr>
              <a:defRPr/>
            </a:lvl1pPr>
          </a:lstStyle>
          <a:p>
            <a:pPr>
              <a:defRPr/>
            </a:pPr>
            <a:r>
              <a:rPr lang="de-DE"/>
              <a:t>: Name (Datum)</a:t>
            </a:r>
          </a:p>
        </p:txBody>
      </p:sp>
      <p:sp>
        <p:nvSpPr>
          <p:cNvPr id="6" name="Slide Number Placeholder 5"/>
          <p:cNvSpPr>
            <a:spLocks noGrp="1"/>
          </p:cNvSpPr>
          <p:nvPr>
            <p:ph type="sldNum" sz="quarter" idx="11"/>
          </p:nvPr>
        </p:nvSpPr>
        <p:spPr/>
        <p:txBody>
          <a:bodyPr/>
          <a:lstStyle>
            <a:lvl1pPr>
              <a:defRPr/>
            </a:lvl1pPr>
          </a:lstStyle>
          <a:p>
            <a:pPr>
              <a:defRPr/>
            </a:pPr>
            <a:fld id="{25DDC3B5-5AC2-4F35-A6AE-DCAFACA32D67}" type="slidenum">
              <a:rPr lang="en-US"/>
              <a:pPr>
                <a:defRPr/>
              </a:pPr>
              <a:t>‹#›</a:t>
            </a:fld>
            <a:endParaRPr lang="en-US"/>
          </a:p>
        </p:txBody>
      </p:sp>
    </p:spTree>
    <p:extLst>
      <p:ext uri="{BB962C8B-B14F-4D97-AF65-F5344CB8AC3E}">
        <p14:creationId xmlns:p14="http://schemas.microsoft.com/office/powerpoint/2010/main" val="408091488"/>
      </p:ext>
    </p:extLst>
  </p:cSld>
  <p:clrMapOvr>
    <a:masterClrMapping/>
  </p:clrMapOvr>
  <p:transition>
    <p:zoom/>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Content left image right">
    <p:spTree>
      <p:nvGrpSpPr>
        <p:cNvPr id="1" name=""/>
        <p:cNvGrpSpPr/>
        <p:nvPr/>
      </p:nvGrpSpPr>
      <p:grpSpPr>
        <a:xfrm>
          <a:off x="0" y="0"/>
          <a:ext cx="0" cy="0"/>
          <a:chOff x="0" y="0"/>
          <a:chExt cx="0" cy="0"/>
        </a:xfrm>
      </p:grpSpPr>
      <p:sp>
        <p:nvSpPr>
          <p:cNvPr id="3" name="Inhaltsplatzhalter 2"/>
          <p:cNvSpPr>
            <a:spLocks noGrp="1"/>
          </p:cNvSpPr>
          <p:nvPr>
            <p:ph idx="1"/>
          </p:nvPr>
        </p:nvSpPr>
        <p:spPr>
          <a:xfrm>
            <a:off x="383932" y="709079"/>
            <a:ext cx="4116068" cy="4243741"/>
          </a:xfrm>
        </p:spPr>
        <p:txBody>
          <a:bodyPr bIns="72000"/>
          <a:lstStyle/>
          <a:p>
            <a:pPr lvl="0"/>
            <a:r>
              <a:rPr lang="en-US" noProof="0" err="1"/>
              <a:t>Textmasterformat</a:t>
            </a:r>
            <a:r>
              <a:rPr lang="en-US" noProof="0"/>
              <a:t> </a:t>
            </a:r>
            <a:r>
              <a:rPr lang="en-US" noProof="0" err="1"/>
              <a:t>bearbeiten</a:t>
            </a:r>
            <a:endParaRPr lang="en-US" noProof="0"/>
          </a:p>
          <a:p>
            <a:pPr lvl="1"/>
            <a:r>
              <a:rPr lang="en-US" noProof="0" err="1"/>
              <a:t>Zweite</a:t>
            </a:r>
            <a:r>
              <a:rPr lang="en-US" noProof="0"/>
              <a:t> </a:t>
            </a:r>
            <a:r>
              <a:rPr lang="en-US" noProof="0" err="1"/>
              <a:t>Ebene</a:t>
            </a:r>
            <a:endParaRPr lang="en-US" noProof="0"/>
          </a:p>
          <a:p>
            <a:pPr lvl="2"/>
            <a:r>
              <a:rPr lang="en-US" noProof="0" err="1"/>
              <a:t>Dritte</a:t>
            </a:r>
            <a:r>
              <a:rPr lang="en-US" noProof="0"/>
              <a:t> </a:t>
            </a:r>
            <a:r>
              <a:rPr lang="en-US" noProof="0" err="1"/>
              <a:t>Ebene</a:t>
            </a:r>
            <a:endParaRPr lang="en-US" noProof="0"/>
          </a:p>
        </p:txBody>
      </p:sp>
      <p:sp>
        <p:nvSpPr>
          <p:cNvPr id="9" name="Bildplatzhalter 8"/>
          <p:cNvSpPr>
            <a:spLocks noGrp="1"/>
          </p:cNvSpPr>
          <p:nvPr>
            <p:ph type="pic" sz="quarter" idx="14"/>
          </p:nvPr>
        </p:nvSpPr>
        <p:spPr>
          <a:xfrm>
            <a:off x="4643437" y="709079"/>
            <a:ext cx="4116632" cy="4243741"/>
          </a:xfrm>
        </p:spPr>
        <p:txBody>
          <a:bodyPr tIns="180000" bIns="180000" rtlCol="0">
            <a:noAutofit/>
          </a:bodyPr>
          <a:lstStyle>
            <a:lvl1pPr marL="0" indent="0">
              <a:buFontTx/>
              <a:buNone/>
              <a:defRPr sz="1201">
                <a:solidFill>
                  <a:schemeClr val="tx2"/>
                </a:solidFill>
              </a:defRPr>
            </a:lvl1pPr>
          </a:lstStyle>
          <a:p>
            <a:pPr lvl="0"/>
            <a:r>
              <a:rPr lang="en-US" noProof="0" err="1"/>
              <a:t>Bild</a:t>
            </a:r>
            <a:r>
              <a:rPr lang="en-US" noProof="0"/>
              <a:t> </a:t>
            </a:r>
            <a:r>
              <a:rPr lang="en-US" noProof="0" err="1"/>
              <a:t>durch</a:t>
            </a:r>
            <a:r>
              <a:rPr lang="en-US" noProof="0"/>
              <a:t> </a:t>
            </a:r>
            <a:r>
              <a:rPr lang="en-US" noProof="0" err="1"/>
              <a:t>Klicken</a:t>
            </a:r>
            <a:r>
              <a:rPr lang="en-US" noProof="0"/>
              <a:t> auf Symbol </a:t>
            </a:r>
            <a:r>
              <a:rPr lang="en-US" noProof="0" err="1"/>
              <a:t>hinzufügen</a:t>
            </a:r>
            <a:endParaRPr lang="en-US" noProof="0"/>
          </a:p>
        </p:txBody>
      </p:sp>
      <p:sp>
        <p:nvSpPr>
          <p:cNvPr id="10" name="Titel 1"/>
          <p:cNvSpPr>
            <a:spLocks noGrp="1"/>
          </p:cNvSpPr>
          <p:nvPr>
            <p:ph type="title"/>
          </p:nvPr>
        </p:nvSpPr>
        <p:spPr>
          <a:xfrm>
            <a:off x="383931" y="216200"/>
            <a:ext cx="7145936" cy="195691"/>
          </a:xfrm>
        </p:spPr>
        <p:txBody>
          <a:bodyPr/>
          <a:lstStyle>
            <a:lvl1pPr>
              <a:defRPr baseline="0"/>
            </a:lvl1pPr>
          </a:lstStyle>
          <a:p>
            <a:r>
              <a:rPr lang="de-DE" noProof="0"/>
              <a:t>Titelmasterformat durch Klicken bearbeiten</a:t>
            </a:r>
            <a:endParaRPr lang="en-US" noProof="0"/>
          </a:p>
        </p:txBody>
      </p:sp>
      <p:sp>
        <p:nvSpPr>
          <p:cNvPr id="11" name="Textplatzhalter 2"/>
          <p:cNvSpPr>
            <a:spLocks noGrp="1"/>
          </p:cNvSpPr>
          <p:nvPr>
            <p:ph type="body" idx="13"/>
          </p:nvPr>
        </p:nvSpPr>
        <p:spPr>
          <a:xfrm>
            <a:off x="383931" y="411891"/>
            <a:ext cx="7145936" cy="216200"/>
          </a:xfrm>
        </p:spPr>
        <p:txBody>
          <a:bodyPr tIns="0"/>
          <a:lstStyle>
            <a:lvl1pPr marL="0" indent="0">
              <a:buNone/>
              <a:defRPr sz="1501" cap="all" baseline="0">
                <a:solidFill>
                  <a:schemeClr val="accent4"/>
                </a:solidFill>
              </a:defRPr>
            </a:lvl1pPr>
            <a:lvl2pPr marL="343220" indent="0">
              <a:buNone/>
              <a:defRPr sz="1351">
                <a:solidFill>
                  <a:schemeClr val="tx1">
                    <a:tint val="75000"/>
                  </a:schemeClr>
                </a:solidFill>
              </a:defRPr>
            </a:lvl2pPr>
            <a:lvl3pPr marL="686440" indent="0">
              <a:buNone/>
              <a:defRPr sz="1201">
                <a:solidFill>
                  <a:schemeClr val="tx1">
                    <a:tint val="75000"/>
                  </a:schemeClr>
                </a:solidFill>
              </a:defRPr>
            </a:lvl3pPr>
            <a:lvl4pPr marL="1029660" indent="0">
              <a:buNone/>
              <a:defRPr sz="1051">
                <a:solidFill>
                  <a:schemeClr val="tx1">
                    <a:tint val="75000"/>
                  </a:schemeClr>
                </a:solidFill>
              </a:defRPr>
            </a:lvl4pPr>
            <a:lvl5pPr marL="1372880" indent="0">
              <a:buNone/>
              <a:defRPr sz="1051">
                <a:solidFill>
                  <a:schemeClr val="tx1">
                    <a:tint val="75000"/>
                  </a:schemeClr>
                </a:solidFill>
              </a:defRPr>
            </a:lvl5pPr>
            <a:lvl6pPr marL="1716100" indent="0">
              <a:buNone/>
              <a:defRPr sz="1051">
                <a:solidFill>
                  <a:schemeClr val="tx1">
                    <a:tint val="75000"/>
                  </a:schemeClr>
                </a:solidFill>
              </a:defRPr>
            </a:lvl6pPr>
            <a:lvl7pPr marL="2059320" indent="0">
              <a:buNone/>
              <a:defRPr sz="1051">
                <a:solidFill>
                  <a:schemeClr val="tx1">
                    <a:tint val="75000"/>
                  </a:schemeClr>
                </a:solidFill>
              </a:defRPr>
            </a:lvl7pPr>
            <a:lvl8pPr marL="2402540" indent="0">
              <a:buNone/>
              <a:defRPr sz="1051">
                <a:solidFill>
                  <a:schemeClr val="tx1">
                    <a:tint val="75000"/>
                  </a:schemeClr>
                </a:solidFill>
              </a:defRPr>
            </a:lvl8pPr>
            <a:lvl9pPr marL="2745760" indent="0">
              <a:buNone/>
              <a:defRPr sz="1051">
                <a:solidFill>
                  <a:schemeClr val="tx1">
                    <a:tint val="75000"/>
                  </a:schemeClr>
                </a:solidFill>
              </a:defRPr>
            </a:lvl9pPr>
          </a:lstStyle>
          <a:p>
            <a:pPr lvl="0"/>
            <a:r>
              <a:rPr lang="de-DE" noProof="0"/>
              <a:t>Textmasterformat bearbeiten</a:t>
            </a:r>
          </a:p>
        </p:txBody>
      </p:sp>
      <p:sp>
        <p:nvSpPr>
          <p:cNvPr id="6" name="Datumsplatzhalter 3"/>
          <p:cNvSpPr>
            <a:spLocks noGrp="1"/>
          </p:cNvSpPr>
          <p:nvPr>
            <p:ph type="dt" sz="half" idx="15"/>
          </p:nvPr>
        </p:nvSpPr>
        <p:spPr/>
        <p:txBody>
          <a:bodyPr/>
          <a:lstStyle>
            <a:lvl1pPr>
              <a:defRPr/>
            </a:lvl1pPr>
          </a:lstStyle>
          <a:p>
            <a:pPr>
              <a:defRPr/>
            </a:pPr>
            <a:endParaRPr lang="en-US"/>
          </a:p>
        </p:txBody>
      </p:sp>
      <p:sp>
        <p:nvSpPr>
          <p:cNvPr id="7" name="Fußzeilenplatzhalter 4"/>
          <p:cNvSpPr>
            <a:spLocks noGrp="1"/>
          </p:cNvSpPr>
          <p:nvPr>
            <p:ph type="ftr" sz="quarter" idx="16"/>
          </p:nvPr>
        </p:nvSpPr>
        <p:spPr/>
        <p:txBody>
          <a:bodyPr/>
          <a:lstStyle>
            <a:lvl1pPr>
              <a:defRPr/>
            </a:lvl1pPr>
          </a:lstStyle>
          <a:p>
            <a:pPr>
              <a:defRPr/>
            </a:pPr>
            <a:r>
              <a:rPr lang="en-US"/>
              <a:t>SICK Engineering, Confidential</a:t>
            </a:r>
          </a:p>
        </p:txBody>
      </p:sp>
      <p:sp>
        <p:nvSpPr>
          <p:cNvPr id="8" name="Foliennummernplatzhalter 5"/>
          <p:cNvSpPr>
            <a:spLocks noGrp="1"/>
          </p:cNvSpPr>
          <p:nvPr>
            <p:ph type="sldNum" sz="quarter" idx="17"/>
          </p:nvPr>
        </p:nvSpPr>
        <p:spPr/>
        <p:txBody>
          <a:bodyPr/>
          <a:lstStyle>
            <a:lvl1pPr>
              <a:defRPr/>
            </a:lvl1pPr>
          </a:lstStyle>
          <a:p>
            <a:pPr>
              <a:defRPr/>
            </a:pPr>
            <a:fld id="{80758446-AD76-470E-9424-9F0CC2649B7E}" type="slidenum">
              <a:rPr lang="en-US"/>
              <a:pPr>
                <a:defRPr/>
              </a:pPr>
              <a:t>‹#›</a:t>
            </a:fld>
            <a:endParaRPr lang="en-US"/>
          </a:p>
        </p:txBody>
      </p:sp>
    </p:spTree>
    <p:extLst>
      <p:ext uri="{BB962C8B-B14F-4D97-AF65-F5344CB8AC3E}">
        <p14:creationId xmlns:p14="http://schemas.microsoft.com/office/powerpoint/2010/main" val="1319454626"/>
      </p:ext>
    </p:extLst>
  </p:cSld>
  <p:clrMapOvr>
    <a:masterClrMapping/>
  </p:clrMapOvr>
  <p:transition>
    <p:zoom/>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Rectangle 4"/>
          <p:cNvSpPr>
            <a:spLocks noGrp="1" noChangeArrowheads="1"/>
          </p:cNvSpPr>
          <p:nvPr>
            <p:ph type="ftr" sz="quarter" idx="10"/>
          </p:nvPr>
        </p:nvSpPr>
        <p:spPr/>
        <p:txBody>
          <a:bodyPr/>
          <a:lstStyle>
            <a:lvl1pPr>
              <a:defRPr/>
            </a:lvl1pPr>
          </a:lstStyle>
          <a:p>
            <a:pPr>
              <a:defRPr/>
            </a:pPr>
            <a:r>
              <a:rPr lang="en-US"/>
              <a:t>: Name (Date)</a:t>
            </a:r>
          </a:p>
        </p:txBody>
      </p:sp>
      <p:sp>
        <p:nvSpPr>
          <p:cNvPr id="5" name="Rectangle 5"/>
          <p:cNvSpPr>
            <a:spLocks noGrp="1" noChangeArrowheads="1"/>
          </p:cNvSpPr>
          <p:nvPr>
            <p:ph type="sldNum" sz="quarter" idx="11"/>
          </p:nvPr>
        </p:nvSpPr>
        <p:spPr/>
        <p:txBody>
          <a:bodyPr/>
          <a:lstStyle>
            <a:lvl1pPr>
              <a:defRPr/>
            </a:lvl1pPr>
          </a:lstStyle>
          <a:p>
            <a:pPr>
              <a:defRPr/>
            </a:pPr>
            <a:fld id="{9FFBD502-FEC3-474A-9883-0EEF4E74C01C}" type="slidenum">
              <a:rPr lang="en-US"/>
              <a:pPr>
                <a:defRPr/>
              </a:pPr>
              <a:t>‹#›</a:t>
            </a:fld>
            <a:endParaRPr lang="en-US"/>
          </a:p>
        </p:txBody>
      </p:sp>
    </p:spTree>
    <p:extLst>
      <p:ext uri="{BB962C8B-B14F-4D97-AF65-F5344CB8AC3E}">
        <p14:creationId xmlns:p14="http://schemas.microsoft.com/office/powerpoint/2010/main" val="2977275445"/>
      </p:ext>
    </p:extLst>
  </p:cSld>
  <p:clrMapOvr>
    <a:masterClrMapping/>
  </p:clrMapOvr>
  <p:transition>
    <p:zoom/>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type="title" preserve="1">
  <p:cSld name="Title slide neutral">
    <p:spTree>
      <p:nvGrpSpPr>
        <p:cNvPr id="1" name=""/>
        <p:cNvGrpSpPr/>
        <p:nvPr/>
      </p:nvGrpSpPr>
      <p:grpSpPr>
        <a:xfrm>
          <a:off x="0" y="0"/>
          <a:ext cx="0" cy="0"/>
          <a:chOff x="0" y="0"/>
          <a:chExt cx="0" cy="0"/>
        </a:xfrm>
      </p:grpSpPr>
      <p:graphicFrame>
        <p:nvGraphicFramePr>
          <p:cNvPr id="4" name="Objekt 10" hidden="1"/>
          <p:cNvGraphicFramePr>
            <a:graphicFrameLocks noChangeAspect="1"/>
          </p:cNvGraphicFramePr>
          <p:nvPr userDrawn="1">
            <p:custDataLst>
              <p:tags r:id="rId1"/>
            </p:custDataLst>
          </p:nvPr>
        </p:nvGraphicFramePr>
        <p:xfrm>
          <a:off x="1617" y="1235"/>
          <a:ext cx="1587" cy="1191"/>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4" name="Objekt 1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17" y="1235"/>
                        <a:ext cx="1587" cy="1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Grafik 6"/>
          <p:cNvPicPr>
            <a:picLocks noChangeAspect="1"/>
          </p:cNvPicPr>
          <p:nvPr userDrawn="1"/>
        </p:nvPicPr>
        <p:blipFill>
          <a:blip r:embed="rId5">
            <a:extLst>
              <a:ext uri="{28A0092B-C50C-407E-A947-70E740481C1C}">
                <a14:useLocalDpi xmlns:a14="http://schemas.microsoft.com/office/drawing/2010/main" val="0"/>
              </a:ext>
            </a:extLst>
          </a:blip>
          <a:srcRect l="5751"/>
          <a:stretch>
            <a:fillRect/>
          </a:stretch>
        </p:blipFill>
        <p:spPr bwMode="auto">
          <a:xfrm>
            <a:off x="0" y="0"/>
            <a:ext cx="9144000" cy="5148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Grafik 8"/>
          <p:cNvPicPr>
            <a:picLocks noChangeAspect="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7281863" y="3513255"/>
            <a:ext cx="1465262" cy="4886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hteck 9"/>
          <p:cNvSpPr/>
          <p:nvPr userDrawn="1"/>
        </p:nvSpPr>
        <p:spPr>
          <a:xfrm>
            <a:off x="0" y="3242734"/>
            <a:ext cx="9144000" cy="54819"/>
          </a:xfrm>
          <a:prstGeom prst="rect">
            <a:avLst/>
          </a:prstGeom>
          <a:gradFill flip="none" rotWithShape="1">
            <a:gsLst>
              <a:gs pos="0">
                <a:schemeClr val="tx2"/>
              </a:gs>
              <a:gs pos="100000">
                <a:schemeClr val="tx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2" name="Titel 1"/>
          <p:cNvSpPr>
            <a:spLocks noGrp="1"/>
          </p:cNvSpPr>
          <p:nvPr>
            <p:ph type="ctrTitle"/>
          </p:nvPr>
        </p:nvSpPr>
        <p:spPr>
          <a:xfrm>
            <a:off x="383960" y="2195739"/>
            <a:ext cx="8376139" cy="777011"/>
          </a:xfrm>
        </p:spPr>
        <p:txBody>
          <a:bodyPr anchor="b"/>
          <a:lstStyle>
            <a:lvl1pPr>
              <a:lnSpc>
                <a:spcPct val="90000"/>
              </a:lnSpc>
              <a:defRPr sz="2402" baseline="0">
                <a:solidFill>
                  <a:schemeClr val="tx2"/>
                </a:solidFill>
              </a:defRPr>
            </a:lvl1pPr>
          </a:lstStyle>
          <a:p>
            <a:r>
              <a:rPr lang="en-US" noProof="0"/>
              <a:t>Click to edit Master title style</a:t>
            </a:r>
            <a:endParaRPr lang="en-US" noProof="0" dirty="0"/>
          </a:p>
        </p:txBody>
      </p:sp>
      <p:sp>
        <p:nvSpPr>
          <p:cNvPr id="3" name="Untertitel 2"/>
          <p:cNvSpPr>
            <a:spLocks noGrp="1"/>
          </p:cNvSpPr>
          <p:nvPr>
            <p:ph type="subTitle" idx="1"/>
          </p:nvPr>
        </p:nvSpPr>
        <p:spPr>
          <a:xfrm>
            <a:off x="383931" y="3459200"/>
            <a:ext cx="6480000" cy="1351250"/>
          </a:xfrm>
        </p:spPr>
        <p:txBody>
          <a:bodyPr tIns="0"/>
          <a:lstStyle>
            <a:lvl1pPr marL="0" indent="0" algn="l">
              <a:buNone/>
              <a:defRPr sz="1501">
                <a:solidFill>
                  <a:schemeClr val="tx1">
                    <a:tint val="75000"/>
                  </a:schemeClr>
                </a:solidFill>
              </a:defRPr>
            </a:lvl1pPr>
            <a:lvl2pPr marL="343220" indent="0" algn="ctr">
              <a:buNone/>
              <a:defRPr>
                <a:solidFill>
                  <a:schemeClr val="tx1">
                    <a:tint val="75000"/>
                  </a:schemeClr>
                </a:solidFill>
              </a:defRPr>
            </a:lvl2pPr>
            <a:lvl3pPr marL="686440" indent="0" algn="ctr">
              <a:buNone/>
              <a:defRPr>
                <a:solidFill>
                  <a:schemeClr val="tx1">
                    <a:tint val="75000"/>
                  </a:schemeClr>
                </a:solidFill>
              </a:defRPr>
            </a:lvl3pPr>
            <a:lvl4pPr marL="1029660" indent="0" algn="ctr">
              <a:buNone/>
              <a:defRPr>
                <a:solidFill>
                  <a:schemeClr val="tx1">
                    <a:tint val="75000"/>
                  </a:schemeClr>
                </a:solidFill>
              </a:defRPr>
            </a:lvl4pPr>
            <a:lvl5pPr marL="1372880" indent="0" algn="ctr">
              <a:buNone/>
              <a:defRPr>
                <a:solidFill>
                  <a:schemeClr val="tx1">
                    <a:tint val="75000"/>
                  </a:schemeClr>
                </a:solidFill>
              </a:defRPr>
            </a:lvl5pPr>
            <a:lvl6pPr marL="1716100" indent="0" algn="ctr">
              <a:buNone/>
              <a:defRPr>
                <a:solidFill>
                  <a:schemeClr val="tx1">
                    <a:tint val="75000"/>
                  </a:schemeClr>
                </a:solidFill>
              </a:defRPr>
            </a:lvl6pPr>
            <a:lvl7pPr marL="2059320" indent="0" algn="ctr">
              <a:buNone/>
              <a:defRPr>
                <a:solidFill>
                  <a:schemeClr val="tx1">
                    <a:tint val="75000"/>
                  </a:schemeClr>
                </a:solidFill>
              </a:defRPr>
            </a:lvl7pPr>
            <a:lvl8pPr marL="2402540" indent="0" algn="ctr">
              <a:buNone/>
              <a:defRPr>
                <a:solidFill>
                  <a:schemeClr val="tx1">
                    <a:tint val="75000"/>
                  </a:schemeClr>
                </a:solidFill>
              </a:defRPr>
            </a:lvl8pPr>
            <a:lvl9pPr marL="2745760" indent="0" algn="ctr">
              <a:buNone/>
              <a:defRPr>
                <a:solidFill>
                  <a:schemeClr val="tx1">
                    <a:tint val="75000"/>
                  </a:schemeClr>
                </a:solidFill>
              </a:defRPr>
            </a:lvl9pPr>
          </a:lstStyle>
          <a:p>
            <a:r>
              <a:rPr lang="en-US" noProof="0"/>
              <a:t>Click to edit Master subtitle style</a:t>
            </a:r>
            <a:endParaRPr lang="en-US" noProof="0" dirty="0"/>
          </a:p>
        </p:txBody>
      </p:sp>
    </p:spTree>
    <p:extLst>
      <p:ext uri="{BB962C8B-B14F-4D97-AF65-F5344CB8AC3E}">
        <p14:creationId xmlns:p14="http://schemas.microsoft.com/office/powerpoint/2010/main" val="2982843792"/>
      </p:ext>
    </p:extLst>
  </p:cSld>
  <p:clrMapOvr>
    <a:masterClrMapping/>
  </p:clrMapOvr>
  <p:transition>
    <p:zoom/>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lide with picture">
    <p:spTree>
      <p:nvGrpSpPr>
        <p:cNvPr id="1" name=""/>
        <p:cNvGrpSpPr/>
        <p:nvPr/>
      </p:nvGrpSpPr>
      <p:grpSpPr>
        <a:xfrm>
          <a:off x="0" y="0"/>
          <a:ext cx="0" cy="0"/>
          <a:chOff x="0" y="0"/>
          <a:chExt cx="0" cy="0"/>
        </a:xfrm>
      </p:grpSpPr>
      <p:graphicFrame>
        <p:nvGraphicFramePr>
          <p:cNvPr id="5" name="Objekt 10" hidden="1"/>
          <p:cNvGraphicFramePr>
            <a:graphicFrameLocks noChangeAspect="1"/>
          </p:cNvGraphicFramePr>
          <p:nvPr userDrawn="1">
            <p:custDataLst>
              <p:tags r:id="rId1"/>
            </p:custDataLst>
          </p:nvPr>
        </p:nvGraphicFramePr>
        <p:xfrm>
          <a:off x="1617" y="1235"/>
          <a:ext cx="1587" cy="1191"/>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5" name="Objekt 1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17" y="1235"/>
                        <a:ext cx="1587" cy="1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hteck 11"/>
          <p:cNvSpPr/>
          <p:nvPr userDrawn="1"/>
        </p:nvSpPr>
        <p:spPr>
          <a:xfrm>
            <a:off x="0" y="0"/>
            <a:ext cx="9144000" cy="514826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7" name="Rechteck 9"/>
          <p:cNvSpPr/>
          <p:nvPr userDrawn="1"/>
        </p:nvSpPr>
        <p:spPr>
          <a:xfrm>
            <a:off x="0" y="3242734"/>
            <a:ext cx="9144000" cy="54819"/>
          </a:xfrm>
          <a:prstGeom prst="rect">
            <a:avLst/>
          </a:prstGeom>
          <a:gradFill flip="none" rotWithShape="1">
            <a:gsLst>
              <a:gs pos="0">
                <a:schemeClr val="tx2"/>
              </a:gs>
              <a:gs pos="100000">
                <a:schemeClr val="tx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pic>
        <p:nvPicPr>
          <p:cNvPr id="8" name="Grafik 14"/>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7281863" y="3513255"/>
            <a:ext cx="1465262" cy="4886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Bildplatzhalter 8"/>
          <p:cNvSpPr>
            <a:spLocks noGrp="1"/>
          </p:cNvSpPr>
          <p:nvPr>
            <p:ph type="pic" sz="quarter" idx="14"/>
          </p:nvPr>
        </p:nvSpPr>
        <p:spPr>
          <a:xfrm>
            <a:off x="0" y="0"/>
            <a:ext cx="9144000" cy="3216280"/>
          </a:xfrm>
        </p:spPr>
        <p:txBody>
          <a:bodyPr lIns="396000" tIns="180000" rIns="396000" bIns="180000" rtlCol="0">
            <a:noAutofit/>
          </a:bodyPr>
          <a:lstStyle>
            <a:lvl1pPr marL="0" indent="0">
              <a:buFontTx/>
              <a:buNone/>
              <a:defRPr sz="1126">
                <a:solidFill>
                  <a:schemeClr val="accent2"/>
                </a:solidFill>
              </a:defRPr>
            </a:lvl1pPr>
          </a:lstStyle>
          <a:p>
            <a:pPr lvl="0"/>
            <a:r>
              <a:rPr lang="en-US" noProof="0" dirty="0"/>
              <a:t>Bild durch Klicken auf Symbol hinzufügen</a:t>
            </a:r>
          </a:p>
        </p:txBody>
      </p:sp>
      <p:sp>
        <p:nvSpPr>
          <p:cNvPr id="3" name="Untertitel 2"/>
          <p:cNvSpPr>
            <a:spLocks noGrp="1"/>
          </p:cNvSpPr>
          <p:nvPr>
            <p:ph type="subTitle" idx="1"/>
          </p:nvPr>
        </p:nvSpPr>
        <p:spPr>
          <a:xfrm>
            <a:off x="0" y="3299753"/>
            <a:ext cx="9144000" cy="1848510"/>
          </a:xfrm>
          <a:noFill/>
        </p:spPr>
        <p:txBody>
          <a:bodyPr lIns="396000" tIns="216000" rIns="2268000" bIns="396000"/>
          <a:lstStyle>
            <a:lvl1pPr marL="0" indent="0" algn="l">
              <a:buNone/>
              <a:defRPr sz="1501">
                <a:solidFill>
                  <a:schemeClr val="tx1">
                    <a:tint val="75000"/>
                  </a:schemeClr>
                </a:solidFill>
              </a:defRPr>
            </a:lvl1pPr>
            <a:lvl2pPr marL="343220" indent="0" algn="ctr">
              <a:buNone/>
              <a:defRPr>
                <a:solidFill>
                  <a:schemeClr val="tx1">
                    <a:tint val="75000"/>
                  </a:schemeClr>
                </a:solidFill>
              </a:defRPr>
            </a:lvl2pPr>
            <a:lvl3pPr marL="686440" indent="0" algn="ctr">
              <a:buNone/>
              <a:defRPr>
                <a:solidFill>
                  <a:schemeClr val="tx1">
                    <a:tint val="75000"/>
                  </a:schemeClr>
                </a:solidFill>
              </a:defRPr>
            </a:lvl3pPr>
            <a:lvl4pPr marL="1029660" indent="0" algn="ctr">
              <a:buNone/>
              <a:defRPr>
                <a:solidFill>
                  <a:schemeClr val="tx1">
                    <a:tint val="75000"/>
                  </a:schemeClr>
                </a:solidFill>
              </a:defRPr>
            </a:lvl4pPr>
            <a:lvl5pPr marL="1372880" indent="0" algn="ctr">
              <a:buNone/>
              <a:defRPr>
                <a:solidFill>
                  <a:schemeClr val="tx1">
                    <a:tint val="75000"/>
                  </a:schemeClr>
                </a:solidFill>
              </a:defRPr>
            </a:lvl5pPr>
            <a:lvl6pPr marL="1716100" indent="0" algn="ctr">
              <a:buNone/>
              <a:defRPr>
                <a:solidFill>
                  <a:schemeClr val="tx1">
                    <a:tint val="75000"/>
                  </a:schemeClr>
                </a:solidFill>
              </a:defRPr>
            </a:lvl6pPr>
            <a:lvl7pPr marL="2059320" indent="0" algn="ctr">
              <a:buNone/>
              <a:defRPr>
                <a:solidFill>
                  <a:schemeClr val="tx1">
                    <a:tint val="75000"/>
                  </a:schemeClr>
                </a:solidFill>
              </a:defRPr>
            </a:lvl7pPr>
            <a:lvl8pPr marL="2402540" indent="0" algn="ctr">
              <a:buNone/>
              <a:defRPr>
                <a:solidFill>
                  <a:schemeClr val="tx1">
                    <a:tint val="75000"/>
                  </a:schemeClr>
                </a:solidFill>
              </a:defRPr>
            </a:lvl8pPr>
            <a:lvl9pPr marL="2745760" indent="0" algn="ctr">
              <a:buNone/>
              <a:defRPr>
                <a:solidFill>
                  <a:schemeClr val="tx1">
                    <a:tint val="75000"/>
                  </a:schemeClr>
                </a:solidFill>
              </a:defRPr>
            </a:lvl9pPr>
          </a:lstStyle>
          <a:p>
            <a:r>
              <a:rPr lang="en-US" noProof="0"/>
              <a:t>Click to edit Master subtitle style</a:t>
            </a:r>
            <a:endParaRPr lang="en-US" noProof="0" dirty="0"/>
          </a:p>
        </p:txBody>
      </p:sp>
      <p:sp>
        <p:nvSpPr>
          <p:cNvPr id="2" name="Titel 1"/>
          <p:cNvSpPr>
            <a:spLocks noGrp="1"/>
          </p:cNvSpPr>
          <p:nvPr>
            <p:ph type="ctrTitle"/>
          </p:nvPr>
        </p:nvSpPr>
        <p:spPr>
          <a:xfrm>
            <a:off x="0" y="2159298"/>
            <a:ext cx="9144000" cy="1081000"/>
          </a:xfrm>
          <a:solidFill>
            <a:schemeClr val="bg1">
              <a:alpha val="80000"/>
            </a:schemeClr>
          </a:solidFill>
        </p:spPr>
        <p:txBody>
          <a:bodyPr lIns="414000" rIns="396000" bIns="360000" anchor="b"/>
          <a:lstStyle>
            <a:lvl1pPr>
              <a:lnSpc>
                <a:spcPct val="90000"/>
              </a:lnSpc>
              <a:defRPr sz="2402" baseline="0">
                <a:solidFill>
                  <a:schemeClr val="tx2"/>
                </a:solidFill>
              </a:defRPr>
            </a:lvl1pPr>
          </a:lstStyle>
          <a:p>
            <a:r>
              <a:rPr lang="en-US" noProof="0"/>
              <a:t>Click to edit Master title style</a:t>
            </a:r>
            <a:endParaRPr lang="en-US" noProof="0" dirty="0"/>
          </a:p>
        </p:txBody>
      </p:sp>
    </p:spTree>
    <p:extLst>
      <p:ext uri="{BB962C8B-B14F-4D97-AF65-F5344CB8AC3E}">
        <p14:creationId xmlns:p14="http://schemas.microsoft.com/office/powerpoint/2010/main" val="3818963032"/>
      </p:ext>
    </p:extLst>
  </p:cSld>
  <p:clrMapOvr>
    <a:masterClrMapping/>
  </p:clrMapOvr>
  <p:transition>
    <p:zoom/>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ontent + title">
    <p:spTree>
      <p:nvGrpSpPr>
        <p:cNvPr id="1" name=""/>
        <p:cNvGrpSpPr/>
        <p:nvPr/>
      </p:nvGrpSpPr>
      <p:grpSpPr>
        <a:xfrm>
          <a:off x="0" y="0"/>
          <a:ext cx="0" cy="0"/>
          <a:chOff x="0" y="0"/>
          <a:chExt cx="0" cy="0"/>
        </a:xfrm>
      </p:grpSpPr>
      <p:sp>
        <p:nvSpPr>
          <p:cNvPr id="2" name="Titel 1"/>
          <p:cNvSpPr>
            <a:spLocks noGrp="1"/>
          </p:cNvSpPr>
          <p:nvPr>
            <p:ph type="title"/>
          </p:nvPr>
        </p:nvSpPr>
        <p:spPr>
          <a:xfrm>
            <a:off x="383931" y="216200"/>
            <a:ext cx="7145936" cy="195691"/>
          </a:xfrm>
        </p:spPr>
        <p:txBody>
          <a:bodyPr/>
          <a:lstStyle>
            <a:lvl1pPr>
              <a:defRPr baseline="0"/>
            </a:lvl1pPr>
          </a:lstStyle>
          <a:p>
            <a:r>
              <a:rPr lang="en-US" noProof="0"/>
              <a:t>Click to edit Master title style</a:t>
            </a:r>
            <a:endParaRPr lang="en-US" noProof="0" dirty="0"/>
          </a:p>
        </p:txBody>
      </p:sp>
      <p:sp>
        <p:nvSpPr>
          <p:cNvPr id="3" name="Inhaltsplatzhalter 2"/>
          <p:cNvSpPr>
            <a:spLocks noGrp="1"/>
          </p:cNvSpPr>
          <p:nvPr>
            <p:ph idx="1"/>
          </p:nvPr>
        </p:nvSpPr>
        <p:spPr>
          <a:xfrm>
            <a:off x="383932" y="709081"/>
            <a:ext cx="8376138" cy="4243741"/>
          </a:xfrm>
        </p:spPr>
        <p:txBody>
          <a:bodyPr bIns="72000" rtlCol="0">
            <a:noAutofit/>
          </a:bodyPr>
          <a:lstStyle>
            <a:lvl1pPr>
              <a:defRPr lang="de-DE" dirty="0" smtClean="0"/>
            </a:lvl1pPr>
            <a:lvl2pPr>
              <a:defRPr lang="de-DE" dirty="0" smtClean="0"/>
            </a:lvl2pPr>
            <a:lvl3pPr>
              <a:defRPr lang="de-DE" dirty="0" smtClean="0"/>
            </a:lvl3pPr>
            <a:lvl4pPr>
              <a:defRPr lang="de-DE" dirty="0" smtClean="0"/>
            </a:lvl4pPr>
          </a:lstStyle>
          <a:p>
            <a:pPr lvl="0"/>
            <a:r>
              <a:rPr lang="en-US" noProof="0" dirty="0" err="1"/>
              <a:t>Textmasterformat</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p:txBody>
      </p:sp>
      <p:sp>
        <p:nvSpPr>
          <p:cNvPr id="7" name="Textplatzhalter 2"/>
          <p:cNvSpPr>
            <a:spLocks noGrp="1"/>
          </p:cNvSpPr>
          <p:nvPr>
            <p:ph type="body" idx="13"/>
          </p:nvPr>
        </p:nvSpPr>
        <p:spPr>
          <a:xfrm>
            <a:off x="383931" y="411891"/>
            <a:ext cx="7145936" cy="216200"/>
          </a:xfrm>
        </p:spPr>
        <p:txBody>
          <a:bodyPr tIns="0"/>
          <a:lstStyle>
            <a:lvl1pPr marL="0" indent="0">
              <a:buNone/>
              <a:defRPr sz="1501" cap="all" baseline="0">
                <a:solidFill>
                  <a:schemeClr val="accent4"/>
                </a:solidFill>
              </a:defRPr>
            </a:lvl1pPr>
            <a:lvl2pPr marL="343220" indent="0">
              <a:buNone/>
              <a:defRPr sz="1351">
                <a:solidFill>
                  <a:schemeClr val="tx1">
                    <a:tint val="75000"/>
                  </a:schemeClr>
                </a:solidFill>
              </a:defRPr>
            </a:lvl2pPr>
            <a:lvl3pPr marL="686440" indent="0">
              <a:buNone/>
              <a:defRPr sz="1201">
                <a:solidFill>
                  <a:schemeClr val="tx1">
                    <a:tint val="75000"/>
                  </a:schemeClr>
                </a:solidFill>
              </a:defRPr>
            </a:lvl3pPr>
            <a:lvl4pPr marL="1029660" indent="0">
              <a:buNone/>
              <a:defRPr sz="1051">
                <a:solidFill>
                  <a:schemeClr val="tx1">
                    <a:tint val="75000"/>
                  </a:schemeClr>
                </a:solidFill>
              </a:defRPr>
            </a:lvl4pPr>
            <a:lvl5pPr marL="1372880" indent="0">
              <a:buNone/>
              <a:defRPr sz="1051">
                <a:solidFill>
                  <a:schemeClr val="tx1">
                    <a:tint val="75000"/>
                  </a:schemeClr>
                </a:solidFill>
              </a:defRPr>
            </a:lvl5pPr>
            <a:lvl6pPr marL="1716100" indent="0">
              <a:buNone/>
              <a:defRPr sz="1051">
                <a:solidFill>
                  <a:schemeClr val="tx1">
                    <a:tint val="75000"/>
                  </a:schemeClr>
                </a:solidFill>
              </a:defRPr>
            </a:lvl6pPr>
            <a:lvl7pPr marL="2059320" indent="0">
              <a:buNone/>
              <a:defRPr sz="1051">
                <a:solidFill>
                  <a:schemeClr val="tx1">
                    <a:tint val="75000"/>
                  </a:schemeClr>
                </a:solidFill>
              </a:defRPr>
            </a:lvl7pPr>
            <a:lvl8pPr marL="2402540" indent="0">
              <a:buNone/>
              <a:defRPr sz="1051">
                <a:solidFill>
                  <a:schemeClr val="tx1">
                    <a:tint val="75000"/>
                  </a:schemeClr>
                </a:solidFill>
              </a:defRPr>
            </a:lvl8pPr>
            <a:lvl9pPr marL="2745760" indent="0">
              <a:buNone/>
              <a:defRPr sz="1051">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1075049151"/>
      </p:ext>
    </p:extLst>
  </p:cSld>
  <p:clrMapOvr>
    <a:masterClrMapping/>
  </p:clrMapOvr>
  <p:transition>
    <p:zoom/>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ntent + title double spaced">
    <p:spTree>
      <p:nvGrpSpPr>
        <p:cNvPr id="1" name=""/>
        <p:cNvGrpSpPr/>
        <p:nvPr/>
      </p:nvGrpSpPr>
      <p:grpSpPr>
        <a:xfrm>
          <a:off x="0" y="0"/>
          <a:ext cx="0" cy="0"/>
          <a:chOff x="0" y="0"/>
          <a:chExt cx="0" cy="0"/>
        </a:xfrm>
      </p:grpSpPr>
      <p:sp>
        <p:nvSpPr>
          <p:cNvPr id="2" name="Titel 1"/>
          <p:cNvSpPr>
            <a:spLocks noGrp="1"/>
          </p:cNvSpPr>
          <p:nvPr>
            <p:ph type="title"/>
          </p:nvPr>
        </p:nvSpPr>
        <p:spPr>
          <a:xfrm>
            <a:off x="383938" y="216200"/>
            <a:ext cx="7145935" cy="432400"/>
          </a:xfrm>
        </p:spPr>
        <p:txBody>
          <a:bodyPr/>
          <a:lstStyle>
            <a:lvl1pPr>
              <a:defRPr baseline="0"/>
            </a:lvl1pPr>
          </a:lstStyle>
          <a:p>
            <a:r>
              <a:rPr lang="en-US" noProof="0"/>
              <a:t>Click to edit Master title style</a:t>
            </a:r>
            <a:endParaRPr lang="en-US" noProof="0" dirty="0"/>
          </a:p>
        </p:txBody>
      </p:sp>
      <p:sp>
        <p:nvSpPr>
          <p:cNvPr id="3" name="Inhaltsplatzhalter 2"/>
          <p:cNvSpPr>
            <a:spLocks noGrp="1"/>
          </p:cNvSpPr>
          <p:nvPr>
            <p:ph idx="1"/>
          </p:nvPr>
        </p:nvSpPr>
        <p:spPr>
          <a:xfrm>
            <a:off x="383932" y="709081"/>
            <a:ext cx="8376138" cy="4243741"/>
          </a:xfrm>
        </p:spPr>
        <p:txBody>
          <a:bodyPr bIns="72000"/>
          <a:lstStyle>
            <a:lvl4pPr>
              <a:defRPr sz="1201"/>
            </a:lvl4pPr>
          </a:lstStyle>
          <a:p>
            <a:pPr lvl="0"/>
            <a:r>
              <a:rPr lang="en-US" noProof="0" dirty="0" err="1"/>
              <a:t>Textmasterformat</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p:txBody>
      </p:sp>
    </p:spTree>
    <p:extLst>
      <p:ext uri="{BB962C8B-B14F-4D97-AF65-F5344CB8AC3E}">
        <p14:creationId xmlns:p14="http://schemas.microsoft.com/office/powerpoint/2010/main" val="1651245703"/>
      </p:ext>
    </p:extLst>
  </p:cSld>
  <p:clrMapOvr>
    <a:masterClrMapping/>
  </p:clrMapOvr>
  <p:transition>
    <p:zoom/>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ontent left picture right">
    <p:spTree>
      <p:nvGrpSpPr>
        <p:cNvPr id="1" name=""/>
        <p:cNvGrpSpPr/>
        <p:nvPr/>
      </p:nvGrpSpPr>
      <p:grpSpPr>
        <a:xfrm>
          <a:off x="0" y="0"/>
          <a:ext cx="0" cy="0"/>
          <a:chOff x="0" y="0"/>
          <a:chExt cx="0" cy="0"/>
        </a:xfrm>
      </p:grpSpPr>
      <p:sp>
        <p:nvSpPr>
          <p:cNvPr id="3" name="Inhaltsplatzhalter 2"/>
          <p:cNvSpPr>
            <a:spLocks noGrp="1"/>
          </p:cNvSpPr>
          <p:nvPr>
            <p:ph idx="1"/>
          </p:nvPr>
        </p:nvSpPr>
        <p:spPr>
          <a:xfrm>
            <a:off x="383932" y="709081"/>
            <a:ext cx="4116068" cy="4243741"/>
          </a:xfrm>
        </p:spPr>
        <p:txBody>
          <a:bodyPr bIns="72000"/>
          <a:lstStyle/>
          <a:p>
            <a:pPr lvl="0"/>
            <a:r>
              <a:rPr lang="en-US" noProof="0" dirty="0" err="1"/>
              <a:t>Textmasterformat</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p:txBody>
      </p:sp>
      <p:sp>
        <p:nvSpPr>
          <p:cNvPr id="9" name="Bildplatzhalter 8"/>
          <p:cNvSpPr>
            <a:spLocks noGrp="1"/>
          </p:cNvSpPr>
          <p:nvPr>
            <p:ph type="pic" sz="quarter" idx="14"/>
          </p:nvPr>
        </p:nvSpPr>
        <p:spPr>
          <a:xfrm>
            <a:off x="4643438" y="709081"/>
            <a:ext cx="4116632" cy="4243741"/>
          </a:xfrm>
        </p:spPr>
        <p:txBody>
          <a:bodyPr tIns="180000" bIns="180000" rtlCol="0">
            <a:noAutofit/>
          </a:bodyPr>
          <a:lstStyle>
            <a:lvl1pPr marL="0" indent="0">
              <a:buFontTx/>
              <a:buNone/>
              <a:defRPr sz="1201">
                <a:solidFill>
                  <a:schemeClr val="accent2"/>
                </a:solidFill>
              </a:defRPr>
            </a:lvl1pPr>
          </a:lstStyle>
          <a:p>
            <a:pPr lvl="0"/>
            <a:r>
              <a:rPr lang="en-US" noProof="0" dirty="0"/>
              <a:t>Bild durch Klicken auf Symbol hinzufügen</a:t>
            </a:r>
          </a:p>
        </p:txBody>
      </p:sp>
      <p:sp>
        <p:nvSpPr>
          <p:cNvPr id="10" name="Titel 1"/>
          <p:cNvSpPr>
            <a:spLocks noGrp="1"/>
          </p:cNvSpPr>
          <p:nvPr>
            <p:ph type="title"/>
          </p:nvPr>
        </p:nvSpPr>
        <p:spPr>
          <a:xfrm>
            <a:off x="383931" y="216200"/>
            <a:ext cx="7145936" cy="195691"/>
          </a:xfrm>
        </p:spPr>
        <p:txBody>
          <a:bodyPr/>
          <a:lstStyle>
            <a:lvl1pPr>
              <a:defRPr baseline="0"/>
            </a:lvl1pPr>
          </a:lstStyle>
          <a:p>
            <a:r>
              <a:rPr lang="en-US" noProof="0"/>
              <a:t>Click to edit Master title style</a:t>
            </a:r>
            <a:endParaRPr lang="en-US" noProof="0" dirty="0"/>
          </a:p>
        </p:txBody>
      </p:sp>
      <p:sp>
        <p:nvSpPr>
          <p:cNvPr id="11" name="Textplatzhalter 2"/>
          <p:cNvSpPr>
            <a:spLocks noGrp="1"/>
          </p:cNvSpPr>
          <p:nvPr>
            <p:ph type="body" idx="13"/>
          </p:nvPr>
        </p:nvSpPr>
        <p:spPr>
          <a:xfrm>
            <a:off x="383931" y="411891"/>
            <a:ext cx="7145936" cy="216200"/>
          </a:xfrm>
        </p:spPr>
        <p:txBody>
          <a:bodyPr tIns="0"/>
          <a:lstStyle>
            <a:lvl1pPr marL="0" indent="0">
              <a:buNone/>
              <a:defRPr sz="1501" cap="all" baseline="0">
                <a:solidFill>
                  <a:schemeClr val="accent4"/>
                </a:solidFill>
              </a:defRPr>
            </a:lvl1pPr>
            <a:lvl2pPr marL="343220" indent="0">
              <a:buNone/>
              <a:defRPr sz="1351">
                <a:solidFill>
                  <a:schemeClr val="tx1">
                    <a:tint val="75000"/>
                  </a:schemeClr>
                </a:solidFill>
              </a:defRPr>
            </a:lvl2pPr>
            <a:lvl3pPr marL="686440" indent="0">
              <a:buNone/>
              <a:defRPr sz="1201">
                <a:solidFill>
                  <a:schemeClr val="tx1">
                    <a:tint val="75000"/>
                  </a:schemeClr>
                </a:solidFill>
              </a:defRPr>
            </a:lvl3pPr>
            <a:lvl4pPr marL="1029660" indent="0">
              <a:buNone/>
              <a:defRPr sz="1051">
                <a:solidFill>
                  <a:schemeClr val="tx1">
                    <a:tint val="75000"/>
                  </a:schemeClr>
                </a:solidFill>
              </a:defRPr>
            </a:lvl4pPr>
            <a:lvl5pPr marL="1372880" indent="0">
              <a:buNone/>
              <a:defRPr sz="1051">
                <a:solidFill>
                  <a:schemeClr val="tx1">
                    <a:tint val="75000"/>
                  </a:schemeClr>
                </a:solidFill>
              </a:defRPr>
            </a:lvl5pPr>
            <a:lvl6pPr marL="1716100" indent="0">
              <a:buNone/>
              <a:defRPr sz="1051">
                <a:solidFill>
                  <a:schemeClr val="tx1">
                    <a:tint val="75000"/>
                  </a:schemeClr>
                </a:solidFill>
              </a:defRPr>
            </a:lvl6pPr>
            <a:lvl7pPr marL="2059320" indent="0">
              <a:buNone/>
              <a:defRPr sz="1051">
                <a:solidFill>
                  <a:schemeClr val="tx1">
                    <a:tint val="75000"/>
                  </a:schemeClr>
                </a:solidFill>
              </a:defRPr>
            </a:lvl7pPr>
            <a:lvl8pPr marL="2402540" indent="0">
              <a:buNone/>
              <a:defRPr sz="1051">
                <a:solidFill>
                  <a:schemeClr val="tx1">
                    <a:tint val="75000"/>
                  </a:schemeClr>
                </a:solidFill>
              </a:defRPr>
            </a:lvl8pPr>
            <a:lvl9pPr marL="2745760" indent="0">
              <a:buNone/>
              <a:defRPr sz="1051">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1246201153"/>
      </p:ext>
    </p:extLst>
  </p:cSld>
  <p:clrMapOvr>
    <a:masterClrMapping/>
  </p:clrMapOvr>
  <p:transition>
    <p:zoom/>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Picture left content right">
    <p:spTree>
      <p:nvGrpSpPr>
        <p:cNvPr id="1" name=""/>
        <p:cNvGrpSpPr/>
        <p:nvPr/>
      </p:nvGrpSpPr>
      <p:grpSpPr>
        <a:xfrm>
          <a:off x="0" y="0"/>
          <a:ext cx="0" cy="0"/>
          <a:chOff x="0" y="0"/>
          <a:chExt cx="0" cy="0"/>
        </a:xfrm>
      </p:grpSpPr>
      <p:sp>
        <p:nvSpPr>
          <p:cNvPr id="3" name="Inhaltsplatzhalter 2"/>
          <p:cNvSpPr>
            <a:spLocks noGrp="1"/>
          </p:cNvSpPr>
          <p:nvPr>
            <p:ph idx="1"/>
          </p:nvPr>
        </p:nvSpPr>
        <p:spPr>
          <a:xfrm>
            <a:off x="4644029" y="709081"/>
            <a:ext cx="4116069" cy="4243741"/>
          </a:xfrm>
        </p:spPr>
        <p:txBody>
          <a:bodyPr bIns="72000"/>
          <a:lstStyle/>
          <a:p>
            <a:pPr lvl="0"/>
            <a:r>
              <a:rPr lang="en-US" noProof="0" dirty="0" err="1"/>
              <a:t>Textmasterformat</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p:txBody>
      </p:sp>
      <p:sp>
        <p:nvSpPr>
          <p:cNvPr id="9" name="Bildplatzhalter 8"/>
          <p:cNvSpPr>
            <a:spLocks noGrp="1"/>
          </p:cNvSpPr>
          <p:nvPr>
            <p:ph type="pic" sz="quarter" idx="14"/>
          </p:nvPr>
        </p:nvSpPr>
        <p:spPr>
          <a:xfrm>
            <a:off x="383932" y="709081"/>
            <a:ext cx="4116068" cy="4243741"/>
          </a:xfrm>
        </p:spPr>
        <p:txBody>
          <a:bodyPr tIns="180000" bIns="180000" rtlCol="0">
            <a:noAutofit/>
          </a:bodyPr>
          <a:lstStyle>
            <a:lvl1pPr marL="0" indent="0">
              <a:buFontTx/>
              <a:buNone/>
              <a:defRPr sz="1201">
                <a:solidFill>
                  <a:schemeClr val="accent2"/>
                </a:solidFill>
              </a:defRPr>
            </a:lvl1pPr>
          </a:lstStyle>
          <a:p>
            <a:pPr lvl="0"/>
            <a:r>
              <a:rPr lang="en-US" noProof="0" dirty="0"/>
              <a:t>Bild durch Klicken auf Symbol hinzufügen</a:t>
            </a:r>
          </a:p>
        </p:txBody>
      </p:sp>
      <p:sp>
        <p:nvSpPr>
          <p:cNvPr id="10" name="Titel 1"/>
          <p:cNvSpPr>
            <a:spLocks noGrp="1"/>
          </p:cNvSpPr>
          <p:nvPr>
            <p:ph type="title"/>
          </p:nvPr>
        </p:nvSpPr>
        <p:spPr>
          <a:xfrm>
            <a:off x="383931" y="216200"/>
            <a:ext cx="7145936" cy="195691"/>
          </a:xfrm>
        </p:spPr>
        <p:txBody>
          <a:bodyPr/>
          <a:lstStyle>
            <a:lvl1pPr>
              <a:defRPr baseline="0"/>
            </a:lvl1pPr>
          </a:lstStyle>
          <a:p>
            <a:r>
              <a:rPr lang="en-US" noProof="0"/>
              <a:t>Click to edit Master title style</a:t>
            </a:r>
            <a:endParaRPr lang="en-US" noProof="0" dirty="0"/>
          </a:p>
        </p:txBody>
      </p:sp>
      <p:sp>
        <p:nvSpPr>
          <p:cNvPr id="11" name="Textplatzhalter 2"/>
          <p:cNvSpPr>
            <a:spLocks noGrp="1"/>
          </p:cNvSpPr>
          <p:nvPr>
            <p:ph type="body" idx="13"/>
          </p:nvPr>
        </p:nvSpPr>
        <p:spPr>
          <a:xfrm>
            <a:off x="383931" y="411891"/>
            <a:ext cx="7145936" cy="216200"/>
          </a:xfrm>
        </p:spPr>
        <p:txBody>
          <a:bodyPr tIns="0"/>
          <a:lstStyle>
            <a:lvl1pPr marL="0" indent="0">
              <a:buNone/>
              <a:defRPr sz="1501" cap="all" baseline="0">
                <a:solidFill>
                  <a:schemeClr val="accent4"/>
                </a:solidFill>
              </a:defRPr>
            </a:lvl1pPr>
            <a:lvl2pPr marL="343220" indent="0">
              <a:buNone/>
              <a:defRPr sz="1351">
                <a:solidFill>
                  <a:schemeClr val="tx1">
                    <a:tint val="75000"/>
                  </a:schemeClr>
                </a:solidFill>
              </a:defRPr>
            </a:lvl2pPr>
            <a:lvl3pPr marL="686440" indent="0">
              <a:buNone/>
              <a:defRPr sz="1201">
                <a:solidFill>
                  <a:schemeClr val="tx1">
                    <a:tint val="75000"/>
                  </a:schemeClr>
                </a:solidFill>
              </a:defRPr>
            </a:lvl3pPr>
            <a:lvl4pPr marL="1029660" indent="0">
              <a:buNone/>
              <a:defRPr sz="1051">
                <a:solidFill>
                  <a:schemeClr val="tx1">
                    <a:tint val="75000"/>
                  </a:schemeClr>
                </a:solidFill>
              </a:defRPr>
            </a:lvl4pPr>
            <a:lvl5pPr marL="1372880" indent="0">
              <a:buNone/>
              <a:defRPr sz="1051">
                <a:solidFill>
                  <a:schemeClr val="tx1">
                    <a:tint val="75000"/>
                  </a:schemeClr>
                </a:solidFill>
              </a:defRPr>
            </a:lvl5pPr>
            <a:lvl6pPr marL="1716100" indent="0">
              <a:buNone/>
              <a:defRPr sz="1051">
                <a:solidFill>
                  <a:schemeClr val="tx1">
                    <a:tint val="75000"/>
                  </a:schemeClr>
                </a:solidFill>
              </a:defRPr>
            </a:lvl6pPr>
            <a:lvl7pPr marL="2059320" indent="0">
              <a:buNone/>
              <a:defRPr sz="1051">
                <a:solidFill>
                  <a:schemeClr val="tx1">
                    <a:tint val="75000"/>
                  </a:schemeClr>
                </a:solidFill>
              </a:defRPr>
            </a:lvl7pPr>
            <a:lvl8pPr marL="2402540" indent="0">
              <a:buNone/>
              <a:defRPr sz="1051">
                <a:solidFill>
                  <a:schemeClr val="tx1">
                    <a:tint val="75000"/>
                  </a:schemeClr>
                </a:solidFill>
              </a:defRPr>
            </a:lvl8pPr>
            <a:lvl9pPr marL="2745760" indent="0">
              <a:buNone/>
              <a:defRPr sz="1051">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1765011972"/>
      </p:ext>
    </p:extLst>
  </p:cSld>
  <p:clrMapOvr>
    <a:masterClrMapping/>
  </p:clrMapOvr>
  <p:transition>
    <p:zoom/>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cxnSp>
        <p:nvCxnSpPr>
          <p:cNvPr id="8" name="Gerade Verbindung 11"/>
          <p:cNvCxnSpPr/>
          <p:nvPr userDrawn="1"/>
        </p:nvCxnSpPr>
        <p:spPr>
          <a:xfrm>
            <a:off x="0" y="946232"/>
            <a:ext cx="9144000" cy="0"/>
          </a:xfrm>
          <a:prstGeom prst="line">
            <a:avLst/>
          </a:prstGeom>
          <a:ln w="9525" cap="sq">
            <a:solidFill>
              <a:srgbClr val="C4CACE"/>
            </a:solidFill>
            <a:miter lim="800000"/>
          </a:ln>
        </p:spPr>
        <p:style>
          <a:lnRef idx="1">
            <a:schemeClr val="accent1"/>
          </a:lnRef>
          <a:fillRef idx="0">
            <a:schemeClr val="accent1"/>
          </a:fillRef>
          <a:effectRef idx="0">
            <a:schemeClr val="accent1"/>
          </a:effectRef>
          <a:fontRef idx="minor">
            <a:schemeClr val="tx1"/>
          </a:fontRef>
        </p:style>
      </p:cxnSp>
      <p:sp>
        <p:nvSpPr>
          <p:cNvPr id="3" name="Inhaltsplatzhalter 2"/>
          <p:cNvSpPr>
            <a:spLocks noGrp="1"/>
          </p:cNvSpPr>
          <p:nvPr>
            <p:ph sz="half" idx="1"/>
          </p:nvPr>
        </p:nvSpPr>
        <p:spPr>
          <a:xfrm>
            <a:off x="383932" y="979479"/>
            <a:ext cx="4116068" cy="3973341"/>
          </a:xfrm>
        </p:spPr>
        <p:txBody>
          <a:bodyPr bIns="72000"/>
          <a:lstStyle>
            <a:lvl1pPr>
              <a:defRPr sz="1501"/>
            </a:lvl1pPr>
            <a:lvl2pPr>
              <a:defRPr sz="1276"/>
            </a:lvl2pPr>
            <a:lvl3pPr>
              <a:defRPr sz="1201"/>
            </a:lvl3pPr>
            <a:lvl4pPr>
              <a:defRPr sz="826"/>
            </a:lvl4pPr>
            <a:lvl5pPr>
              <a:defRPr sz="1351"/>
            </a:lvl5pPr>
            <a:lvl6pPr>
              <a:defRPr sz="1351"/>
            </a:lvl6pPr>
            <a:lvl7pPr>
              <a:defRPr sz="1351"/>
            </a:lvl7pPr>
            <a:lvl8pPr>
              <a:defRPr sz="1351"/>
            </a:lvl8pPr>
            <a:lvl9pPr>
              <a:defRPr sz="1351"/>
            </a:lvl9pPr>
          </a:lstStyle>
          <a:p>
            <a:pPr lvl="0"/>
            <a:r>
              <a:rPr lang="en-US" noProof="0" dirty="0" err="1"/>
              <a:t>Textmasterformat</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p:txBody>
      </p:sp>
      <p:sp>
        <p:nvSpPr>
          <p:cNvPr id="4" name="Inhaltsplatzhalter 3"/>
          <p:cNvSpPr>
            <a:spLocks noGrp="1"/>
          </p:cNvSpPr>
          <p:nvPr>
            <p:ph sz="half" idx="2"/>
          </p:nvPr>
        </p:nvSpPr>
        <p:spPr>
          <a:xfrm>
            <a:off x="4644029" y="979479"/>
            <a:ext cx="4116069" cy="3973341"/>
          </a:xfrm>
        </p:spPr>
        <p:txBody>
          <a:bodyPr bIns="72000"/>
          <a:lstStyle>
            <a:lvl1pPr>
              <a:defRPr sz="1426"/>
            </a:lvl1pPr>
            <a:lvl2pPr>
              <a:defRPr sz="1351"/>
            </a:lvl2pPr>
            <a:lvl3pPr>
              <a:defRPr sz="1126"/>
            </a:lvl3pPr>
            <a:lvl4pPr>
              <a:defRPr sz="826"/>
            </a:lvl4pPr>
            <a:lvl5pPr>
              <a:defRPr sz="1351"/>
            </a:lvl5pPr>
            <a:lvl6pPr>
              <a:defRPr sz="1351"/>
            </a:lvl6pPr>
            <a:lvl7pPr>
              <a:defRPr sz="1351"/>
            </a:lvl7pPr>
            <a:lvl8pPr>
              <a:defRPr sz="1351"/>
            </a:lvl8pPr>
            <a:lvl9pPr>
              <a:defRPr sz="1351"/>
            </a:lvl9pPr>
          </a:lstStyle>
          <a:p>
            <a:pPr lvl="0"/>
            <a:r>
              <a:rPr lang="en-US" noProof="0" dirty="0" err="1"/>
              <a:t>Textmasterformat</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p:txBody>
      </p:sp>
      <p:sp>
        <p:nvSpPr>
          <p:cNvPr id="9" name="Textplatzhalter 2"/>
          <p:cNvSpPr>
            <a:spLocks noGrp="1"/>
          </p:cNvSpPr>
          <p:nvPr>
            <p:ph type="body" idx="14"/>
          </p:nvPr>
        </p:nvSpPr>
        <p:spPr>
          <a:xfrm>
            <a:off x="383931" y="675625"/>
            <a:ext cx="4115358" cy="270250"/>
          </a:xfrm>
        </p:spPr>
        <p:txBody>
          <a:bodyPr tIns="0" anchor="ctr"/>
          <a:lstStyle>
            <a:lvl1pPr marL="0" indent="0" algn="ctr">
              <a:buNone/>
              <a:defRPr sz="1351" b="0" cap="all" baseline="0">
                <a:solidFill>
                  <a:schemeClr val="accent2"/>
                </a:solidFill>
              </a:defRPr>
            </a:lvl1pPr>
            <a:lvl2pPr marL="343220" indent="0">
              <a:buNone/>
              <a:defRPr sz="1351">
                <a:solidFill>
                  <a:schemeClr val="tx1">
                    <a:tint val="75000"/>
                  </a:schemeClr>
                </a:solidFill>
              </a:defRPr>
            </a:lvl2pPr>
            <a:lvl3pPr marL="686440" indent="0">
              <a:buNone/>
              <a:defRPr sz="1201">
                <a:solidFill>
                  <a:schemeClr val="tx1">
                    <a:tint val="75000"/>
                  </a:schemeClr>
                </a:solidFill>
              </a:defRPr>
            </a:lvl3pPr>
            <a:lvl4pPr marL="1029660" indent="0">
              <a:buNone/>
              <a:defRPr sz="1051">
                <a:solidFill>
                  <a:schemeClr val="tx1">
                    <a:tint val="75000"/>
                  </a:schemeClr>
                </a:solidFill>
              </a:defRPr>
            </a:lvl4pPr>
            <a:lvl5pPr marL="1372880" indent="0">
              <a:buNone/>
              <a:defRPr sz="1051">
                <a:solidFill>
                  <a:schemeClr val="tx1">
                    <a:tint val="75000"/>
                  </a:schemeClr>
                </a:solidFill>
              </a:defRPr>
            </a:lvl5pPr>
            <a:lvl6pPr marL="1716100" indent="0">
              <a:buNone/>
              <a:defRPr sz="1051">
                <a:solidFill>
                  <a:schemeClr val="tx1">
                    <a:tint val="75000"/>
                  </a:schemeClr>
                </a:solidFill>
              </a:defRPr>
            </a:lvl6pPr>
            <a:lvl7pPr marL="2059320" indent="0">
              <a:buNone/>
              <a:defRPr sz="1051">
                <a:solidFill>
                  <a:schemeClr val="tx1">
                    <a:tint val="75000"/>
                  </a:schemeClr>
                </a:solidFill>
              </a:defRPr>
            </a:lvl7pPr>
            <a:lvl8pPr marL="2402540" indent="0">
              <a:buNone/>
              <a:defRPr sz="1051">
                <a:solidFill>
                  <a:schemeClr val="tx1">
                    <a:tint val="75000"/>
                  </a:schemeClr>
                </a:solidFill>
              </a:defRPr>
            </a:lvl8pPr>
            <a:lvl9pPr marL="2745760" indent="0">
              <a:buNone/>
              <a:defRPr sz="1051">
                <a:solidFill>
                  <a:schemeClr val="tx1">
                    <a:tint val="75000"/>
                  </a:schemeClr>
                </a:solidFill>
              </a:defRPr>
            </a:lvl9pPr>
          </a:lstStyle>
          <a:p>
            <a:pPr lvl="0"/>
            <a:r>
              <a:rPr lang="en-US" noProof="0"/>
              <a:t>Click to edit Master text styles</a:t>
            </a:r>
          </a:p>
        </p:txBody>
      </p:sp>
      <p:sp>
        <p:nvSpPr>
          <p:cNvPr id="13" name="Textplatzhalter 2"/>
          <p:cNvSpPr>
            <a:spLocks noGrp="1"/>
          </p:cNvSpPr>
          <p:nvPr>
            <p:ph type="body" idx="16"/>
          </p:nvPr>
        </p:nvSpPr>
        <p:spPr>
          <a:xfrm>
            <a:off x="4644029" y="675625"/>
            <a:ext cx="4116069" cy="270250"/>
          </a:xfrm>
        </p:spPr>
        <p:txBody>
          <a:bodyPr tIns="0" anchor="ctr"/>
          <a:lstStyle>
            <a:lvl1pPr marL="0" indent="0" algn="ctr">
              <a:buNone/>
              <a:defRPr sz="1351" b="0" cap="all" baseline="0">
                <a:solidFill>
                  <a:schemeClr val="accent2"/>
                </a:solidFill>
              </a:defRPr>
            </a:lvl1pPr>
            <a:lvl2pPr marL="343220" indent="0">
              <a:buNone/>
              <a:defRPr sz="1351">
                <a:solidFill>
                  <a:schemeClr val="tx1">
                    <a:tint val="75000"/>
                  </a:schemeClr>
                </a:solidFill>
              </a:defRPr>
            </a:lvl2pPr>
            <a:lvl3pPr marL="686440" indent="0">
              <a:buNone/>
              <a:defRPr sz="1201">
                <a:solidFill>
                  <a:schemeClr val="tx1">
                    <a:tint val="75000"/>
                  </a:schemeClr>
                </a:solidFill>
              </a:defRPr>
            </a:lvl3pPr>
            <a:lvl4pPr marL="1029660" indent="0">
              <a:buNone/>
              <a:defRPr sz="1051">
                <a:solidFill>
                  <a:schemeClr val="tx1">
                    <a:tint val="75000"/>
                  </a:schemeClr>
                </a:solidFill>
              </a:defRPr>
            </a:lvl4pPr>
            <a:lvl5pPr marL="1372880" indent="0">
              <a:buNone/>
              <a:defRPr sz="1051">
                <a:solidFill>
                  <a:schemeClr val="tx1">
                    <a:tint val="75000"/>
                  </a:schemeClr>
                </a:solidFill>
              </a:defRPr>
            </a:lvl5pPr>
            <a:lvl6pPr marL="1716100" indent="0">
              <a:buNone/>
              <a:defRPr sz="1051">
                <a:solidFill>
                  <a:schemeClr val="tx1">
                    <a:tint val="75000"/>
                  </a:schemeClr>
                </a:solidFill>
              </a:defRPr>
            </a:lvl6pPr>
            <a:lvl7pPr marL="2059320" indent="0">
              <a:buNone/>
              <a:defRPr sz="1051">
                <a:solidFill>
                  <a:schemeClr val="tx1">
                    <a:tint val="75000"/>
                  </a:schemeClr>
                </a:solidFill>
              </a:defRPr>
            </a:lvl7pPr>
            <a:lvl8pPr marL="2402540" indent="0">
              <a:buNone/>
              <a:defRPr sz="1051">
                <a:solidFill>
                  <a:schemeClr val="tx1">
                    <a:tint val="75000"/>
                  </a:schemeClr>
                </a:solidFill>
              </a:defRPr>
            </a:lvl8pPr>
            <a:lvl9pPr marL="2745760" indent="0">
              <a:buNone/>
              <a:defRPr sz="1051">
                <a:solidFill>
                  <a:schemeClr val="tx1">
                    <a:tint val="75000"/>
                  </a:schemeClr>
                </a:solidFill>
              </a:defRPr>
            </a:lvl9pPr>
          </a:lstStyle>
          <a:p>
            <a:pPr lvl="0"/>
            <a:r>
              <a:rPr lang="en-US" noProof="0"/>
              <a:t>Click to edit Master text styles</a:t>
            </a:r>
          </a:p>
        </p:txBody>
      </p:sp>
      <p:sp>
        <p:nvSpPr>
          <p:cNvPr id="15" name="Titel 1"/>
          <p:cNvSpPr>
            <a:spLocks noGrp="1"/>
          </p:cNvSpPr>
          <p:nvPr>
            <p:ph type="title"/>
          </p:nvPr>
        </p:nvSpPr>
        <p:spPr>
          <a:xfrm>
            <a:off x="383931" y="216200"/>
            <a:ext cx="7145936" cy="195691"/>
          </a:xfrm>
        </p:spPr>
        <p:txBody>
          <a:bodyPr/>
          <a:lstStyle>
            <a:lvl1pPr>
              <a:defRPr baseline="0"/>
            </a:lvl1pPr>
          </a:lstStyle>
          <a:p>
            <a:r>
              <a:rPr lang="en-US" noProof="0"/>
              <a:t>Click to edit Master title style</a:t>
            </a:r>
            <a:endParaRPr lang="en-US" noProof="0" dirty="0"/>
          </a:p>
        </p:txBody>
      </p:sp>
      <p:sp>
        <p:nvSpPr>
          <p:cNvPr id="16" name="Textplatzhalter 2"/>
          <p:cNvSpPr>
            <a:spLocks noGrp="1"/>
          </p:cNvSpPr>
          <p:nvPr>
            <p:ph type="body" idx="13"/>
          </p:nvPr>
        </p:nvSpPr>
        <p:spPr>
          <a:xfrm>
            <a:off x="383931" y="411891"/>
            <a:ext cx="7145936" cy="216200"/>
          </a:xfrm>
        </p:spPr>
        <p:txBody>
          <a:bodyPr tIns="0"/>
          <a:lstStyle>
            <a:lvl1pPr marL="0" indent="0">
              <a:buNone/>
              <a:defRPr sz="1501" cap="all" baseline="0">
                <a:solidFill>
                  <a:schemeClr val="accent4"/>
                </a:solidFill>
              </a:defRPr>
            </a:lvl1pPr>
            <a:lvl2pPr marL="343220" indent="0">
              <a:buNone/>
              <a:defRPr sz="1351">
                <a:solidFill>
                  <a:schemeClr val="tx1">
                    <a:tint val="75000"/>
                  </a:schemeClr>
                </a:solidFill>
              </a:defRPr>
            </a:lvl2pPr>
            <a:lvl3pPr marL="686440" indent="0">
              <a:buNone/>
              <a:defRPr sz="1201">
                <a:solidFill>
                  <a:schemeClr val="tx1">
                    <a:tint val="75000"/>
                  </a:schemeClr>
                </a:solidFill>
              </a:defRPr>
            </a:lvl3pPr>
            <a:lvl4pPr marL="1029660" indent="0">
              <a:buNone/>
              <a:defRPr sz="1051">
                <a:solidFill>
                  <a:schemeClr val="tx1">
                    <a:tint val="75000"/>
                  </a:schemeClr>
                </a:solidFill>
              </a:defRPr>
            </a:lvl4pPr>
            <a:lvl5pPr marL="1372880" indent="0">
              <a:buNone/>
              <a:defRPr sz="1051">
                <a:solidFill>
                  <a:schemeClr val="tx1">
                    <a:tint val="75000"/>
                  </a:schemeClr>
                </a:solidFill>
              </a:defRPr>
            </a:lvl5pPr>
            <a:lvl6pPr marL="1716100" indent="0">
              <a:buNone/>
              <a:defRPr sz="1051">
                <a:solidFill>
                  <a:schemeClr val="tx1">
                    <a:tint val="75000"/>
                  </a:schemeClr>
                </a:solidFill>
              </a:defRPr>
            </a:lvl6pPr>
            <a:lvl7pPr marL="2059320" indent="0">
              <a:buNone/>
              <a:defRPr sz="1051">
                <a:solidFill>
                  <a:schemeClr val="tx1">
                    <a:tint val="75000"/>
                  </a:schemeClr>
                </a:solidFill>
              </a:defRPr>
            </a:lvl7pPr>
            <a:lvl8pPr marL="2402540" indent="0">
              <a:buNone/>
              <a:defRPr sz="1051">
                <a:solidFill>
                  <a:schemeClr val="tx1">
                    <a:tint val="75000"/>
                  </a:schemeClr>
                </a:solidFill>
              </a:defRPr>
            </a:lvl8pPr>
            <a:lvl9pPr marL="2745760" indent="0">
              <a:buNone/>
              <a:defRPr sz="1051">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3964020181"/>
      </p:ext>
    </p:extLst>
  </p:cSld>
  <p:clrMapOvr>
    <a:masterClrMapping/>
  </p:clrMapOvr>
  <p:transition>
    <p:zoom/>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DF8A05A5-3A8F-4745-8AAA-41D1CA76CF50}"/>
              </a:ext>
            </a:extLst>
          </p:cNvPr>
          <p:cNvSpPr>
            <a:spLocks noGrp="1"/>
          </p:cNvSpPr>
          <p:nvPr>
            <p:ph idx="1"/>
          </p:nvPr>
        </p:nvSpPr>
        <p:spPr>
          <a:xfrm>
            <a:off x="361951" y="1162751"/>
            <a:ext cx="4028621" cy="3267075"/>
          </a:xfrm>
          <a:prstGeom prst="rect">
            <a:avLst/>
          </a:prstGeom>
        </p:spPr>
        <p:txBody>
          <a:bodyPr/>
          <a:lstStyle>
            <a:lvl1pPr>
              <a:defRPr sz="1399">
                <a:solidFill>
                  <a:schemeClr val="tx1"/>
                </a:solidFill>
              </a:defRPr>
            </a:lvl1pPr>
            <a:lvl2pPr>
              <a:defRPr sz="1399">
                <a:solidFill>
                  <a:schemeClr val="tx1"/>
                </a:solidFill>
              </a:defRPr>
            </a:lvl2pPr>
            <a:lvl3pPr>
              <a:defRPr sz="1399">
                <a:solidFill>
                  <a:schemeClr val="tx1"/>
                </a:solidFill>
              </a:defRPr>
            </a:lvl3pPr>
            <a:lvl4pPr marL="634413" indent="-174464">
              <a:buClr>
                <a:schemeClr val="accent1"/>
              </a:buClr>
              <a:buSzPct val="80000"/>
              <a:buFont typeface="Courier New" panose="02070309020205020404" pitchFamily="49" charset="0"/>
              <a:buChar char="o"/>
              <a:tabLst/>
              <a:defRPr sz="1399">
                <a:solidFill>
                  <a:schemeClr val="tx1"/>
                </a:solidFill>
              </a:defRPr>
            </a:lvl4pPr>
            <a:lvl5pPr marL="799360" indent="-164948">
              <a:buClr>
                <a:schemeClr val="accent1"/>
              </a:buClr>
              <a:buFont typeface=".AppleSystemUIFont"/>
              <a:buChar char="–"/>
              <a:tabLst/>
              <a:defRPr sz="1399">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2">
            <a:extLst>
              <a:ext uri="{FF2B5EF4-FFF2-40B4-BE49-F238E27FC236}">
                <a16:creationId xmlns:a16="http://schemas.microsoft.com/office/drawing/2014/main" id="{29A91805-34B3-C844-9E42-F3DE151A7D7C}"/>
              </a:ext>
            </a:extLst>
          </p:cNvPr>
          <p:cNvSpPr>
            <a:spLocks noGrp="1"/>
          </p:cNvSpPr>
          <p:nvPr>
            <p:ph idx="16"/>
          </p:nvPr>
        </p:nvSpPr>
        <p:spPr>
          <a:xfrm>
            <a:off x="4571095" y="1162751"/>
            <a:ext cx="4028621" cy="3267075"/>
          </a:xfrm>
          <a:prstGeom prst="rect">
            <a:avLst/>
          </a:prstGeom>
        </p:spPr>
        <p:txBody>
          <a:bodyPr/>
          <a:lstStyle>
            <a:lvl1pPr>
              <a:defRPr sz="1399">
                <a:solidFill>
                  <a:schemeClr val="tx1"/>
                </a:solidFill>
              </a:defRPr>
            </a:lvl1pPr>
            <a:lvl2pPr>
              <a:defRPr sz="1399">
                <a:solidFill>
                  <a:schemeClr val="tx1"/>
                </a:solidFill>
              </a:defRPr>
            </a:lvl2pPr>
            <a:lvl3pPr>
              <a:defRPr sz="1399">
                <a:solidFill>
                  <a:schemeClr val="tx1"/>
                </a:solidFill>
              </a:defRPr>
            </a:lvl3pPr>
            <a:lvl4pPr marL="634413" indent="-174464">
              <a:buClr>
                <a:schemeClr val="accent1"/>
              </a:buClr>
              <a:buSzPct val="80000"/>
              <a:buFont typeface="Courier New" panose="02070309020205020404" pitchFamily="49" charset="0"/>
              <a:buChar char="o"/>
              <a:tabLst/>
              <a:defRPr sz="1399">
                <a:solidFill>
                  <a:schemeClr val="tx1"/>
                </a:solidFill>
              </a:defRPr>
            </a:lvl4pPr>
            <a:lvl5pPr marL="799360" indent="-164948">
              <a:buClr>
                <a:schemeClr val="accent1"/>
              </a:buClr>
              <a:buFont typeface=".AppleSystemUIFont"/>
              <a:buChar char="–"/>
              <a:tabLst/>
              <a:defRPr sz="1399">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laceholder 1">
            <a:extLst>
              <a:ext uri="{FF2B5EF4-FFF2-40B4-BE49-F238E27FC236}">
                <a16:creationId xmlns:a16="http://schemas.microsoft.com/office/drawing/2014/main" id="{05242C09-FAD4-8AF9-D1E3-EC4BC3B9461A}"/>
              </a:ext>
            </a:extLst>
          </p:cNvPr>
          <p:cNvSpPr>
            <a:spLocks noGrp="1"/>
          </p:cNvSpPr>
          <p:nvPr>
            <p:ph type="title" hasCustomPrompt="1"/>
          </p:nvPr>
        </p:nvSpPr>
        <p:spPr>
          <a:xfrm>
            <a:off x="361950" y="291592"/>
            <a:ext cx="8229600" cy="461345"/>
          </a:xfrm>
          <a:prstGeom prst="rect">
            <a:avLst/>
          </a:prstGeom>
        </p:spPr>
        <p:txBody>
          <a:bodyPr vert="horz" lIns="91440" tIns="45720" rIns="91440" bIns="45720" rtlCol="0" anchor="ctr">
            <a:spAutoFit/>
          </a:bodyPr>
          <a:lstStyle>
            <a:lvl1pPr>
              <a:defRPr b="0" cap="none">
                <a:solidFill>
                  <a:schemeClr val="accent1"/>
                </a:solidFill>
              </a:defRPr>
            </a:lvl1pPr>
          </a:lstStyle>
          <a:p>
            <a:r>
              <a:rPr lang="en-US" dirty="0"/>
              <a:t>Click to Add Title</a:t>
            </a:r>
          </a:p>
        </p:txBody>
      </p:sp>
      <p:sp>
        <p:nvSpPr>
          <p:cNvPr id="4" name="Text Placeholder 2">
            <a:extLst>
              <a:ext uri="{FF2B5EF4-FFF2-40B4-BE49-F238E27FC236}">
                <a16:creationId xmlns:a16="http://schemas.microsoft.com/office/drawing/2014/main" id="{BCAC4513-9D1D-5726-0F3D-97CB06FE29E1}"/>
              </a:ext>
            </a:extLst>
          </p:cNvPr>
          <p:cNvSpPr>
            <a:spLocks noGrp="1"/>
          </p:cNvSpPr>
          <p:nvPr>
            <p:ph type="body" sz="quarter" idx="15"/>
          </p:nvPr>
        </p:nvSpPr>
        <p:spPr>
          <a:xfrm>
            <a:off x="361950" y="622300"/>
            <a:ext cx="8229600" cy="349250"/>
          </a:xfrm>
          <a:prstGeom prst="rect">
            <a:avLst/>
          </a:prstGeom>
        </p:spPr>
        <p:txBody>
          <a:bodyPr>
            <a:noAutofit/>
          </a:bodyPr>
          <a:lstStyle>
            <a:lvl1pPr marL="0" indent="0">
              <a:buNone/>
              <a:defRPr sz="1300">
                <a:solidFill>
                  <a:schemeClr val="bg1"/>
                </a:solidFill>
              </a:defRPr>
            </a:lvl1pPr>
            <a:lvl2pPr marL="171292" indent="0">
              <a:buNone/>
              <a:defRPr sz="1499">
                <a:solidFill>
                  <a:schemeClr val="tx2"/>
                </a:solidFill>
              </a:defRPr>
            </a:lvl2pPr>
            <a:lvl3pPr marL="285486" indent="0">
              <a:buNone/>
              <a:defRPr sz="1499">
                <a:solidFill>
                  <a:schemeClr val="tx2"/>
                </a:solidFill>
              </a:defRPr>
            </a:lvl3pPr>
            <a:lvl4pPr marL="1370331" indent="0">
              <a:buNone/>
              <a:defRPr sz="1499">
                <a:solidFill>
                  <a:schemeClr val="tx2"/>
                </a:solidFill>
              </a:defRPr>
            </a:lvl4pPr>
            <a:lvl5pPr marL="1827108" indent="0">
              <a:buNone/>
              <a:defRPr sz="1499">
                <a:solidFill>
                  <a:schemeClr val="tx2"/>
                </a:solidFill>
              </a:defRPr>
            </a:lvl5pPr>
          </a:lstStyle>
          <a:p>
            <a:pPr lvl="0"/>
            <a:r>
              <a:rPr lang="en-US" dirty="0"/>
              <a:t>Click to edit Master text styles</a:t>
            </a:r>
          </a:p>
        </p:txBody>
      </p:sp>
      <p:sp>
        <p:nvSpPr>
          <p:cNvPr id="2" name="Footer Placeholder 5">
            <a:extLst>
              <a:ext uri="{FF2B5EF4-FFF2-40B4-BE49-F238E27FC236}">
                <a16:creationId xmlns:a16="http://schemas.microsoft.com/office/drawing/2014/main" id="{9B340AD7-04A5-1FBD-1FA6-AF29DFC88099}"/>
              </a:ext>
            </a:extLst>
          </p:cNvPr>
          <p:cNvSpPr>
            <a:spLocks noGrp="1"/>
          </p:cNvSpPr>
          <p:nvPr>
            <p:ph type="ftr" sz="quarter" idx="3"/>
          </p:nvPr>
        </p:nvSpPr>
        <p:spPr>
          <a:xfrm>
            <a:off x="5778500" y="4839481"/>
            <a:ext cx="3086100" cy="273050"/>
          </a:xfrm>
          <a:prstGeom prst="rect">
            <a:avLst/>
          </a:prstGeom>
        </p:spPr>
        <p:txBody>
          <a:bodyPr vert="horz" lIns="91440" tIns="45720" rIns="91440" bIns="45720" rtlCol="0" anchor="ctr"/>
          <a:lstStyle>
            <a:lvl1pPr algn="r">
              <a:defRPr sz="799">
                <a:solidFill>
                  <a:schemeClr val="tx2"/>
                </a:solidFill>
              </a:defRPr>
            </a:lvl1pPr>
          </a:lstStyle>
          <a:p>
            <a:endParaRPr lang="en-US" dirty="0"/>
          </a:p>
        </p:txBody>
      </p:sp>
    </p:spTree>
    <p:extLst>
      <p:ext uri="{BB962C8B-B14F-4D97-AF65-F5344CB8AC3E}">
        <p14:creationId xmlns:p14="http://schemas.microsoft.com/office/powerpoint/2010/main" val="4052321815"/>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cxnSp>
        <p:nvCxnSpPr>
          <p:cNvPr id="10" name="Gerade Verbindung 14"/>
          <p:cNvCxnSpPr/>
          <p:nvPr userDrawn="1"/>
        </p:nvCxnSpPr>
        <p:spPr>
          <a:xfrm>
            <a:off x="0" y="946232"/>
            <a:ext cx="9144000" cy="0"/>
          </a:xfrm>
          <a:prstGeom prst="line">
            <a:avLst/>
          </a:prstGeom>
          <a:ln w="9525" cap="sq">
            <a:solidFill>
              <a:srgbClr val="C4CACE"/>
            </a:solidFill>
            <a:miter lim="800000"/>
          </a:ln>
        </p:spPr>
        <p:style>
          <a:lnRef idx="1">
            <a:schemeClr val="accent1"/>
          </a:lnRef>
          <a:fillRef idx="0">
            <a:schemeClr val="accent1"/>
          </a:fillRef>
          <a:effectRef idx="0">
            <a:schemeClr val="accent1"/>
          </a:effectRef>
          <a:fontRef idx="minor">
            <a:schemeClr val="tx1"/>
          </a:fontRef>
        </p:style>
      </p:cxnSp>
      <p:sp>
        <p:nvSpPr>
          <p:cNvPr id="3" name="Inhaltsplatzhalter 2"/>
          <p:cNvSpPr>
            <a:spLocks noGrp="1"/>
          </p:cNvSpPr>
          <p:nvPr>
            <p:ph sz="half" idx="1"/>
          </p:nvPr>
        </p:nvSpPr>
        <p:spPr>
          <a:xfrm>
            <a:off x="383930" y="979479"/>
            <a:ext cx="2758154" cy="3973341"/>
          </a:xfrm>
        </p:spPr>
        <p:txBody>
          <a:bodyPr bIns="72000"/>
          <a:lstStyle>
            <a:lvl1pPr>
              <a:defRPr sz="1501"/>
            </a:lvl1pPr>
            <a:lvl2pPr>
              <a:defRPr sz="1351"/>
            </a:lvl2pPr>
            <a:lvl3pPr>
              <a:defRPr sz="1201"/>
            </a:lvl3pPr>
            <a:lvl4pPr>
              <a:defRPr sz="826"/>
            </a:lvl4pPr>
            <a:lvl5pPr>
              <a:defRPr sz="1351"/>
            </a:lvl5pPr>
            <a:lvl6pPr>
              <a:defRPr sz="1351"/>
            </a:lvl6pPr>
            <a:lvl7pPr>
              <a:defRPr sz="1351"/>
            </a:lvl7pPr>
            <a:lvl8pPr>
              <a:defRPr sz="1351"/>
            </a:lvl8pPr>
            <a:lvl9pPr>
              <a:defRPr sz="1351"/>
            </a:lvl9pPr>
          </a:lstStyle>
          <a:p>
            <a:pPr lvl="0"/>
            <a:r>
              <a:rPr lang="en-US" noProof="0" dirty="0" err="1"/>
              <a:t>Textmasterformat</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p:txBody>
      </p:sp>
      <p:sp>
        <p:nvSpPr>
          <p:cNvPr id="4" name="Inhaltsplatzhalter 3"/>
          <p:cNvSpPr>
            <a:spLocks noGrp="1"/>
          </p:cNvSpPr>
          <p:nvPr>
            <p:ph sz="half" idx="2"/>
          </p:nvPr>
        </p:nvSpPr>
        <p:spPr>
          <a:xfrm>
            <a:off x="3192505" y="979479"/>
            <a:ext cx="2758154" cy="3973341"/>
          </a:xfrm>
        </p:spPr>
        <p:txBody>
          <a:bodyPr bIns="72000"/>
          <a:lstStyle>
            <a:lvl1pPr>
              <a:defRPr sz="1501"/>
            </a:lvl1pPr>
            <a:lvl2pPr>
              <a:defRPr sz="1351"/>
            </a:lvl2pPr>
            <a:lvl3pPr>
              <a:defRPr sz="1201"/>
            </a:lvl3pPr>
            <a:lvl4pPr>
              <a:defRPr sz="826"/>
            </a:lvl4pPr>
            <a:lvl5pPr>
              <a:defRPr sz="1351"/>
            </a:lvl5pPr>
            <a:lvl6pPr>
              <a:defRPr sz="1351"/>
            </a:lvl6pPr>
            <a:lvl7pPr>
              <a:defRPr sz="1351"/>
            </a:lvl7pPr>
            <a:lvl8pPr>
              <a:defRPr sz="1351"/>
            </a:lvl8pPr>
            <a:lvl9pPr>
              <a:defRPr sz="1351"/>
            </a:lvl9pPr>
          </a:lstStyle>
          <a:p>
            <a:pPr lvl="0"/>
            <a:r>
              <a:rPr lang="en-US" noProof="0" dirty="0" err="1"/>
              <a:t>Textmasterformat</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p:txBody>
      </p:sp>
      <p:sp>
        <p:nvSpPr>
          <p:cNvPr id="9" name="Textplatzhalter 2"/>
          <p:cNvSpPr>
            <a:spLocks noGrp="1"/>
          </p:cNvSpPr>
          <p:nvPr>
            <p:ph type="body" idx="14"/>
          </p:nvPr>
        </p:nvSpPr>
        <p:spPr>
          <a:xfrm>
            <a:off x="383930" y="675625"/>
            <a:ext cx="2758154" cy="270250"/>
          </a:xfrm>
        </p:spPr>
        <p:txBody>
          <a:bodyPr tIns="0" anchor="ctr"/>
          <a:lstStyle>
            <a:lvl1pPr marL="0" indent="0" algn="ctr">
              <a:buNone/>
              <a:defRPr sz="1351" b="0" cap="all" baseline="0">
                <a:solidFill>
                  <a:schemeClr val="accent2"/>
                </a:solidFill>
              </a:defRPr>
            </a:lvl1pPr>
            <a:lvl2pPr marL="343220" indent="0">
              <a:buNone/>
              <a:defRPr sz="1351">
                <a:solidFill>
                  <a:schemeClr val="tx1">
                    <a:tint val="75000"/>
                  </a:schemeClr>
                </a:solidFill>
              </a:defRPr>
            </a:lvl2pPr>
            <a:lvl3pPr marL="686440" indent="0">
              <a:buNone/>
              <a:defRPr sz="1201">
                <a:solidFill>
                  <a:schemeClr val="tx1">
                    <a:tint val="75000"/>
                  </a:schemeClr>
                </a:solidFill>
              </a:defRPr>
            </a:lvl3pPr>
            <a:lvl4pPr marL="1029660" indent="0">
              <a:buNone/>
              <a:defRPr sz="1051">
                <a:solidFill>
                  <a:schemeClr val="tx1">
                    <a:tint val="75000"/>
                  </a:schemeClr>
                </a:solidFill>
              </a:defRPr>
            </a:lvl4pPr>
            <a:lvl5pPr marL="1372880" indent="0">
              <a:buNone/>
              <a:defRPr sz="1051">
                <a:solidFill>
                  <a:schemeClr val="tx1">
                    <a:tint val="75000"/>
                  </a:schemeClr>
                </a:solidFill>
              </a:defRPr>
            </a:lvl5pPr>
            <a:lvl6pPr marL="1716100" indent="0">
              <a:buNone/>
              <a:defRPr sz="1051">
                <a:solidFill>
                  <a:schemeClr val="tx1">
                    <a:tint val="75000"/>
                  </a:schemeClr>
                </a:solidFill>
              </a:defRPr>
            </a:lvl6pPr>
            <a:lvl7pPr marL="2059320" indent="0">
              <a:buNone/>
              <a:defRPr sz="1051">
                <a:solidFill>
                  <a:schemeClr val="tx1">
                    <a:tint val="75000"/>
                  </a:schemeClr>
                </a:solidFill>
              </a:defRPr>
            </a:lvl7pPr>
            <a:lvl8pPr marL="2402540" indent="0">
              <a:buNone/>
              <a:defRPr sz="1051">
                <a:solidFill>
                  <a:schemeClr val="tx1">
                    <a:tint val="75000"/>
                  </a:schemeClr>
                </a:solidFill>
              </a:defRPr>
            </a:lvl8pPr>
            <a:lvl9pPr marL="2745760" indent="0">
              <a:buNone/>
              <a:defRPr sz="1051">
                <a:solidFill>
                  <a:schemeClr val="tx1">
                    <a:tint val="75000"/>
                  </a:schemeClr>
                </a:solidFill>
              </a:defRPr>
            </a:lvl9pPr>
          </a:lstStyle>
          <a:p>
            <a:pPr lvl="0"/>
            <a:r>
              <a:rPr lang="en-US" noProof="0"/>
              <a:t>Click to edit Master text styles</a:t>
            </a:r>
          </a:p>
        </p:txBody>
      </p:sp>
      <p:sp>
        <p:nvSpPr>
          <p:cNvPr id="12" name="Inhaltsplatzhalter 3"/>
          <p:cNvSpPr>
            <a:spLocks noGrp="1"/>
          </p:cNvSpPr>
          <p:nvPr>
            <p:ph sz="half" idx="15"/>
          </p:nvPr>
        </p:nvSpPr>
        <p:spPr>
          <a:xfrm>
            <a:off x="6001082" y="979479"/>
            <a:ext cx="2758154" cy="3973341"/>
          </a:xfrm>
        </p:spPr>
        <p:txBody>
          <a:bodyPr bIns="72000"/>
          <a:lstStyle>
            <a:lvl1pPr>
              <a:defRPr sz="1501"/>
            </a:lvl1pPr>
            <a:lvl2pPr>
              <a:defRPr sz="1351"/>
            </a:lvl2pPr>
            <a:lvl3pPr>
              <a:defRPr sz="1201"/>
            </a:lvl3pPr>
            <a:lvl4pPr>
              <a:defRPr sz="826"/>
            </a:lvl4pPr>
            <a:lvl5pPr>
              <a:defRPr sz="1351"/>
            </a:lvl5pPr>
            <a:lvl6pPr>
              <a:defRPr sz="1351"/>
            </a:lvl6pPr>
            <a:lvl7pPr>
              <a:defRPr sz="1351"/>
            </a:lvl7pPr>
            <a:lvl8pPr>
              <a:defRPr sz="1351"/>
            </a:lvl8pPr>
            <a:lvl9pPr>
              <a:defRPr sz="1351"/>
            </a:lvl9pPr>
          </a:lstStyle>
          <a:p>
            <a:pPr lvl="0"/>
            <a:r>
              <a:rPr lang="en-US" noProof="0" dirty="0" err="1"/>
              <a:t>Textmasterformat</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p:txBody>
      </p:sp>
      <p:sp>
        <p:nvSpPr>
          <p:cNvPr id="13" name="Textplatzhalter 2"/>
          <p:cNvSpPr>
            <a:spLocks noGrp="1"/>
          </p:cNvSpPr>
          <p:nvPr>
            <p:ph type="body" idx="16"/>
          </p:nvPr>
        </p:nvSpPr>
        <p:spPr>
          <a:xfrm>
            <a:off x="3192505" y="675625"/>
            <a:ext cx="2758154" cy="270250"/>
          </a:xfrm>
        </p:spPr>
        <p:txBody>
          <a:bodyPr tIns="0" anchor="ctr"/>
          <a:lstStyle>
            <a:lvl1pPr marL="0" indent="0" algn="ctr">
              <a:buNone/>
              <a:defRPr sz="1351" b="0" cap="all" baseline="0">
                <a:solidFill>
                  <a:schemeClr val="accent2"/>
                </a:solidFill>
              </a:defRPr>
            </a:lvl1pPr>
            <a:lvl2pPr marL="343220" indent="0">
              <a:buNone/>
              <a:defRPr sz="1351">
                <a:solidFill>
                  <a:schemeClr val="tx1">
                    <a:tint val="75000"/>
                  </a:schemeClr>
                </a:solidFill>
              </a:defRPr>
            </a:lvl2pPr>
            <a:lvl3pPr marL="686440" indent="0">
              <a:buNone/>
              <a:defRPr sz="1201">
                <a:solidFill>
                  <a:schemeClr val="tx1">
                    <a:tint val="75000"/>
                  </a:schemeClr>
                </a:solidFill>
              </a:defRPr>
            </a:lvl3pPr>
            <a:lvl4pPr marL="1029660" indent="0">
              <a:buNone/>
              <a:defRPr sz="1051">
                <a:solidFill>
                  <a:schemeClr val="tx1">
                    <a:tint val="75000"/>
                  </a:schemeClr>
                </a:solidFill>
              </a:defRPr>
            </a:lvl4pPr>
            <a:lvl5pPr marL="1372880" indent="0">
              <a:buNone/>
              <a:defRPr sz="1051">
                <a:solidFill>
                  <a:schemeClr val="tx1">
                    <a:tint val="75000"/>
                  </a:schemeClr>
                </a:solidFill>
              </a:defRPr>
            </a:lvl5pPr>
            <a:lvl6pPr marL="1716100" indent="0">
              <a:buNone/>
              <a:defRPr sz="1051">
                <a:solidFill>
                  <a:schemeClr val="tx1">
                    <a:tint val="75000"/>
                  </a:schemeClr>
                </a:solidFill>
              </a:defRPr>
            </a:lvl6pPr>
            <a:lvl7pPr marL="2059320" indent="0">
              <a:buNone/>
              <a:defRPr sz="1051">
                <a:solidFill>
                  <a:schemeClr val="tx1">
                    <a:tint val="75000"/>
                  </a:schemeClr>
                </a:solidFill>
              </a:defRPr>
            </a:lvl7pPr>
            <a:lvl8pPr marL="2402540" indent="0">
              <a:buNone/>
              <a:defRPr sz="1051">
                <a:solidFill>
                  <a:schemeClr val="tx1">
                    <a:tint val="75000"/>
                  </a:schemeClr>
                </a:solidFill>
              </a:defRPr>
            </a:lvl8pPr>
            <a:lvl9pPr marL="2745760" indent="0">
              <a:buNone/>
              <a:defRPr sz="1051">
                <a:solidFill>
                  <a:schemeClr val="tx1">
                    <a:tint val="75000"/>
                  </a:schemeClr>
                </a:solidFill>
              </a:defRPr>
            </a:lvl9pPr>
          </a:lstStyle>
          <a:p>
            <a:pPr lvl="0"/>
            <a:r>
              <a:rPr lang="en-US" noProof="0"/>
              <a:t>Click to edit Master text styles</a:t>
            </a:r>
          </a:p>
        </p:txBody>
      </p:sp>
      <p:sp>
        <p:nvSpPr>
          <p:cNvPr id="14" name="Textplatzhalter 2"/>
          <p:cNvSpPr>
            <a:spLocks noGrp="1"/>
          </p:cNvSpPr>
          <p:nvPr>
            <p:ph type="body" idx="17"/>
          </p:nvPr>
        </p:nvSpPr>
        <p:spPr>
          <a:xfrm>
            <a:off x="6001082" y="675625"/>
            <a:ext cx="2758154" cy="270250"/>
          </a:xfrm>
        </p:spPr>
        <p:txBody>
          <a:bodyPr tIns="0" anchor="ctr"/>
          <a:lstStyle>
            <a:lvl1pPr marL="0" indent="0" algn="ctr">
              <a:buNone/>
              <a:defRPr sz="1351" b="0" cap="all" baseline="0">
                <a:solidFill>
                  <a:schemeClr val="accent2"/>
                </a:solidFill>
              </a:defRPr>
            </a:lvl1pPr>
            <a:lvl2pPr marL="343220" indent="0">
              <a:buNone/>
              <a:defRPr sz="1351">
                <a:solidFill>
                  <a:schemeClr val="tx1">
                    <a:tint val="75000"/>
                  </a:schemeClr>
                </a:solidFill>
              </a:defRPr>
            </a:lvl2pPr>
            <a:lvl3pPr marL="686440" indent="0">
              <a:buNone/>
              <a:defRPr sz="1201">
                <a:solidFill>
                  <a:schemeClr val="tx1">
                    <a:tint val="75000"/>
                  </a:schemeClr>
                </a:solidFill>
              </a:defRPr>
            </a:lvl3pPr>
            <a:lvl4pPr marL="1029660" indent="0">
              <a:buNone/>
              <a:defRPr sz="1051">
                <a:solidFill>
                  <a:schemeClr val="tx1">
                    <a:tint val="75000"/>
                  </a:schemeClr>
                </a:solidFill>
              </a:defRPr>
            </a:lvl4pPr>
            <a:lvl5pPr marL="1372880" indent="0">
              <a:buNone/>
              <a:defRPr sz="1051">
                <a:solidFill>
                  <a:schemeClr val="tx1">
                    <a:tint val="75000"/>
                  </a:schemeClr>
                </a:solidFill>
              </a:defRPr>
            </a:lvl5pPr>
            <a:lvl6pPr marL="1716100" indent="0">
              <a:buNone/>
              <a:defRPr sz="1051">
                <a:solidFill>
                  <a:schemeClr val="tx1">
                    <a:tint val="75000"/>
                  </a:schemeClr>
                </a:solidFill>
              </a:defRPr>
            </a:lvl6pPr>
            <a:lvl7pPr marL="2059320" indent="0">
              <a:buNone/>
              <a:defRPr sz="1051">
                <a:solidFill>
                  <a:schemeClr val="tx1">
                    <a:tint val="75000"/>
                  </a:schemeClr>
                </a:solidFill>
              </a:defRPr>
            </a:lvl7pPr>
            <a:lvl8pPr marL="2402540" indent="0">
              <a:buNone/>
              <a:defRPr sz="1051">
                <a:solidFill>
                  <a:schemeClr val="tx1">
                    <a:tint val="75000"/>
                  </a:schemeClr>
                </a:solidFill>
              </a:defRPr>
            </a:lvl8pPr>
            <a:lvl9pPr marL="2745760" indent="0">
              <a:buNone/>
              <a:defRPr sz="1051">
                <a:solidFill>
                  <a:schemeClr val="tx1">
                    <a:tint val="75000"/>
                  </a:schemeClr>
                </a:solidFill>
              </a:defRPr>
            </a:lvl9pPr>
          </a:lstStyle>
          <a:p>
            <a:pPr lvl="0"/>
            <a:r>
              <a:rPr lang="en-US" noProof="0"/>
              <a:t>Click to edit Master text styles</a:t>
            </a:r>
          </a:p>
        </p:txBody>
      </p:sp>
      <p:sp>
        <p:nvSpPr>
          <p:cNvPr id="18" name="Titel 1"/>
          <p:cNvSpPr>
            <a:spLocks noGrp="1"/>
          </p:cNvSpPr>
          <p:nvPr>
            <p:ph type="title"/>
          </p:nvPr>
        </p:nvSpPr>
        <p:spPr>
          <a:xfrm>
            <a:off x="383931" y="216200"/>
            <a:ext cx="7145936" cy="195691"/>
          </a:xfrm>
        </p:spPr>
        <p:txBody>
          <a:bodyPr/>
          <a:lstStyle>
            <a:lvl1pPr>
              <a:defRPr baseline="0"/>
            </a:lvl1pPr>
          </a:lstStyle>
          <a:p>
            <a:r>
              <a:rPr lang="en-US" noProof="0"/>
              <a:t>Click to edit Master title style</a:t>
            </a:r>
            <a:endParaRPr lang="en-US" noProof="0" dirty="0"/>
          </a:p>
        </p:txBody>
      </p:sp>
      <p:sp>
        <p:nvSpPr>
          <p:cNvPr id="19" name="Textplatzhalter 2"/>
          <p:cNvSpPr>
            <a:spLocks noGrp="1"/>
          </p:cNvSpPr>
          <p:nvPr>
            <p:ph type="body" idx="13"/>
          </p:nvPr>
        </p:nvSpPr>
        <p:spPr>
          <a:xfrm>
            <a:off x="383931" y="411891"/>
            <a:ext cx="7145936" cy="216200"/>
          </a:xfrm>
        </p:spPr>
        <p:txBody>
          <a:bodyPr tIns="0"/>
          <a:lstStyle>
            <a:lvl1pPr marL="0" indent="0">
              <a:buNone/>
              <a:defRPr sz="1501" cap="all" baseline="0">
                <a:solidFill>
                  <a:schemeClr val="accent4"/>
                </a:solidFill>
              </a:defRPr>
            </a:lvl1pPr>
            <a:lvl2pPr marL="343220" indent="0">
              <a:buNone/>
              <a:defRPr sz="1351">
                <a:solidFill>
                  <a:schemeClr val="tx1">
                    <a:tint val="75000"/>
                  </a:schemeClr>
                </a:solidFill>
              </a:defRPr>
            </a:lvl2pPr>
            <a:lvl3pPr marL="686440" indent="0">
              <a:buNone/>
              <a:defRPr sz="1201">
                <a:solidFill>
                  <a:schemeClr val="tx1">
                    <a:tint val="75000"/>
                  </a:schemeClr>
                </a:solidFill>
              </a:defRPr>
            </a:lvl3pPr>
            <a:lvl4pPr marL="1029660" indent="0">
              <a:buNone/>
              <a:defRPr sz="1051">
                <a:solidFill>
                  <a:schemeClr val="tx1">
                    <a:tint val="75000"/>
                  </a:schemeClr>
                </a:solidFill>
              </a:defRPr>
            </a:lvl4pPr>
            <a:lvl5pPr marL="1372880" indent="0">
              <a:buNone/>
              <a:defRPr sz="1051">
                <a:solidFill>
                  <a:schemeClr val="tx1">
                    <a:tint val="75000"/>
                  </a:schemeClr>
                </a:solidFill>
              </a:defRPr>
            </a:lvl5pPr>
            <a:lvl6pPr marL="1716100" indent="0">
              <a:buNone/>
              <a:defRPr sz="1051">
                <a:solidFill>
                  <a:schemeClr val="tx1">
                    <a:tint val="75000"/>
                  </a:schemeClr>
                </a:solidFill>
              </a:defRPr>
            </a:lvl6pPr>
            <a:lvl7pPr marL="2059320" indent="0">
              <a:buNone/>
              <a:defRPr sz="1051">
                <a:solidFill>
                  <a:schemeClr val="tx1">
                    <a:tint val="75000"/>
                  </a:schemeClr>
                </a:solidFill>
              </a:defRPr>
            </a:lvl7pPr>
            <a:lvl8pPr marL="2402540" indent="0">
              <a:buNone/>
              <a:defRPr sz="1051">
                <a:solidFill>
                  <a:schemeClr val="tx1">
                    <a:tint val="75000"/>
                  </a:schemeClr>
                </a:solidFill>
              </a:defRPr>
            </a:lvl8pPr>
            <a:lvl9pPr marL="2745760" indent="0">
              <a:buNone/>
              <a:defRPr sz="1051">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326197914"/>
      </p:ext>
    </p:extLst>
  </p:cSld>
  <p:clrMapOvr>
    <a:masterClrMapping/>
  </p:clrMapOvr>
  <p:transition>
    <p:zoom/>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ontent 3 columns with pictures">
    <p:spTree>
      <p:nvGrpSpPr>
        <p:cNvPr id="1" name=""/>
        <p:cNvGrpSpPr/>
        <p:nvPr/>
      </p:nvGrpSpPr>
      <p:grpSpPr>
        <a:xfrm>
          <a:off x="0" y="0"/>
          <a:ext cx="0" cy="0"/>
          <a:chOff x="0" y="0"/>
          <a:chExt cx="0" cy="0"/>
        </a:xfrm>
      </p:grpSpPr>
      <p:graphicFrame>
        <p:nvGraphicFramePr>
          <p:cNvPr id="13" name="Objekt 7" hidden="1"/>
          <p:cNvGraphicFramePr>
            <a:graphicFrameLocks noChangeAspect="1"/>
          </p:cNvGraphicFramePr>
          <p:nvPr userDrawn="1">
            <p:custDataLst>
              <p:tags r:id="rId1"/>
            </p:custDataLst>
          </p:nvPr>
        </p:nvGraphicFramePr>
        <p:xfrm>
          <a:off x="1617" y="1235"/>
          <a:ext cx="1587" cy="1191"/>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13" name="Objek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17" y="1235"/>
                        <a:ext cx="1587" cy="1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14" name="Gerade Verbindung 17"/>
          <p:cNvCxnSpPr/>
          <p:nvPr userDrawn="1"/>
        </p:nvCxnSpPr>
        <p:spPr>
          <a:xfrm>
            <a:off x="0" y="946232"/>
            <a:ext cx="9144000" cy="0"/>
          </a:xfrm>
          <a:prstGeom prst="line">
            <a:avLst/>
          </a:prstGeom>
          <a:ln w="9525" cap="sq">
            <a:solidFill>
              <a:schemeClr val="accent4">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8" name="Gerade Verbindung 32"/>
          <p:cNvCxnSpPr/>
          <p:nvPr userDrawn="1"/>
        </p:nvCxnSpPr>
        <p:spPr>
          <a:xfrm>
            <a:off x="1" y="946232"/>
            <a:ext cx="2735263" cy="0"/>
          </a:xfrm>
          <a:prstGeom prst="line">
            <a:avLst/>
          </a:prstGeom>
          <a:ln w="9525" cap="sq">
            <a:solidFill>
              <a:srgbClr val="C4CACE"/>
            </a:solidFill>
            <a:miter lim="800000"/>
          </a:ln>
        </p:spPr>
        <p:style>
          <a:lnRef idx="1">
            <a:schemeClr val="accent1"/>
          </a:lnRef>
          <a:fillRef idx="0">
            <a:schemeClr val="accent1"/>
          </a:fillRef>
          <a:effectRef idx="0">
            <a:schemeClr val="accent1"/>
          </a:effectRef>
          <a:fontRef idx="minor">
            <a:schemeClr val="tx1"/>
          </a:fontRef>
        </p:style>
      </p:cxnSp>
      <p:sp>
        <p:nvSpPr>
          <p:cNvPr id="15" name="Bildplatzhalter 8"/>
          <p:cNvSpPr>
            <a:spLocks noGrp="1"/>
          </p:cNvSpPr>
          <p:nvPr>
            <p:ph type="pic" sz="quarter" idx="18"/>
          </p:nvPr>
        </p:nvSpPr>
        <p:spPr>
          <a:xfrm>
            <a:off x="383930" y="3565030"/>
            <a:ext cx="2758154" cy="1351250"/>
          </a:xfrm>
        </p:spPr>
        <p:txBody>
          <a:bodyPr tIns="180000" bIns="180000" rtlCol="0">
            <a:noAutofit/>
          </a:bodyPr>
          <a:lstStyle>
            <a:lvl1pPr marL="0" indent="0">
              <a:buFontTx/>
              <a:buNone/>
              <a:defRPr sz="1051">
                <a:solidFill>
                  <a:schemeClr val="accent2"/>
                </a:solidFill>
              </a:defRPr>
            </a:lvl1pPr>
          </a:lstStyle>
          <a:p>
            <a:pPr lvl="0"/>
            <a:r>
              <a:rPr lang="en-US" noProof="0" dirty="0"/>
              <a:t>Bild durch Klicken auf Symbol hinzufügen</a:t>
            </a:r>
          </a:p>
        </p:txBody>
      </p:sp>
      <p:sp>
        <p:nvSpPr>
          <p:cNvPr id="16" name="Bildplatzhalter 8"/>
          <p:cNvSpPr>
            <a:spLocks noGrp="1"/>
          </p:cNvSpPr>
          <p:nvPr>
            <p:ph type="pic" sz="quarter" idx="19"/>
          </p:nvPr>
        </p:nvSpPr>
        <p:spPr>
          <a:xfrm>
            <a:off x="3192506" y="3565030"/>
            <a:ext cx="2758154" cy="1351250"/>
          </a:xfrm>
        </p:spPr>
        <p:txBody>
          <a:bodyPr tIns="180000" bIns="180000" rtlCol="0">
            <a:noAutofit/>
          </a:bodyPr>
          <a:lstStyle>
            <a:lvl1pPr marL="0" indent="0">
              <a:buFontTx/>
              <a:buNone/>
              <a:defRPr sz="1051">
                <a:solidFill>
                  <a:schemeClr val="accent2"/>
                </a:solidFill>
              </a:defRPr>
            </a:lvl1pPr>
          </a:lstStyle>
          <a:p>
            <a:pPr lvl="0"/>
            <a:r>
              <a:rPr lang="en-US" noProof="0" dirty="0"/>
              <a:t>Bild durch Klicken auf Symbol hinzufügen</a:t>
            </a:r>
          </a:p>
        </p:txBody>
      </p:sp>
      <p:sp>
        <p:nvSpPr>
          <p:cNvPr id="17" name="Bildplatzhalter 8"/>
          <p:cNvSpPr>
            <a:spLocks noGrp="1"/>
          </p:cNvSpPr>
          <p:nvPr>
            <p:ph type="pic" sz="quarter" idx="20"/>
          </p:nvPr>
        </p:nvSpPr>
        <p:spPr>
          <a:xfrm>
            <a:off x="6001082" y="3565030"/>
            <a:ext cx="2758154" cy="1351250"/>
          </a:xfrm>
        </p:spPr>
        <p:txBody>
          <a:bodyPr tIns="180000" bIns="180000" rtlCol="0">
            <a:noAutofit/>
          </a:bodyPr>
          <a:lstStyle>
            <a:lvl1pPr marL="0" indent="0">
              <a:buFontTx/>
              <a:buNone/>
              <a:defRPr sz="1051">
                <a:solidFill>
                  <a:schemeClr val="accent2"/>
                </a:solidFill>
              </a:defRPr>
            </a:lvl1pPr>
          </a:lstStyle>
          <a:p>
            <a:pPr lvl="0"/>
            <a:r>
              <a:rPr lang="en-US" noProof="0" dirty="0"/>
              <a:t>Bild durch Klicken auf Symbol hinzufügen</a:t>
            </a:r>
          </a:p>
        </p:txBody>
      </p:sp>
      <p:sp>
        <p:nvSpPr>
          <p:cNvPr id="34" name="Inhaltsplatzhalter 2"/>
          <p:cNvSpPr>
            <a:spLocks noGrp="1"/>
          </p:cNvSpPr>
          <p:nvPr>
            <p:ph sz="half" idx="1"/>
          </p:nvPr>
        </p:nvSpPr>
        <p:spPr>
          <a:xfrm>
            <a:off x="383930" y="979479"/>
            <a:ext cx="2758154" cy="2587821"/>
          </a:xfrm>
        </p:spPr>
        <p:txBody>
          <a:bodyPr bIns="72000"/>
          <a:lstStyle>
            <a:lvl1pPr>
              <a:defRPr sz="1501"/>
            </a:lvl1pPr>
            <a:lvl2pPr>
              <a:defRPr sz="1351"/>
            </a:lvl2pPr>
            <a:lvl3pPr>
              <a:defRPr sz="1201"/>
            </a:lvl3pPr>
            <a:lvl4pPr>
              <a:defRPr sz="826"/>
            </a:lvl4pPr>
            <a:lvl5pPr>
              <a:defRPr sz="1351"/>
            </a:lvl5pPr>
            <a:lvl6pPr>
              <a:defRPr sz="1351"/>
            </a:lvl6pPr>
            <a:lvl7pPr>
              <a:defRPr sz="1351"/>
            </a:lvl7pPr>
            <a:lvl8pPr>
              <a:defRPr sz="1351"/>
            </a:lvl8pPr>
            <a:lvl9pPr>
              <a:defRPr sz="1351"/>
            </a:lvl9pPr>
          </a:lstStyle>
          <a:p>
            <a:pPr lvl="0"/>
            <a:r>
              <a:rPr lang="en-US" noProof="0" dirty="0" err="1"/>
              <a:t>Textmasterformat</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p:txBody>
      </p:sp>
      <p:sp>
        <p:nvSpPr>
          <p:cNvPr id="35" name="Inhaltsplatzhalter 3"/>
          <p:cNvSpPr>
            <a:spLocks noGrp="1"/>
          </p:cNvSpPr>
          <p:nvPr>
            <p:ph sz="half" idx="2"/>
          </p:nvPr>
        </p:nvSpPr>
        <p:spPr>
          <a:xfrm>
            <a:off x="3192505" y="979479"/>
            <a:ext cx="2758154" cy="2587821"/>
          </a:xfrm>
        </p:spPr>
        <p:txBody>
          <a:bodyPr bIns="72000"/>
          <a:lstStyle>
            <a:lvl1pPr>
              <a:defRPr sz="1501"/>
            </a:lvl1pPr>
            <a:lvl2pPr>
              <a:defRPr sz="1351"/>
            </a:lvl2pPr>
            <a:lvl3pPr>
              <a:defRPr sz="1201"/>
            </a:lvl3pPr>
            <a:lvl4pPr>
              <a:defRPr sz="826"/>
            </a:lvl4pPr>
            <a:lvl5pPr>
              <a:defRPr sz="1351"/>
            </a:lvl5pPr>
            <a:lvl6pPr>
              <a:defRPr sz="1351"/>
            </a:lvl6pPr>
            <a:lvl7pPr>
              <a:defRPr sz="1351"/>
            </a:lvl7pPr>
            <a:lvl8pPr>
              <a:defRPr sz="1351"/>
            </a:lvl8pPr>
            <a:lvl9pPr>
              <a:defRPr sz="1351"/>
            </a:lvl9pPr>
          </a:lstStyle>
          <a:p>
            <a:pPr lvl="0"/>
            <a:r>
              <a:rPr lang="en-US" noProof="0" dirty="0" err="1"/>
              <a:t>Textmasterformat</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p:txBody>
      </p:sp>
      <p:sp>
        <p:nvSpPr>
          <p:cNvPr id="36" name="Textplatzhalter 2"/>
          <p:cNvSpPr>
            <a:spLocks noGrp="1"/>
          </p:cNvSpPr>
          <p:nvPr>
            <p:ph type="body" idx="14"/>
          </p:nvPr>
        </p:nvSpPr>
        <p:spPr>
          <a:xfrm>
            <a:off x="383930" y="675625"/>
            <a:ext cx="2758154" cy="270250"/>
          </a:xfrm>
        </p:spPr>
        <p:txBody>
          <a:bodyPr tIns="0" anchor="ctr"/>
          <a:lstStyle>
            <a:lvl1pPr marL="0" indent="0" algn="ctr">
              <a:buNone/>
              <a:defRPr sz="1351" b="0" cap="all" baseline="0">
                <a:solidFill>
                  <a:schemeClr val="accent2"/>
                </a:solidFill>
              </a:defRPr>
            </a:lvl1pPr>
            <a:lvl2pPr marL="343220" indent="0">
              <a:buNone/>
              <a:defRPr sz="1351">
                <a:solidFill>
                  <a:schemeClr val="tx1">
                    <a:tint val="75000"/>
                  </a:schemeClr>
                </a:solidFill>
              </a:defRPr>
            </a:lvl2pPr>
            <a:lvl3pPr marL="686440" indent="0">
              <a:buNone/>
              <a:defRPr sz="1201">
                <a:solidFill>
                  <a:schemeClr val="tx1">
                    <a:tint val="75000"/>
                  </a:schemeClr>
                </a:solidFill>
              </a:defRPr>
            </a:lvl3pPr>
            <a:lvl4pPr marL="1029660" indent="0">
              <a:buNone/>
              <a:defRPr sz="1051">
                <a:solidFill>
                  <a:schemeClr val="tx1">
                    <a:tint val="75000"/>
                  </a:schemeClr>
                </a:solidFill>
              </a:defRPr>
            </a:lvl4pPr>
            <a:lvl5pPr marL="1372880" indent="0">
              <a:buNone/>
              <a:defRPr sz="1051">
                <a:solidFill>
                  <a:schemeClr val="tx1">
                    <a:tint val="75000"/>
                  </a:schemeClr>
                </a:solidFill>
              </a:defRPr>
            </a:lvl5pPr>
            <a:lvl6pPr marL="1716100" indent="0">
              <a:buNone/>
              <a:defRPr sz="1051">
                <a:solidFill>
                  <a:schemeClr val="tx1">
                    <a:tint val="75000"/>
                  </a:schemeClr>
                </a:solidFill>
              </a:defRPr>
            </a:lvl6pPr>
            <a:lvl7pPr marL="2059320" indent="0">
              <a:buNone/>
              <a:defRPr sz="1051">
                <a:solidFill>
                  <a:schemeClr val="tx1">
                    <a:tint val="75000"/>
                  </a:schemeClr>
                </a:solidFill>
              </a:defRPr>
            </a:lvl7pPr>
            <a:lvl8pPr marL="2402540" indent="0">
              <a:buNone/>
              <a:defRPr sz="1051">
                <a:solidFill>
                  <a:schemeClr val="tx1">
                    <a:tint val="75000"/>
                  </a:schemeClr>
                </a:solidFill>
              </a:defRPr>
            </a:lvl8pPr>
            <a:lvl9pPr marL="2745760" indent="0">
              <a:buNone/>
              <a:defRPr sz="1051">
                <a:solidFill>
                  <a:schemeClr val="tx1">
                    <a:tint val="75000"/>
                  </a:schemeClr>
                </a:solidFill>
              </a:defRPr>
            </a:lvl9pPr>
          </a:lstStyle>
          <a:p>
            <a:pPr lvl="0"/>
            <a:r>
              <a:rPr lang="en-US" noProof="0"/>
              <a:t>Click to edit Master text styles</a:t>
            </a:r>
          </a:p>
        </p:txBody>
      </p:sp>
      <p:sp>
        <p:nvSpPr>
          <p:cNvPr id="37" name="Inhaltsplatzhalter 3"/>
          <p:cNvSpPr>
            <a:spLocks noGrp="1"/>
          </p:cNvSpPr>
          <p:nvPr>
            <p:ph sz="half" idx="15"/>
          </p:nvPr>
        </p:nvSpPr>
        <p:spPr>
          <a:xfrm>
            <a:off x="6001082" y="979479"/>
            <a:ext cx="2758154" cy="2587821"/>
          </a:xfrm>
        </p:spPr>
        <p:txBody>
          <a:bodyPr bIns="72000"/>
          <a:lstStyle>
            <a:lvl1pPr>
              <a:defRPr sz="1501"/>
            </a:lvl1pPr>
            <a:lvl2pPr>
              <a:defRPr sz="1351"/>
            </a:lvl2pPr>
            <a:lvl3pPr>
              <a:defRPr sz="1201"/>
            </a:lvl3pPr>
            <a:lvl4pPr>
              <a:defRPr sz="826"/>
            </a:lvl4pPr>
            <a:lvl5pPr>
              <a:defRPr sz="1351"/>
            </a:lvl5pPr>
            <a:lvl6pPr>
              <a:defRPr sz="1351"/>
            </a:lvl6pPr>
            <a:lvl7pPr>
              <a:defRPr sz="1351"/>
            </a:lvl7pPr>
            <a:lvl8pPr>
              <a:defRPr sz="1351"/>
            </a:lvl8pPr>
            <a:lvl9pPr>
              <a:defRPr sz="1351"/>
            </a:lvl9pPr>
          </a:lstStyle>
          <a:p>
            <a:pPr lvl="0"/>
            <a:r>
              <a:rPr lang="en-US" noProof="0" dirty="0" err="1"/>
              <a:t>Textmasterformat</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p:txBody>
      </p:sp>
      <p:sp>
        <p:nvSpPr>
          <p:cNvPr id="38" name="Textplatzhalter 2"/>
          <p:cNvSpPr>
            <a:spLocks noGrp="1"/>
          </p:cNvSpPr>
          <p:nvPr>
            <p:ph type="body" idx="16"/>
          </p:nvPr>
        </p:nvSpPr>
        <p:spPr>
          <a:xfrm>
            <a:off x="3192505" y="675625"/>
            <a:ext cx="2758154" cy="270250"/>
          </a:xfrm>
        </p:spPr>
        <p:txBody>
          <a:bodyPr tIns="0" anchor="ctr"/>
          <a:lstStyle>
            <a:lvl1pPr marL="0" indent="0" algn="ctr">
              <a:buNone/>
              <a:defRPr sz="1351" b="0" cap="all" baseline="0">
                <a:solidFill>
                  <a:schemeClr val="accent2"/>
                </a:solidFill>
              </a:defRPr>
            </a:lvl1pPr>
            <a:lvl2pPr marL="343220" indent="0">
              <a:buNone/>
              <a:defRPr sz="1351">
                <a:solidFill>
                  <a:schemeClr val="tx1">
                    <a:tint val="75000"/>
                  </a:schemeClr>
                </a:solidFill>
              </a:defRPr>
            </a:lvl2pPr>
            <a:lvl3pPr marL="686440" indent="0">
              <a:buNone/>
              <a:defRPr sz="1201">
                <a:solidFill>
                  <a:schemeClr val="tx1">
                    <a:tint val="75000"/>
                  </a:schemeClr>
                </a:solidFill>
              </a:defRPr>
            </a:lvl3pPr>
            <a:lvl4pPr marL="1029660" indent="0">
              <a:buNone/>
              <a:defRPr sz="1051">
                <a:solidFill>
                  <a:schemeClr val="tx1">
                    <a:tint val="75000"/>
                  </a:schemeClr>
                </a:solidFill>
              </a:defRPr>
            </a:lvl4pPr>
            <a:lvl5pPr marL="1372880" indent="0">
              <a:buNone/>
              <a:defRPr sz="1051">
                <a:solidFill>
                  <a:schemeClr val="tx1">
                    <a:tint val="75000"/>
                  </a:schemeClr>
                </a:solidFill>
              </a:defRPr>
            </a:lvl5pPr>
            <a:lvl6pPr marL="1716100" indent="0">
              <a:buNone/>
              <a:defRPr sz="1051">
                <a:solidFill>
                  <a:schemeClr val="tx1">
                    <a:tint val="75000"/>
                  </a:schemeClr>
                </a:solidFill>
              </a:defRPr>
            </a:lvl6pPr>
            <a:lvl7pPr marL="2059320" indent="0">
              <a:buNone/>
              <a:defRPr sz="1051">
                <a:solidFill>
                  <a:schemeClr val="tx1">
                    <a:tint val="75000"/>
                  </a:schemeClr>
                </a:solidFill>
              </a:defRPr>
            </a:lvl7pPr>
            <a:lvl8pPr marL="2402540" indent="0">
              <a:buNone/>
              <a:defRPr sz="1051">
                <a:solidFill>
                  <a:schemeClr val="tx1">
                    <a:tint val="75000"/>
                  </a:schemeClr>
                </a:solidFill>
              </a:defRPr>
            </a:lvl8pPr>
            <a:lvl9pPr marL="2745760" indent="0">
              <a:buNone/>
              <a:defRPr sz="1051">
                <a:solidFill>
                  <a:schemeClr val="tx1">
                    <a:tint val="75000"/>
                  </a:schemeClr>
                </a:solidFill>
              </a:defRPr>
            </a:lvl9pPr>
          </a:lstStyle>
          <a:p>
            <a:pPr lvl="0"/>
            <a:r>
              <a:rPr lang="en-US" noProof="0"/>
              <a:t>Click to edit Master text styles</a:t>
            </a:r>
          </a:p>
        </p:txBody>
      </p:sp>
      <p:sp>
        <p:nvSpPr>
          <p:cNvPr id="39" name="Textplatzhalter 2"/>
          <p:cNvSpPr>
            <a:spLocks noGrp="1"/>
          </p:cNvSpPr>
          <p:nvPr>
            <p:ph type="body" idx="17"/>
          </p:nvPr>
        </p:nvSpPr>
        <p:spPr>
          <a:xfrm>
            <a:off x="6001082" y="675625"/>
            <a:ext cx="2758154" cy="270250"/>
          </a:xfrm>
        </p:spPr>
        <p:txBody>
          <a:bodyPr tIns="0" anchor="ctr"/>
          <a:lstStyle>
            <a:lvl1pPr marL="0" indent="0" algn="ctr">
              <a:buNone/>
              <a:defRPr sz="1351" b="0" cap="all" baseline="0">
                <a:solidFill>
                  <a:schemeClr val="accent2"/>
                </a:solidFill>
              </a:defRPr>
            </a:lvl1pPr>
            <a:lvl2pPr marL="343220" indent="0">
              <a:buNone/>
              <a:defRPr sz="1351">
                <a:solidFill>
                  <a:schemeClr val="tx1">
                    <a:tint val="75000"/>
                  </a:schemeClr>
                </a:solidFill>
              </a:defRPr>
            </a:lvl2pPr>
            <a:lvl3pPr marL="686440" indent="0">
              <a:buNone/>
              <a:defRPr sz="1201">
                <a:solidFill>
                  <a:schemeClr val="tx1">
                    <a:tint val="75000"/>
                  </a:schemeClr>
                </a:solidFill>
              </a:defRPr>
            </a:lvl3pPr>
            <a:lvl4pPr marL="1029660" indent="0">
              <a:buNone/>
              <a:defRPr sz="1051">
                <a:solidFill>
                  <a:schemeClr val="tx1">
                    <a:tint val="75000"/>
                  </a:schemeClr>
                </a:solidFill>
              </a:defRPr>
            </a:lvl4pPr>
            <a:lvl5pPr marL="1372880" indent="0">
              <a:buNone/>
              <a:defRPr sz="1051">
                <a:solidFill>
                  <a:schemeClr val="tx1">
                    <a:tint val="75000"/>
                  </a:schemeClr>
                </a:solidFill>
              </a:defRPr>
            </a:lvl5pPr>
            <a:lvl6pPr marL="1716100" indent="0">
              <a:buNone/>
              <a:defRPr sz="1051">
                <a:solidFill>
                  <a:schemeClr val="tx1">
                    <a:tint val="75000"/>
                  </a:schemeClr>
                </a:solidFill>
              </a:defRPr>
            </a:lvl6pPr>
            <a:lvl7pPr marL="2059320" indent="0">
              <a:buNone/>
              <a:defRPr sz="1051">
                <a:solidFill>
                  <a:schemeClr val="tx1">
                    <a:tint val="75000"/>
                  </a:schemeClr>
                </a:solidFill>
              </a:defRPr>
            </a:lvl7pPr>
            <a:lvl8pPr marL="2402540" indent="0">
              <a:buNone/>
              <a:defRPr sz="1051">
                <a:solidFill>
                  <a:schemeClr val="tx1">
                    <a:tint val="75000"/>
                  </a:schemeClr>
                </a:solidFill>
              </a:defRPr>
            </a:lvl8pPr>
            <a:lvl9pPr marL="2745760" indent="0">
              <a:buNone/>
              <a:defRPr sz="1051">
                <a:solidFill>
                  <a:schemeClr val="tx1">
                    <a:tint val="75000"/>
                  </a:schemeClr>
                </a:solidFill>
              </a:defRPr>
            </a:lvl9pPr>
          </a:lstStyle>
          <a:p>
            <a:pPr lvl="0"/>
            <a:r>
              <a:rPr lang="en-US" noProof="0"/>
              <a:t>Click to edit Master text styles</a:t>
            </a:r>
          </a:p>
        </p:txBody>
      </p:sp>
      <p:sp>
        <p:nvSpPr>
          <p:cNvPr id="19" name="Titel 1"/>
          <p:cNvSpPr>
            <a:spLocks noGrp="1"/>
          </p:cNvSpPr>
          <p:nvPr>
            <p:ph type="title"/>
          </p:nvPr>
        </p:nvSpPr>
        <p:spPr>
          <a:xfrm>
            <a:off x="383931" y="216200"/>
            <a:ext cx="7145936" cy="195691"/>
          </a:xfrm>
        </p:spPr>
        <p:txBody>
          <a:bodyPr/>
          <a:lstStyle>
            <a:lvl1pPr>
              <a:defRPr baseline="0"/>
            </a:lvl1pPr>
          </a:lstStyle>
          <a:p>
            <a:r>
              <a:rPr lang="en-US" noProof="0"/>
              <a:t>Click to edit Master title style</a:t>
            </a:r>
            <a:endParaRPr lang="en-US" noProof="0" dirty="0"/>
          </a:p>
        </p:txBody>
      </p:sp>
      <p:sp>
        <p:nvSpPr>
          <p:cNvPr id="20" name="Textplatzhalter 2"/>
          <p:cNvSpPr>
            <a:spLocks noGrp="1"/>
          </p:cNvSpPr>
          <p:nvPr>
            <p:ph type="body" idx="13"/>
          </p:nvPr>
        </p:nvSpPr>
        <p:spPr>
          <a:xfrm>
            <a:off x="383931" y="411891"/>
            <a:ext cx="7145936" cy="216200"/>
          </a:xfrm>
        </p:spPr>
        <p:txBody>
          <a:bodyPr tIns="0"/>
          <a:lstStyle>
            <a:lvl1pPr marL="0" indent="0">
              <a:buNone/>
              <a:defRPr sz="1501" cap="all" baseline="0">
                <a:solidFill>
                  <a:schemeClr val="accent4"/>
                </a:solidFill>
              </a:defRPr>
            </a:lvl1pPr>
            <a:lvl2pPr marL="343220" indent="0">
              <a:buNone/>
              <a:defRPr sz="1351">
                <a:solidFill>
                  <a:schemeClr val="tx1">
                    <a:tint val="75000"/>
                  </a:schemeClr>
                </a:solidFill>
              </a:defRPr>
            </a:lvl2pPr>
            <a:lvl3pPr marL="686440" indent="0">
              <a:buNone/>
              <a:defRPr sz="1201">
                <a:solidFill>
                  <a:schemeClr val="tx1">
                    <a:tint val="75000"/>
                  </a:schemeClr>
                </a:solidFill>
              </a:defRPr>
            </a:lvl3pPr>
            <a:lvl4pPr marL="1029660" indent="0">
              <a:buNone/>
              <a:defRPr sz="1051">
                <a:solidFill>
                  <a:schemeClr val="tx1">
                    <a:tint val="75000"/>
                  </a:schemeClr>
                </a:solidFill>
              </a:defRPr>
            </a:lvl4pPr>
            <a:lvl5pPr marL="1372880" indent="0">
              <a:buNone/>
              <a:defRPr sz="1051">
                <a:solidFill>
                  <a:schemeClr val="tx1">
                    <a:tint val="75000"/>
                  </a:schemeClr>
                </a:solidFill>
              </a:defRPr>
            </a:lvl5pPr>
            <a:lvl6pPr marL="1716100" indent="0">
              <a:buNone/>
              <a:defRPr sz="1051">
                <a:solidFill>
                  <a:schemeClr val="tx1">
                    <a:tint val="75000"/>
                  </a:schemeClr>
                </a:solidFill>
              </a:defRPr>
            </a:lvl6pPr>
            <a:lvl7pPr marL="2059320" indent="0">
              <a:buNone/>
              <a:defRPr sz="1051">
                <a:solidFill>
                  <a:schemeClr val="tx1">
                    <a:tint val="75000"/>
                  </a:schemeClr>
                </a:solidFill>
              </a:defRPr>
            </a:lvl7pPr>
            <a:lvl8pPr marL="2402540" indent="0">
              <a:buNone/>
              <a:defRPr sz="1051">
                <a:solidFill>
                  <a:schemeClr val="tx1">
                    <a:tint val="75000"/>
                  </a:schemeClr>
                </a:solidFill>
              </a:defRPr>
            </a:lvl8pPr>
            <a:lvl9pPr marL="2745760" indent="0">
              <a:buNone/>
              <a:defRPr sz="1051">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3538222983"/>
      </p:ext>
    </p:extLst>
  </p:cSld>
  <p:clrMapOvr>
    <a:masterClrMapping/>
  </p:clrMapOvr>
  <p:transition>
    <p:zoom/>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 pictures 2 contents">
    <p:spTree>
      <p:nvGrpSpPr>
        <p:cNvPr id="1" name=""/>
        <p:cNvGrpSpPr/>
        <p:nvPr/>
      </p:nvGrpSpPr>
      <p:grpSpPr>
        <a:xfrm>
          <a:off x="0" y="0"/>
          <a:ext cx="0" cy="0"/>
          <a:chOff x="0" y="0"/>
          <a:chExt cx="0" cy="0"/>
        </a:xfrm>
      </p:grpSpPr>
      <p:sp>
        <p:nvSpPr>
          <p:cNvPr id="3" name="Inhaltsplatzhalter 2"/>
          <p:cNvSpPr>
            <a:spLocks noGrp="1"/>
          </p:cNvSpPr>
          <p:nvPr>
            <p:ph idx="1"/>
          </p:nvPr>
        </p:nvSpPr>
        <p:spPr>
          <a:xfrm>
            <a:off x="3168000" y="709119"/>
            <a:ext cx="5580000" cy="2121274"/>
          </a:xfrm>
        </p:spPr>
        <p:txBody>
          <a:bodyPr bIns="72000"/>
          <a:lstStyle/>
          <a:p>
            <a:pPr lvl="0"/>
            <a:r>
              <a:rPr lang="en-US" noProof="0" dirty="0" err="1"/>
              <a:t>Textmasterformat</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p:txBody>
      </p:sp>
      <p:sp>
        <p:nvSpPr>
          <p:cNvPr id="9" name="Bildplatzhalter 8"/>
          <p:cNvSpPr>
            <a:spLocks noGrp="1"/>
          </p:cNvSpPr>
          <p:nvPr>
            <p:ph type="pic" sz="quarter" idx="14"/>
          </p:nvPr>
        </p:nvSpPr>
        <p:spPr>
          <a:xfrm>
            <a:off x="383937" y="709078"/>
            <a:ext cx="2558769" cy="2080925"/>
          </a:xfrm>
        </p:spPr>
        <p:txBody>
          <a:bodyPr tIns="180000" bIns="180000" rtlCol="0">
            <a:noAutofit/>
          </a:bodyPr>
          <a:lstStyle>
            <a:lvl1pPr marL="0" indent="0">
              <a:buFontTx/>
              <a:buNone/>
              <a:defRPr sz="1201">
                <a:solidFill>
                  <a:schemeClr val="accent2"/>
                </a:solidFill>
              </a:defRPr>
            </a:lvl1pPr>
          </a:lstStyle>
          <a:p>
            <a:pPr lvl="0"/>
            <a:r>
              <a:rPr lang="en-US" noProof="0" dirty="0"/>
              <a:t>Bild durch Klicken auf Symbol hinzufügen</a:t>
            </a:r>
          </a:p>
        </p:txBody>
      </p:sp>
      <p:sp>
        <p:nvSpPr>
          <p:cNvPr id="10" name="Bildplatzhalter 8"/>
          <p:cNvSpPr>
            <a:spLocks noGrp="1"/>
          </p:cNvSpPr>
          <p:nvPr>
            <p:ph type="pic" sz="quarter" idx="15"/>
          </p:nvPr>
        </p:nvSpPr>
        <p:spPr>
          <a:xfrm>
            <a:off x="384933" y="2871895"/>
            <a:ext cx="2558769" cy="2080925"/>
          </a:xfrm>
        </p:spPr>
        <p:txBody>
          <a:bodyPr tIns="180000" bIns="180000" rtlCol="0">
            <a:noAutofit/>
          </a:bodyPr>
          <a:lstStyle>
            <a:lvl1pPr marL="0" indent="0">
              <a:buFontTx/>
              <a:buNone/>
              <a:defRPr sz="1201">
                <a:solidFill>
                  <a:schemeClr val="accent2"/>
                </a:solidFill>
              </a:defRPr>
            </a:lvl1pPr>
          </a:lstStyle>
          <a:p>
            <a:pPr lvl="0"/>
            <a:r>
              <a:rPr lang="en-US" noProof="0" dirty="0"/>
              <a:t>Bild durch Klicken auf Symbol hinzufügen</a:t>
            </a:r>
          </a:p>
        </p:txBody>
      </p:sp>
      <p:sp>
        <p:nvSpPr>
          <p:cNvPr id="11" name="Inhaltsplatzhalter 2"/>
          <p:cNvSpPr>
            <a:spLocks noGrp="1"/>
          </p:cNvSpPr>
          <p:nvPr>
            <p:ph idx="16"/>
          </p:nvPr>
        </p:nvSpPr>
        <p:spPr>
          <a:xfrm>
            <a:off x="3168000" y="2830394"/>
            <a:ext cx="5580000" cy="2122466"/>
          </a:xfrm>
        </p:spPr>
        <p:txBody>
          <a:bodyPr bIns="72000"/>
          <a:lstStyle/>
          <a:p>
            <a:pPr lvl="0"/>
            <a:r>
              <a:rPr lang="en-US" noProof="0" dirty="0" err="1"/>
              <a:t>Textmasterformat</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p:txBody>
      </p:sp>
      <p:sp>
        <p:nvSpPr>
          <p:cNvPr id="12" name="Titel 1"/>
          <p:cNvSpPr>
            <a:spLocks noGrp="1"/>
          </p:cNvSpPr>
          <p:nvPr>
            <p:ph type="title"/>
          </p:nvPr>
        </p:nvSpPr>
        <p:spPr>
          <a:xfrm>
            <a:off x="383931" y="216200"/>
            <a:ext cx="7145936" cy="195691"/>
          </a:xfrm>
        </p:spPr>
        <p:txBody>
          <a:bodyPr/>
          <a:lstStyle>
            <a:lvl1pPr>
              <a:defRPr baseline="0"/>
            </a:lvl1pPr>
          </a:lstStyle>
          <a:p>
            <a:r>
              <a:rPr lang="en-US" noProof="0"/>
              <a:t>Click to edit Master title style</a:t>
            </a:r>
            <a:endParaRPr lang="en-US" noProof="0" dirty="0"/>
          </a:p>
        </p:txBody>
      </p:sp>
      <p:sp>
        <p:nvSpPr>
          <p:cNvPr id="13" name="Textplatzhalter 2"/>
          <p:cNvSpPr>
            <a:spLocks noGrp="1"/>
          </p:cNvSpPr>
          <p:nvPr>
            <p:ph type="body" idx="13"/>
          </p:nvPr>
        </p:nvSpPr>
        <p:spPr>
          <a:xfrm>
            <a:off x="383931" y="411891"/>
            <a:ext cx="7145936" cy="216200"/>
          </a:xfrm>
        </p:spPr>
        <p:txBody>
          <a:bodyPr tIns="0"/>
          <a:lstStyle>
            <a:lvl1pPr marL="0" indent="0">
              <a:buNone/>
              <a:defRPr sz="1501" cap="all" baseline="0">
                <a:solidFill>
                  <a:schemeClr val="accent4"/>
                </a:solidFill>
              </a:defRPr>
            </a:lvl1pPr>
            <a:lvl2pPr marL="343220" indent="0">
              <a:buNone/>
              <a:defRPr sz="1351">
                <a:solidFill>
                  <a:schemeClr val="tx1">
                    <a:tint val="75000"/>
                  </a:schemeClr>
                </a:solidFill>
              </a:defRPr>
            </a:lvl2pPr>
            <a:lvl3pPr marL="686440" indent="0">
              <a:buNone/>
              <a:defRPr sz="1201">
                <a:solidFill>
                  <a:schemeClr val="tx1">
                    <a:tint val="75000"/>
                  </a:schemeClr>
                </a:solidFill>
              </a:defRPr>
            </a:lvl3pPr>
            <a:lvl4pPr marL="1029660" indent="0">
              <a:buNone/>
              <a:defRPr sz="1051">
                <a:solidFill>
                  <a:schemeClr val="tx1">
                    <a:tint val="75000"/>
                  </a:schemeClr>
                </a:solidFill>
              </a:defRPr>
            </a:lvl4pPr>
            <a:lvl5pPr marL="1372880" indent="0">
              <a:buNone/>
              <a:defRPr sz="1051">
                <a:solidFill>
                  <a:schemeClr val="tx1">
                    <a:tint val="75000"/>
                  </a:schemeClr>
                </a:solidFill>
              </a:defRPr>
            </a:lvl5pPr>
            <a:lvl6pPr marL="1716100" indent="0">
              <a:buNone/>
              <a:defRPr sz="1051">
                <a:solidFill>
                  <a:schemeClr val="tx1">
                    <a:tint val="75000"/>
                  </a:schemeClr>
                </a:solidFill>
              </a:defRPr>
            </a:lvl6pPr>
            <a:lvl7pPr marL="2059320" indent="0">
              <a:buNone/>
              <a:defRPr sz="1051">
                <a:solidFill>
                  <a:schemeClr val="tx1">
                    <a:tint val="75000"/>
                  </a:schemeClr>
                </a:solidFill>
              </a:defRPr>
            </a:lvl7pPr>
            <a:lvl8pPr marL="2402540" indent="0">
              <a:buNone/>
              <a:defRPr sz="1051">
                <a:solidFill>
                  <a:schemeClr val="tx1">
                    <a:tint val="75000"/>
                  </a:schemeClr>
                </a:solidFill>
              </a:defRPr>
            </a:lvl8pPr>
            <a:lvl9pPr marL="2745760" indent="0">
              <a:buNone/>
              <a:defRPr sz="1051">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814668070"/>
      </p:ext>
    </p:extLst>
  </p:cSld>
  <p:clrMapOvr>
    <a:masterClrMapping/>
  </p:clrMapOvr>
  <p:transition>
    <p:zoom/>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4 contents matrix">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379997" y="709078"/>
            <a:ext cx="4086346" cy="2121275"/>
          </a:xfrm>
        </p:spPr>
        <p:txBody>
          <a:bodyPr bIns="72000"/>
          <a:lstStyle>
            <a:lvl1pPr>
              <a:defRPr sz="1501"/>
            </a:lvl1pPr>
            <a:lvl2pPr>
              <a:defRPr sz="1351"/>
            </a:lvl2pPr>
            <a:lvl3pPr>
              <a:defRPr sz="1201"/>
            </a:lvl3pPr>
            <a:lvl4pPr>
              <a:defRPr sz="826"/>
            </a:lvl4pPr>
            <a:lvl5pPr>
              <a:defRPr sz="1351"/>
            </a:lvl5pPr>
            <a:lvl6pPr>
              <a:defRPr sz="1351"/>
            </a:lvl6pPr>
            <a:lvl7pPr>
              <a:defRPr sz="1351"/>
            </a:lvl7pPr>
            <a:lvl8pPr>
              <a:defRPr sz="1351"/>
            </a:lvl8pPr>
            <a:lvl9pPr>
              <a:defRPr sz="1351"/>
            </a:lvl9pPr>
          </a:lstStyle>
          <a:p>
            <a:pPr lvl="0"/>
            <a:r>
              <a:rPr lang="en-US" noProof="0" dirty="0" err="1"/>
              <a:t>Textmasterformat</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p:txBody>
      </p:sp>
      <p:sp>
        <p:nvSpPr>
          <p:cNvPr id="4" name="Inhaltsplatzhalter 3"/>
          <p:cNvSpPr>
            <a:spLocks noGrp="1"/>
          </p:cNvSpPr>
          <p:nvPr>
            <p:ph sz="half" idx="2"/>
          </p:nvPr>
        </p:nvSpPr>
        <p:spPr>
          <a:xfrm>
            <a:off x="379997" y="2830394"/>
            <a:ext cx="4086346" cy="2122466"/>
          </a:xfrm>
        </p:spPr>
        <p:txBody>
          <a:bodyPr bIns="72000"/>
          <a:lstStyle>
            <a:lvl1pPr>
              <a:defRPr sz="1501"/>
            </a:lvl1pPr>
            <a:lvl2pPr>
              <a:defRPr sz="1351"/>
            </a:lvl2pPr>
            <a:lvl3pPr>
              <a:defRPr sz="1201"/>
            </a:lvl3pPr>
            <a:lvl4pPr>
              <a:defRPr sz="826"/>
            </a:lvl4pPr>
            <a:lvl5pPr>
              <a:defRPr sz="1351"/>
            </a:lvl5pPr>
            <a:lvl6pPr>
              <a:defRPr sz="1351"/>
            </a:lvl6pPr>
            <a:lvl7pPr>
              <a:defRPr sz="1351"/>
            </a:lvl7pPr>
            <a:lvl8pPr>
              <a:defRPr sz="1351"/>
            </a:lvl8pPr>
            <a:lvl9pPr>
              <a:defRPr sz="1351"/>
            </a:lvl9pPr>
          </a:lstStyle>
          <a:p>
            <a:pPr lvl="0"/>
            <a:r>
              <a:rPr lang="en-US" noProof="0" dirty="0" err="1"/>
              <a:t>Textmasterformat</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p:txBody>
      </p:sp>
      <p:sp>
        <p:nvSpPr>
          <p:cNvPr id="12" name="Inhaltsplatzhalter 3"/>
          <p:cNvSpPr>
            <a:spLocks noGrp="1"/>
          </p:cNvSpPr>
          <p:nvPr>
            <p:ph sz="half" idx="15"/>
          </p:nvPr>
        </p:nvSpPr>
        <p:spPr>
          <a:xfrm>
            <a:off x="4672158" y="709078"/>
            <a:ext cx="4087385" cy="2121275"/>
          </a:xfrm>
        </p:spPr>
        <p:txBody>
          <a:bodyPr bIns="72000"/>
          <a:lstStyle>
            <a:lvl1pPr>
              <a:defRPr sz="1501"/>
            </a:lvl1pPr>
            <a:lvl2pPr>
              <a:defRPr sz="1351"/>
            </a:lvl2pPr>
            <a:lvl3pPr>
              <a:defRPr sz="1201"/>
            </a:lvl3pPr>
            <a:lvl4pPr>
              <a:defRPr sz="826"/>
            </a:lvl4pPr>
            <a:lvl5pPr>
              <a:defRPr sz="1351"/>
            </a:lvl5pPr>
            <a:lvl6pPr>
              <a:defRPr sz="1351"/>
            </a:lvl6pPr>
            <a:lvl7pPr>
              <a:defRPr sz="1351"/>
            </a:lvl7pPr>
            <a:lvl8pPr>
              <a:defRPr sz="1351"/>
            </a:lvl8pPr>
            <a:lvl9pPr>
              <a:defRPr sz="1351"/>
            </a:lvl9pPr>
          </a:lstStyle>
          <a:p>
            <a:pPr lvl="0"/>
            <a:r>
              <a:rPr lang="en-US" noProof="0" dirty="0" err="1"/>
              <a:t>Textmasterformat</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p:txBody>
      </p:sp>
      <p:sp>
        <p:nvSpPr>
          <p:cNvPr id="15" name="Inhaltsplatzhalter 3"/>
          <p:cNvSpPr>
            <a:spLocks noGrp="1"/>
          </p:cNvSpPr>
          <p:nvPr>
            <p:ph sz="half" idx="18"/>
          </p:nvPr>
        </p:nvSpPr>
        <p:spPr>
          <a:xfrm>
            <a:off x="4672158" y="2830394"/>
            <a:ext cx="4087385" cy="2122466"/>
          </a:xfrm>
        </p:spPr>
        <p:txBody>
          <a:bodyPr bIns="72000"/>
          <a:lstStyle>
            <a:lvl1pPr>
              <a:defRPr sz="1501"/>
            </a:lvl1pPr>
            <a:lvl2pPr>
              <a:defRPr sz="1351"/>
            </a:lvl2pPr>
            <a:lvl3pPr>
              <a:defRPr sz="1201"/>
            </a:lvl3pPr>
            <a:lvl4pPr>
              <a:defRPr sz="826"/>
            </a:lvl4pPr>
            <a:lvl5pPr>
              <a:defRPr sz="1351"/>
            </a:lvl5pPr>
            <a:lvl6pPr>
              <a:defRPr sz="1351"/>
            </a:lvl6pPr>
            <a:lvl7pPr>
              <a:defRPr sz="1351"/>
            </a:lvl7pPr>
            <a:lvl8pPr>
              <a:defRPr sz="1351"/>
            </a:lvl8pPr>
            <a:lvl9pPr>
              <a:defRPr sz="1351"/>
            </a:lvl9pPr>
          </a:lstStyle>
          <a:p>
            <a:pPr lvl="0"/>
            <a:r>
              <a:rPr lang="en-US" noProof="0" dirty="0" err="1"/>
              <a:t>Textmasterformat</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p:txBody>
      </p:sp>
      <p:sp>
        <p:nvSpPr>
          <p:cNvPr id="11" name="Titel 1"/>
          <p:cNvSpPr>
            <a:spLocks noGrp="1"/>
          </p:cNvSpPr>
          <p:nvPr>
            <p:ph type="title"/>
          </p:nvPr>
        </p:nvSpPr>
        <p:spPr>
          <a:xfrm>
            <a:off x="383931" y="216200"/>
            <a:ext cx="7145936" cy="195691"/>
          </a:xfrm>
        </p:spPr>
        <p:txBody>
          <a:bodyPr/>
          <a:lstStyle>
            <a:lvl1pPr>
              <a:defRPr baseline="0"/>
            </a:lvl1pPr>
          </a:lstStyle>
          <a:p>
            <a:r>
              <a:rPr lang="en-US" noProof="0"/>
              <a:t>Click to edit Master title style</a:t>
            </a:r>
            <a:endParaRPr lang="en-US" noProof="0" dirty="0"/>
          </a:p>
        </p:txBody>
      </p:sp>
      <p:sp>
        <p:nvSpPr>
          <p:cNvPr id="13" name="Textplatzhalter 2"/>
          <p:cNvSpPr>
            <a:spLocks noGrp="1"/>
          </p:cNvSpPr>
          <p:nvPr>
            <p:ph type="body" idx="13"/>
          </p:nvPr>
        </p:nvSpPr>
        <p:spPr>
          <a:xfrm>
            <a:off x="383931" y="411891"/>
            <a:ext cx="7145936" cy="216200"/>
          </a:xfrm>
        </p:spPr>
        <p:txBody>
          <a:bodyPr tIns="0"/>
          <a:lstStyle>
            <a:lvl1pPr marL="0" indent="0">
              <a:buNone/>
              <a:defRPr sz="1501" cap="all" baseline="0">
                <a:solidFill>
                  <a:schemeClr val="accent4"/>
                </a:solidFill>
              </a:defRPr>
            </a:lvl1pPr>
            <a:lvl2pPr marL="343220" indent="0">
              <a:buNone/>
              <a:defRPr sz="1351">
                <a:solidFill>
                  <a:schemeClr val="tx1">
                    <a:tint val="75000"/>
                  </a:schemeClr>
                </a:solidFill>
              </a:defRPr>
            </a:lvl2pPr>
            <a:lvl3pPr marL="686440" indent="0">
              <a:buNone/>
              <a:defRPr sz="1201">
                <a:solidFill>
                  <a:schemeClr val="tx1">
                    <a:tint val="75000"/>
                  </a:schemeClr>
                </a:solidFill>
              </a:defRPr>
            </a:lvl3pPr>
            <a:lvl4pPr marL="1029660" indent="0">
              <a:buNone/>
              <a:defRPr sz="1051">
                <a:solidFill>
                  <a:schemeClr val="tx1">
                    <a:tint val="75000"/>
                  </a:schemeClr>
                </a:solidFill>
              </a:defRPr>
            </a:lvl4pPr>
            <a:lvl5pPr marL="1372880" indent="0">
              <a:buNone/>
              <a:defRPr sz="1051">
                <a:solidFill>
                  <a:schemeClr val="tx1">
                    <a:tint val="75000"/>
                  </a:schemeClr>
                </a:solidFill>
              </a:defRPr>
            </a:lvl5pPr>
            <a:lvl6pPr marL="1716100" indent="0">
              <a:buNone/>
              <a:defRPr sz="1051">
                <a:solidFill>
                  <a:schemeClr val="tx1">
                    <a:tint val="75000"/>
                  </a:schemeClr>
                </a:solidFill>
              </a:defRPr>
            </a:lvl6pPr>
            <a:lvl7pPr marL="2059320" indent="0">
              <a:buNone/>
              <a:defRPr sz="1051">
                <a:solidFill>
                  <a:schemeClr val="tx1">
                    <a:tint val="75000"/>
                  </a:schemeClr>
                </a:solidFill>
              </a:defRPr>
            </a:lvl7pPr>
            <a:lvl8pPr marL="2402540" indent="0">
              <a:buNone/>
              <a:defRPr sz="1051">
                <a:solidFill>
                  <a:schemeClr val="tx1">
                    <a:tint val="75000"/>
                  </a:schemeClr>
                </a:solidFill>
              </a:defRPr>
            </a:lvl8pPr>
            <a:lvl9pPr marL="2745760" indent="0">
              <a:buNone/>
              <a:defRPr sz="1051">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891652003"/>
      </p:ext>
    </p:extLst>
  </p:cSld>
  <p:clrMapOvr>
    <a:masterClrMapping/>
  </p:clrMapOvr>
  <p:transition>
    <p:zoom/>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Only title + subheadline">
    <p:spTree>
      <p:nvGrpSpPr>
        <p:cNvPr id="1" name=""/>
        <p:cNvGrpSpPr/>
        <p:nvPr/>
      </p:nvGrpSpPr>
      <p:grpSpPr>
        <a:xfrm>
          <a:off x="0" y="0"/>
          <a:ext cx="0" cy="0"/>
          <a:chOff x="0" y="0"/>
          <a:chExt cx="0" cy="0"/>
        </a:xfrm>
      </p:grpSpPr>
      <p:sp>
        <p:nvSpPr>
          <p:cNvPr id="7" name="Titel 1"/>
          <p:cNvSpPr>
            <a:spLocks noGrp="1"/>
          </p:cNvSpPr>
          <p:nvPr>
            <p:ph type="title"/>
          </p:nvPr>
        </p:nvSpPr>
        <p:spPr>
          <a:xfrm>
            <a:off x="383931" y="216200"/>
            <a:ext cx="7145936" cy="195691"/>
          </a:xfrm>
        </p:spPr>
        <p:txBody>
          <a:bodyPr/>
          <a:lstStyle>
            <a:lvl1pPr>
              <a:defRPr baseline="0"/>
            </a:lvl1pPr>
          </a:lstStyle>
          <a:p>
            <a:r>
              <a:rPr lang="en-US" noProof="0"/>
              <a:t>Click to edit Master title style</a:t>
            </a:r>
            <a:endParaRPr lang="en-US" noProof="0" dirty="0"/>
          </a:p>
        </p:txBody>
      </p:sp>
      <p:sp>
        <p:nvSpPr>
          <p:cNvPr id="8" name="Textplatzhalter 2"/>
          <p:cNvSpPr>
            <a:spLocks noGrp="1"/>
          </p:cNvSpPr>
          <p:nvPr>
            <p:ph type="body" idx="13"/>
          </p:nvPr>
        </p:nvSpPr>
        <p:spPr>
          <a:xfrm>
            <a:off x="383931" y="411891"/>
            <a:ext cx="7145936" cy="216200"/>
          </a:xfrm>
        </p:spPr>
        <p:txBody>
          <a:bodyPr tIns="0"/>
          <a:lstStyle>
            <a:lvl1pPr marL="0" indent="0">
              <a:buNone/>
              <a:defRPr sz="1501" cap="all" baseline="0">
                <a:solidFill>
                  <a:schemeClr val="accent4"/>
                </a:solidFill>
              </a:defRPr>
            </a:lvl1pPr>
            <a:lvl2pPr marL="343220" indent="0">
              <a:buNone/>
              <a:defRPr sz="1351">
                <a:solidFill>
                  <a:schemeClr val="tx1">
                    <a:tint val="75000"/>
                  </a:schemeClr>
                </a:solidFill>
              </a:defRPr>
            </a:lvl2pPr>
            <a:lvl3pPr marL="686440" indent="0">
              <a:buNone/>
              <a:defRPr sz="1201">
                <a:solidFill>
                  <a:schemeClr val="tx1">
                    <a:tint val="75000"/>
                  </a:schemeClr>
                </a:solidFill>
              </a:defRPr>
            </a:lvl3pPr>
            <a:lvl4pPr marL="1029660" indent="0">
              <a:buNone/>
              <a:defRPr sz="1051">
                <a:solidFill>
                  <a:schemeClr val="tx1">
                    <a:tint val="75000"/>
                  </a:schemeClr>
                </a:solidFill>
              </a:defRPr>
            </a:lvl4pPr>
            <a:lvl5pPr marL="1372880" indent="0">
              <a:buNone/>
              <a:defRPr sz="1051">
                <a:solidFill>
                  <a:schemeClr val="tx1">
                    <a:tint val="75000"/>
                  </a:schemeClr>
                </a:solidFill>
              </a:defRPr>
            </a:lvl5pPr>
            <a:lvl6pPr marL="1716100" indent="0">
              <a:buNone/>
              <a:defRPr sz="1051">
                <a:solidFill>
                  <a:schemeClr val="tx1">
                    <a:tint val="75000"/>
                  </a:schemeClr>
                </a:solidFill>
              </a:defRPr>
            </a:lvl6pPr>
            <a:lvl7pPr marL="2059320" indent="0">
              <a:buNone/>
              <a:defRPr sz="1051">
                <a:solidFill>
                  <a:schemeClr val="tx1">
                    <a:tint val="75000"/>
                  </a:schemeClr>
                </a:solidFill>
              </a:defRPr>
            </a:lvl7pPr>
            <a:lvl8pPr marL="2402540" indent="0">
              <a:buNone/>
              <a:defRPr sz="1051">
                <a:solidFill>
                  <a:schemeClr val="tx1">
                    <a:tint val="75000"/>
                  </a:schemeClr>
                </a:solidFill>
              </a:defRPr>
            </a:lvl8pPr>
            <a:lvl9pPr marL="2745760" indent="0">
              <a:buNone/>
              <a:defRPr sz="1051">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3828751722"/>
      </p:ext>
    </p:extLst>
  </p:cSld>
  <p:clrMapOvr>
    <a:masterClrMapping/>
  </p:clrMapOvr>
  <p:transition>
    <p:zoom/>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hapter slide">
    <p:spTree>
      <p:nvGrpSpPr>
        <p:cNvPr id="1" name=""/>
        <p:cNvGrpSpPr/>
        <p:nvPr/>
      </p:nvGrpSpPr>
      <p:grpSpPr>
        <a:xfrm>
          <a:off x="0" y="0"/>
          <a:ext cx="0" cy="0"/>
          <a:chOff x="0" y="0"/>
          <a:chExt cx="0" cy="0"/>
        </a:xfrm>
      </p:grpSpPr>
      <p:graphicFrame>
        <p:nvGraphicFramePr>
          <p:cNvPr id="5" name="Objekt 9" hidden="1"/>
          <p:cNvGraphicFramePr>
            <a:graphicFrameLocks noChangeAspect="1"/>
          </p:cNvGraphicFramePr>
          <p:nvPr userDrawn="1">
            <p:custDataLst>
              <p:tags r:id="rId1"/>
            </p:custDataLst>
          </p:nvPr>
        </p:nvGraphicFramePr>
        <p:xfrm>
          <a:off x="1617" y="1235"/>
          <a:ext cx="1587" cy="1191"/>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5" name="Objekt 9"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17" y="1235"/>
                        <a:ext cx="1587" cy="1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hteck 8"/>
          <p:cNvSpPr/>
          <p:nvPr userDrawn="1"/>
        </p:nvSpPr>
        <p:spPr>
          <a:xfrm>
            <a:off x="0" y="0"/>
            <a:ext cx="9144000" cy="514826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7" name="Rechteck 10"/>
          <p:cNvSpPr/>
          <p:nvPr userDrawn="1"/>
        </p:nvSpPr>
        <p:spPr>
          <a:xfrm>
            <a:off x="0" y="3242734"/>
            <a:ext cx="9144000" cy="54819"/>
          </a:xfrm>
          <a:prstGeom prst="rect">
            <a:avLst/>
          </a:prstGeom>
          <a:gradFill flip="none" rotWithShape="1">
            <a:gsLst>
              <a:gs pos="0">
                <a:schemeClr val="tx2"/>
              </a:gs>
              <a:gs pos="100000">
                <a:schemeClr val="tx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pic>
        <p:nvPicPr>
          <p:cNvPr id="8" name="Grafik 14"/>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7281863" y="3513255"/>
            <a:ext cx="1465262" cy="4886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Bildplatzhalter 8"/>
          <p:cNvSpPr>
            <a:spLocks noGrp="1"/>
          </p:cNvSpPr>
          <p:nvPr>
            <p:ph type="pic" sz="quarter" idx="14"/>
          </p:nvPr>
        </p:nvSpPr>
        <p:spPr>
          <a:xfrm>
            <a:off x="0" y="0"/>
            <a:ext cx="9144000" cy="3216280"/>
          </a:xfrm>
        </p:spPr>
        <p:txBody>
          <a:bodyPr lIns="396000" tIns="180000" rIns="396000" bIns="180000" rtlCol="0">
            <a:noAutofit/>
          </a:bodyPr>
          <a:lstStyle>
            <a:lvl1pPr marL="0" indent="0">
              <a:buFontTx/>
              <a:buNone/>
              <a:defRPr sz="1201">
                <a:solidFill>
                  <a:schemeClr val="accent2"/>
                </a:solidFill>
              </a:defRPr>
            </a:lvl1pPr>
          </a:lstStyle>
          <a:p>
            <a:pPr lvl="0"/>
            <a:r>
              <a:rPr lang="en-US" noProof="0" dirty="0"/>
              <a:t>Bild durch Klicken auf Symbol hinzufügen</a:t>
            </a:r>
          </a:p>
        </p:txBody>
      </p:sp>
      <p:sp>
        <p:nvSpPr>
          <p:cNvPr id="2" name="Titel 1"/>
          <p:cNvSpPr>
            <a:spLocks noGrp="1"/>
          </p:cNvSpPr>
          <p:nvPr>
            <p:ph type="title"/>
          </p:nvPr>
        </p:nvSpPr>
        <p:spPr>
          <a:xfrm>
            <a:off x="384458" y="3513250"/>
            <a:ext cx="6480000" cy="1351250"/>
          </a:xfrm>
        </p:spPr>
        <p:txBody>
          <a:bodyPr/>
          <a:lstStyle>
            <a:lvl1pPr algn="l">
              <a:defRPr sz="2402" b="0" cap="all" baseline="0">
                <a:sym typeface="Wingdings" panose="05000000000000000000" pitchFamily="2" charset="2"/>
              </a:defRPr>
            </a:lvl1pPr>
          </a:lstStyle>
          <a:p>
            <a:r>
              <a:rPr lang="en-US" noProof="0"/>
              <a:t>Click to edit Master title style</a:t>
            </a:r>
            <a:endParaRPr lang="en-US" noProof="0" dirty="0"/>
          </a:p>
        </p:txBody>
      </p:sp>
      <p:sp>
        <p:nvSpPr>
          <p:cNvPr id="3" name="Textplatzhalter 2"/>
          <p:cNvSpPr>
            <a:spLocks noGrp="1"/>
          </p:cNvSpPr>
          <p:nvPr>
            <p:ph type="body" idx="1"/>
          </p:nvPr>
        </p:nvSpPr>
        <p:spPr>
          <a:xfrm>
            <a:off x="7164000" y="2266598"/>
            <a:ext cx="1980000" cy="945875"/>
          </a:xfrm>
          <a:solidFill>
            <a:schemeClr val="bg1">
              <a:alpha val="85000"/>
            </a:schemeClr>
          </a:solidFill>
        </p:spPr>
        <p:txBody>
          <a:bodyPr lIns="180000" tIns="72000" rIns="396000" bIns="72000" anchor="ctr"/>
          <a:lstStyle>
            <a:lvl1pPr marL="0" indent="0">
              <a:buNone/>
              <a:defRPr sz="4504" b="0">
                <a:solidFill>
                  <a:schemeClr val="tx2"/>
                </a:solidFill>
              </a:defRPr>
            </a:lvl1pPr>
            <a:lvl2pPr marL="343220" indent="0">
              <a:buNone/>
              <a:defRPr sz="1351">
                <a:solidFill>
                  <a:schemeClr val="tx1">
                    <a:tint val="75000"/>
                  </a:schemeClr>
                </a:solidFill>
              </a:defRPr>
            </a:lvl2pPr>
            <a:lvl3pPr marL="686440" indent="0">
              <a:buNone/>
              <a:defRPr sz="1201">
                <a:solidFill>
                  <a:schemeClr val="tx1">
                    <a:tint val="75000"/>
                  </a:schemeClr>
                </a:solidFill>
              </a:defRPr>
            </a:lvl3pPr>
            <a:lvl4pPr marL="1029660" indent="0">
              <a:buNone/>
              <a:defRPr sz="1051">
                <a:solidFill>
                  <a:schemeClr val="tx1">
                    <a:tint val="75000"/>
                  </a:schemeClr>
                </a:solidFill>
              </a:defRPr>
            </a:lvl4pPr>
            <a:lvl5pPr marL="1372880" indent="0">
              <a:buNone/>
              <a:defRPr sz="1051">
                <a:solidFill>
                  <a:schemeClr val="tx1">
                    <a:tint val="75000"/>
                  </a:schemeClr>
                </a:solidFill>
              </a:defRPr>
            </a:lvl5pPr>
            <a:lvl6pPr marL="1716100" indent="0">
              <a:buNone/>
              <a:defRPr sz="1051">
                <a:solidFill>
                  <a:schemeClr val="tx1">
                    <a:tint val="75000"/>
                  </a:schemeClr>
                </a:solidFill>
              </a:defRPr>
            </a:lvl6pPr>
            <a:lvl7pPr marL="2059320" indent="0">
              <a:buNone/>
              <a:defRPr sz="1051">
                <a:solidFill>
                  <a:schemeClr val="tx1">
                    <a:tint val="75000"/>
                  </a:schemeClr>
                </a:solidFill>
              </a:defRPr>
            </a:lvl7pPr>
            <a:lvl8pPr marL="2402540" indent="0">
              <a:buNone/>
              <a:defRPr sz="1051">
                <a:solidFill>
                  <a:schemeClr val="tx1">
                    <a:tint val="75000"/>
                  </a:schemeClr>
                </a:solidFill>
              </a:defRPr>
            </a:lvl8pPr>
            <a:lvl9pPr marL="2745760" indent="0">
              <a:buNone/>
              <a:defRPr sz="1051">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3334519801"/>
      </p:ext>
    </p:extLst>
  </p:cSld>
  <p:clrMapOvr>
    <a:masterClrMapping/>
  </p:clrMapOvr>
  <p:transition>
    <p:zoom/>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type="picTx" preserve="1">
  <p:cSld name="Picture full faced with title banderole">
    <p:spTree>
      <p:nvGrpSpPr>
        <p:cNvPr id="1" name=""/>
        <p:cNvGrpSpPr/>
        <p:nvPr/>
      </p:nvGrpSpPr>
      <p:grpSpPr>
        <a:xfrm>
          <a:off x="0" y="0"/>
          <a:ext cx="0" cy="0"/>
          <a:chOff x="0" y="0"/>
          <a:chExt cx="0" cy="0"/>
        </a:xfrm>
      </p:grpSpPr>
      <p:graphicFrame>
        <p:nvGraphicFramePr>
          <p:cNvPr id="5" name="Objekt 7" hidden="1"/>
          <p:cNvGraphicFramePr>
            <a:graphicFrameLocks noChangeAspect="1"/>
          </p:cNvGraphicFramePr>
          <p:nvPr userDrawn="1">
            <p:custDataLst>
              <p:tags r:id="rId1"/>
            </p:custDataLst>
          </p:nvPr>
        </p:nvGraphicFramePr>
        <p:xfrm>
          <a:off x="1617" y="1235"/>
          <a:ext cx="1587" cy="1191"/>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5" name="Objek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17" y="1235"/>
                        <a:ext cx="1587" cy="1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Bildplatzhalter 2"/>
          <p:cNvSpPr>
            <a:spLocks noGrp="1"/>
          </p:cNvSpPr>
          <p:nvPr>
            <p:ph type="pic" idx="1"/>
          </p:nvPr>
        </p:nvSpPr>
        <p:spPr>
          <a:xfrm>
            <a:off x="0" y="709081"/>
            <a:ext cx="9144000" cy="4243741"/>
          </a:xfrm>
        </p:spPr>
        <p:txBody>
          <a:bodyPr lIns="396000" tIns="180000" rIns="396000" bIns="180000" rtlCol="0">
            <a:noAutofit/>
          </a:bodyPr>
          <a:lstStyle>
            <a:lvl1pPr marL="0" indent="0">
              <a:buNone/>
              <a:defRPr sz="1201">
                <a:solidFill>
                  <a:schemeClr val="accent2"/>
                </a:solidFill>
              </a:defRPr>
            </a:lvl1pPr>
            <a:lvl2pPr marL="343220" indent="0">
              <a:buNone/>
              <a:defRPr sz="2102"/>
            </a:lvl2pPr>
            <a:lvl3pPr marL="686440" indent="0">
              <a:buNone/>
              <a:defRPr sz="1802"/>
            </a:lvl3pPr>
            <a:lvl4pPr marL="1029660" indent="0">
              <a:buNone/>
              <a:defRPr sz="1501"/>
            </a:lvl4pPr>
            <a:lvl5pPr marL="1372880" indent="0">
              <a:buNone/>
              <a:defRPr sz="1501"/>
            </a:lvl5pPr>
            <a:lvl6pPr marL="1716100" indent="0">
              <a:buNone/>
              <a:defRPr sz="1501"/>
            </a:lvl6pPr>
            <a:lvl7pPr marL="2059320" indent="0">
              <a:buNone/>
              <a:defRPr sz="1501"/>
            </a:lvl7pPr>
            <a:lvl8pPr marL="2402540" indent="0">
              <a:buNone/>
              <a:defRPr sz="1501"/>
            </a:lvl8pPr>
            <a:lvl9pPr marL="2745760" indent="0">
              <a:buNone/>
              <a:defRPr sz="1501"/>
            </a:lvl9pPr>
          </a:lstStyle>
          <a:p>
            <a:pPr lvl="0"/>
            <a:r>
              <a:rPr lang="en-US" noProof="0" dirty="0"/>
              <a:t>Bild durch Klicken auf Symbol hinzufügen</a:t>
            </a:r>
          </a:p>
        </p:txBody>
      </p:sp>
      <p:sp>
        <p:nvSpPr>
          <p:cNvPr id="2" name="Titel 1"/>
          <p:cNvSpPr>
            <a:spLocks noGrp="1"/>
          </p:cNvSpPr>
          <p:nvPr>
            <p:ph type="title"/>
          </p:nvPr>
        </p:nvSpPr>
        <p:spPr>
          <a:xfrm>
            <a:off x="-1" y="3378125"/>
            <a:ext cx="9144000" cy="540500"/>
          </a:xfrm>
          <a:solidFill>
            <a:srgbClr val="FFFFFF">
              <a:alpha val="90000"/>
            </a:srgbClr>
          </a:solidFill>
        </p:spPr>
        <p:txBody>
          <a:bodyPr lIns="396000" tIns="36000" rIns="396000" bIns="36000" anchor="b"/>
          <a:lstStyle>
            <a:lvl1pPr algn="l">
              <a:defRPr sz="1802" b="0" baseline="0"/>
            </a:lvl1pPr>
          </a:lstStyle>
          <a:p>
            <a:r>
              <a:rPr lang="en-US" noProof="0"/>
              <a:t>Click to edit Master title style</a:t>
            </a:r>
            <a:endParaRPr lang="en-US" noProof="0" dirty="0"/>
          </a:p>
        </p:txBody>
      </p:sp>
      <p:sp>
        <p:nvSpPr>
          <p:cNvPr id="4" name="Textplatzhalter 3"/>
          <p:cNvSpPr>
            <a:spLocks noGrp="1"/>
          </p:cNvSpPr>
          <p:nvPr>
            <p:ph type="body" sz="half" idx="2"/>
          </p:nvPr>
        </p:nvSpPr>
        <p:spPr>
          <a:xfrm>
            <a:off x="0" y="3918625"/>
            <a:ext cx="9144000" cy="405375"/>
          </a:xfrm>
          <a:solidFill>
            <a:srgbClr val="FFFFFF">
              <a:alpha val="75000"/>
            </a:srgbClr>
          </a:solidFill>
        </p:spPr>
        <p:txBody>
          <a:bodyPr lIns="396000" tIns="36000" rIns="396000" bIns="36000"/>
          <a:lstStyle>
            <a:lvl1pPr marL="0" indent="0">
              <a:buNone/>
              <a:defRPr sz="1501" cap="all" baseline="0"/>
            </a:lvl1pPr>
            <a:lvl2pPr marL="343220" indent="0">
              <a:buNone/>
              <a:defRPr sz="901"/>
            </a:lvl2pPr>
            <a:lvl3pPr marL="686440" indent="0">
              <a:buNone/>
              <a:defRPr sz="751"/>
            </a:lvl3pPr>
            <a:lvl4pPr marL="1029660" indent="0">
              <a:buNone/>
              <a:defRPr sz="676"/>
            </a:lvl4pPr>
            <a:lvl5pPr marL="1372880" indent="0">
              <a:buNone/>
              <a:defRPr sz="676"/>
            </a:lvl5pPr>
            <a:lvl6pPr marL="1716100" indent="0">
              <a:buNone/>
              <a:defRPr sz="676"/>
            </a:lvl6pPr>
            <a:lvl7pPr marL="2059320" indent="0">
              <a:buNone/>
              <a:defRPr sz="676"/>
            </a:lvl7pPr>
            <a:lvl8pPr marL="2402540" indent="0">
              <a:buNone/>
              <a:defRPr sz="676"/>
            </a:lvl8pPr>
            <a:lvl9pPr marL="2745760" indent="0">
              <a:buNone/>
              <a:defRPr sz="676"/>
            </a:lvl9pPr>
          </a:lstStyle>
          <a:p>
            <a:pPr lvl="0"/>
            <a:r>
              <a:rPr lang="en-US" noProof="0"/>
              <a:t>Click to edit Master text styles</a:t>
            </a:r>
          </a:p>
        </p:txBody>
      </p:sp>
    </p:spTree>
    <p:extLst>
      <p:ext uri="{BB962C8B-B14F-4D97-AF65-F5344CB8AC3E}">
        <p14:creationId xmlns:p14="http://schemas.microsoft.com/office/powerpoint/2010/main" val="119141128"/>
      </p:ext>
    </p:extLst>
  </p:cSld>
  <p:clrMapOvr>
    <a:masterClrMapping/>
  </p:clrMapOvr>
  <p:transition>
    <p:zoom/>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type="secHead" preserve="1">
  <p:cSld name="Closing slide">
    <p:spTree>
      <p:nvGrpSpPr>
        <p:cNvPr id="1" name=""/>
        <p:cNvGrpSpPr/>
        <p:nvPr/>
      </p:nvGrpSpPr>
      <p:grpSpPr>
        <a:xfrm>
          <a:off x="0" y="0"/>
          <a:ext cx="0" cy="0"/>
          <a:chOff x="0" y="0"/>
          <a:chExt cx="0" cy="0"/>
        </a:xfrm>
      </p:grpSpPr>
      <p:graphicFrame>
        <p:nvGraphicFramePr>
          <p:cNvPr id="4" name="Objekt 9" hidden="1"/>
          <p:cNvGraphicFramePr>
            <a:graphicFrameLocks noChangeAspect="1"/>
          </p:cNvGraphicFramePr>
          <p:nvPr userDrawn="1">
            <p:custDataLst>
              <p:tags r:id="rId1"/>
            </p:custDataLst>
          </p:nvPr>
        </p:nvGraphicFramePr>
        <p:xfrm>
          <a:off x="1617" y="1235"/>
          <a:ext cx="1587" cy="1191"/>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4" name="Objekt 9"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17" y="1235"/>
                        <a:ext cx="1587" cy="1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hteck 8"/>
          <p:cNvSpPr/>
          <p:nvPr userDrawn="1"/>
        </p:nvSpPr>
        <p:spPr>
          <a:xfrm>
            <a:off x="0" y="0"/>
            <a:ext cx="9144000" cy="514826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6" name="Rechteck 11"/>
          <p:cNvSpPr/>
          <p:nvPr userDrawn="1"/>
        </p:nvSpPr>
        <p:spPr>
          <a:xfrm>
            <a:off x="0" y="3242734"/>
            <a:ext cx="9144000" cy="54819"/>
          </a:xfrm>
          <a:prstGeom prst="rect">
            <a:avLst/>
          </a:prstGeom>
          <a:gradFill flip="none" rotWithShape="1">
            <a:gsLst>
              <a:gs pos="0">
                <a:schemeClr val="tx2"/>
              </a:gs>
              <a:gs pos="100000">
                <a:schemeClr val="tx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pic>
        <p:nvPicPr>
          <p:cNvPr id="7" name="Grafik 7"/>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7281863" y="3513255"/>
            <a:ext cx="1465262" cy="4886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el 1"/>
          <p:cNvSpPr>
            <a:spLocks noGrp="1"/>
          </p:cNvSpPr>
          <p:nvPr>
            <p:ph type="title"/>
          </p:nvPr>
        </p:nvSpPr>
        <p:spPr>
          <a:xfrm>
            <a:off x="375780" y="2195739"/>
            <a:ext cx="6480000" cy="777011"/>
          </a:xfrm>
        </p:spPr>
        <p:txBody>
          <a:bodyPr anchor="b"/>
          <a:lstStyle>
            <a:lvl1pPr algn="l">
              <a:defRPr sz="2402" b="0" cap="all" baseline="0"/>
            </a:lvl1pPr>
          </a:lstStyle>
          <a:p>
            <a:r>
              <a:rPr lang="en-US" noProof="0"/>
              <a:t>Click to edit Master title style</a:t>
            </a:r>
            <a:endParaRPr lang="en-US" noProof="0" dirty="0"/>
          </a:p>
        </p:txBody>
      </p:sp>
      <p:sp>
        <p:nvSpPr>
          <p:cNvPr id="3" name="Textplatzhalter 2"/>
          <p:cNvSpPr>
            <a:spLocks noGrp="1"/>
          </p:cNvSpPr>
          <p:nvPr>
            <p:ph type="body" idx="1"/>
          </p:nvPr>
        </p:nvSpPr>
        <p:spPr>
          <a:xfrm>
            <a:off x="375780" y="3459200"/>
            <a:ext cx="6480000" cy="1351250"/>
          </a:xfrm>
        </p:spPr>
        <p:txBody>
          <a:bodyPr tIns="0"/>
          <a:lstStyle>
            <a:lvl1pPr marL="0" indent="0">
              <a:buNone/>
              <a:defRPr sz="1501" baseline="0">
                <a:solidFill>
                  <a:schemeClr val="tx1">
                    <a:tint val="75000"/>
                  </a:schemeClr>
                </a:solidFill>
              </a:defRPr>
            </a:lvl1pPr>
            <a:lvl2pPr marL="343220" indent="0">
              <a:buNone/>
              <a:defRPr sz="1351">
                <a:solidFill>
                  <a:schemeClr val="tx1">
                    <a:tint val="75000"/>
                  </a:schemeClr>
                </a:solidFill>
              </a:defRPr>
            </a:lvl2pPr>
            <a:lvl3pPr marL="686440" indent="0">
              <a:buNone/>
              <a:defRPr sz="1201">
                <a:solidFill>
                  <a:schemeClr val="tx1">
                    <a:tint val="75000"/>
                  </a:schemeClr>
                </a:solidFill>
              </a:defRPr>
            </a:lvl3pPr>
            <a:lvl4pPr marL="1029660" indent="0">
              <a:buNone/>
              <a:defRPr sz="1051">
                <a:solidFill>
                  <a:schemeClr val="tx1">
                    <a:tint val="75000"/>
                  </a:schemeClr>
                </a:solidFill>
              </a:defRPr>
            </a:lvl4pPr>
            <a:lvl5pPr marL="1372880" indent="0">
              <a:buNone/>
              <a:defRPr sz="1051">
                <a:solidFill>
                  <a:schemeClr val="tx1">
                    <a:tint val="75000"/>
                  </a:schemeClr>
                </a:solidFill>
              </a:defRPr>
            </a:lvl5pPr>
            <a:lvl6pPr marL="1716100" indent="0">
              <a:buNone/>
              <a:defRPr sz="1051">
                <a:solidFill>
                  <a:schemeClr val="tx1">
                    <a:tint val="75000"/>
                  </a:schemeClr>
                </a:solidFill>
              </a:defRPr>
            </a:lvl6pPr>
            <a:lvl7pPr marL="2059320" indent="0">
              <a:buNone/>
              <a:defRPr sz="1051">
                <a:solidFill>
                  <a:schemeClr val="tx1">
                    <a:tint val="75000"/>
                  </a:schemeClr>
                </a:solidFill>
              </a:defRPr>
            </a:lvl7pPr>
            <a:lvl8pPr marL="2402540" indent="0">
              <a:buNone/>
              <a:defRPr sz="1051">
                <a:solidFill>
                  <a:schemeClr val="tx1">
                    <a:tint val="75000"/>
                  </a:schemeClr>
                </a:solidFill>
              </a:defRPr>
            </a:lvl8pPr>
            <a:lvl9pPr marL="2745760" indent="0">
              <a:buNone/>
              <a:defRPr sz="1051">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455223375"/>
      </p:ext>
    </p:extLst>
  </p:cSld>
  <p:clrMapOvr>
    <a:masterClrMapping/>
  </p:clrMapOvr>
  <p:transition>
    <p:zoom/>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graphicFrame>
        <p:nvGraphicFramePr>
          <p:cNvPr id="2" name="Objekt 9" hidden="1"/>
          <p:cNvGraphicFramePr>
            <a:graphicFrameLocks noChangeAspect="1"/>
          </p:cNvGraphicFramePr>
          <p:nvPr userDrawn="1">
            <p:custDataLst>
              <p:tags r:id="rId1"/>
            </p:custDataLst>
          </p:nvPr>
        </p:nvGraphicFramePr>
        <p:xfrm>
          <a:off x="1617" y="1235"/>
          <a:ext cx="1587" cy="1191"/>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2" name="Objekt 9"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17" y="1235"/>
                        <a:ext cx="1587" cy="1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hteck 8"/>
          <p:cNvSpPr/>
          <p:nvPr userDrawn="1"/>
        </p:nvSpPr>
        <p:spPr>
          <a:xfrm>
            <a:off x="0" y="0"/>
            <a:ext cx="9144000" cy="514826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de-DE"/>
          </a:p>
        </p:txBody>
      </p:sp>
    </p:spTree>
    <p:extLst>
      <p:ext uri="{BB962C8B-B14F-4D97-AF65-F5344CB8AC3E}">
        <p14:creationId xmlns:p14="http://schemas.microsoft.com/office/powerpoint/2010/main" val="1383522215"/>
      </p:ext>
    </p:extLst>
  </p:cSld>
  <p:clrMapOvr>
    <a:masterClrMapping/>
  </p:clrMapOvr>
  <p:transition>
    <p:zoom/>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Title slide with image">
    <p:spTree>
      <p:nvGrpSpPr>
        <p:cNvPr id="1" name=""/>
        <p:cNvGrpSpPr/>
        <p:nvPr/>
      </p:nvGrpSpPr>
      <p:grpSpPr>
        <a:xfrm>
          <a:off x="0" y="0"/>
          <a:ext cx="0" cy="0"/>
          <a:chOff x="0" y="0"/>
          <a:chExt cx="0" cy="0"/>
        </a:xfrm>
      </p:grpSpPr>
      <p:graphicFrame>
        <p:nvGraphicFramePr>
          <p:cNvPr id="5" name="Objekt 27" hidden="1"/>
          <p:cNvGraphicFramePr>
            <a:graphicFrameLocks noChangeAspect="1"/>
          </p:cNvGraphicFramePr>
          <p:nvPr userDrawn="1">
            <p:custDataLst>
              <p:tags r:id="rId1"/>
            </p:custDataLst>
          </p:nvPr>
        </p:nvGraphicFramePr>
        <p:xfrm>
          <a:off x="1617" y="1235"/>
          <a:ext cx="1587" cy="1191"/>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5" name="Objekt 2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17" y="1235"/>
                        <a:ext cx="1587" cy="1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hteck 30"/>
          <p:cNvSpPr/>
          <p:nvPr userDrawn="1"/>
        </p:nvSpPr>
        <p:spPr>
          <a:xfrm>
            <a:off x="0" y="0"/>
            <a:ext cx="9144000" cy="514826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7" name="Rechteck 31"/>
          <p:cNvSpPr/>
          <p:nvPr userDrawn="1"/>
        </p:nvSpPr>
        <p:spPr>
          <a:xfrm>
            <a:off x="0" y="3242734"/>
            <a:ext cx="9144000" cy="54819"/>
          </a:xfrm>
          <a:prstGeom prst="rect">
            <a:avLst/>
          </a:prstGeom>
          <a:gradFill flip="none" rotWithShape="1">
            <a:gsLst>
              <a:gs pos="0">
                <a:schemeClr val="tx2"/>
              </a:gs>
              <a:gs pos="100000">
                <a:schemeClr val="tx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pic>
        <p:nvPicPr>
          <p:cNvPr id="8" name="Grafik 33"/>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7281863" y="4330780"/>
            <a:ext cx="1465262" cy="4886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Bildplatzhalter 8"/>
          <p:cNvSpPr>
            <a:spLocks noGrp="1"/>
          </p:cNvSpPr>
          <p:nvPr>
            <p:ph type="pic" sz="quarter" idx="14"/>
          </p:nvPr>
        </p:nvSpPr>
        <p:spPr>
          <a:xfrm>
            <a:off x="0" y="0"/>
            <a:ext cx="9144000" cy="3216280"/>
          </a:xfrm>
        </p:spPr>
        <p:txBody>
          <a:bodyPr lIns="396000" tIns="180000" rIns="396000" bIns="180000" rtlCol="0">
            <a:noAutofit/>
          </a:bodyPr>
          <a:lstStyle>
            <a:lvl1pPr marL="0" indent="0">
              <a:buFontTx/>
              <a:buNone/>
              <a:defRPr sz="1126">
                <a:solidFill>
                  <a:schemeClr val="tx2"/>
                </a:solidFill>
              </a:defRPr>
            </a:lvl1pPr>
          </a:lstStyle>
          <a:p>
            <a:pPr lvl="0"/>
            <a:r>
              <a:rPr lang="en-US" noProof="0" dirty="0"/>
              <a:t>Bild durch Klicken auf Symbol hinzufügen</a:t>
            </a:r>
          </a:p>
        </p:txBody>
      </p:sp>
      <p:sp>
        <p:nvSpPr>
          <p:cNvPr id="3" name="Untertitel 2"/>
          <p:cNvSpPr>
            <a:spLocks noGrp="1"/>
          </p:cNvSpPr>
          <p:nvPr>
            <p:ph type="subTitle" idx="1"/>
          </p:nvPr>
        </p:nvSpPr>
        <p:spPr>
          <a:xfrm>
            <a:off x="2" y="3299753"/>
            <a:ext cx="6156176" cy="1848510"/>
          </a:xfrm>
          <a:noFill/>
        </p:spPr>
        <p:txBody>
          <a:bodyPr lIns="396000" tIns="216000" rIns="2268000" bIns="396000"/>
          <a:lstStyle>
            <a:lvl1pPr marL="0" indent="0" algn="l">
              <a:buNone/>
              <a:defRPr sz="1501">
                <a:solidFill>
                  <a:schemeClr val="tx1">
                    <a:tint val="75000"/>
                  </a:schemeClr>
                </a:solidFill>
              </a:defRPr>
            </a:lvl1pPr>
            <a:lvl2pPr marL="343220" indent="0" algn="ctr">
              <a:buNone/>
              <a:defRPr>
                <a:solidFill>
                  <a:schemeClr val="tx1">
                    <a:tint val="75000"/>
                  </a:schemeClr>
                </a:solidFill>
              </a:defRPr>
            </a:lvl2pPr>
            <a:lvl3pPr marL="686440" indent="0" algn="ctr">
              <a:buNone/>
              <a:defRPr>
                <a:solidFill>
                  <a:schemeClr val="tx1">
                    <a:tint val="75000"/>
                  </a:schemeClr>
                </a:solidFill>
              </a:defRPr>
            </a:lvl3pPr>
            <a:lvl4pPr marL="1029660" indent="0" algn="ctr">
              <a:buNone/>
              <a:defRPr>
                <a:solidFill>
                  <a:schemeClr val="tx1">
                    <a:tint val="75000"/>
                  </a:schemeClr>
                </a:solidFill>
              </a:defRPr>
            </a:lvl4pPr>
            <a:lvl5pPr marL="1372880" indent="0" algn="ctr">
              <a:buNone/>
              <a:defRPr>
                <a:solidFill>
                  <a:schemeClr val="tx1">
                    <a:tint val="75000"/>
                  </a:schemeClr>
                </a:solidFill>
              </a:defRPr>
            </a:lvl5pPr>
            <a:lvl6pPr marL="1716100" indent="0" algn="ctr">
              <a:buNone/>
              <a:defRPr>
                <a:solidFill>
                  <a:schemeClr val="tx1">
                    <a:tint val="75000"/>
                  </a:schemeClr>
                </a:solidFill>
              </a:defRPr>
            </a:lvl6pPr>
            <a:lvl7pPr marL="2059320" indent="0" algn="ctr">
              <a:buNone/>
              <a:defRPr>
                <a:solidFill>
                  <a:schemeClr val="tx1">
                    <a:tint val="75000"/>
                  </a:schemeClr>
                </a:solidFill>
              </a:defRPr>
            </a:lvl7pPr>
            <a:lvl8pPr marL="2402540" indent="0" algn="ctr">
              <a:buNone/>
              <a:defRPr>
                <a:solidFill>
                  <a:schemeClr val="tx1">
                    <a:tint val="75000"/>
                  </a:schemeClr>
                </a:solidFill>
              </a:defRPr>
            </a:lvl8pPr>
            <a:lvl9pPr marL="2745760" indent="0" algn="ctr">
              <a:buNone/>
              <a:defRPr>
                <a:solidFill>
                  <a:schemeClr val="tx1">
                    <a:tint val="75000"/>
                  </a:schemeClr>
                </a:solidFill>
              </a:defRPr>
            </a:lvl9pPr>
          </a:lstStyle>
          <a:p>
            <a:r>
              <a:rPr lang="de-DE" noProof="0"/>
              <a:t>Formatvorlage des Untertitelmasters durch Klicken bearbeiten</a:t>
            </a:r>
            <a:endParaRPr lang="en-US" noProof="0" dirty="0"/>
          </a:p>
        </p:txBody>
      </p:sp>
      <p:sp>
        <p:nvSpPr>
          <p:cNvPr id="2" name="Titel 1"/>
          <p:cNvSpPr>
            <a:spLocks noGrp="1"/>
          </p:cNvSpPr>
          <p:nvPr>
            <p:ph type="ctrTitle"/>
          </p:nvPr>
        </p:nvSpPr>
        <p:spPr>
          <a:xfrm>
            <a:off x="0" y="2159298"/>
            <a:ext cx="9144000" cy="1081000"/>
          </a:xfrm>
          <a:solidFill>
            <a:schemeClr val="bg1">
              <a:alpha val="80000"/>
            </a:schemeClr>
          </a:solidFill>
        </p:spPr>
        <p:txBody>
          <a:bodyPr lIns="414000" rIns="396000" bIns="360000" anchor="b"/>
          <a:lstStyle>
            <a:lvl1pPr>
              <a:lnSpc>
                <a:spcPct val="90000"/>
              </a:lnSpc>
              <a:defRPr sz="2402" baseline="0">
                <a:solidFill>
                  <a:schemeClr val="tx2"/>
                </a:solidFill>
              </a:defRPr>
            </a:lvl1pPr>
          </a:lstStyle>
          <a:p>
            <a:r>
              <a:rPr lang="de-DE" noProof="0" dirty="0"/>
              <a:t>Titelmasterformat durch Klicken bearbeiten</a:t>
            </a:r>
            <a:endParaRPr lang="en-US" noProof="0" dirty="0"/>
          </a:p>
        </p:txBody>
      </p:sp>
    </p:spTree>
    <p:extLst>
      <p:ext uri="{BB962C8B-B14F-4D97-AF65-F5344CB8AC3E}">
        <p14:creationId xmlns:p14="http://schemas.microsoft.com/office/powerpoint/2010/main" val="3949275514"/>
      </p:ext>
    </p:extLst>
  </p:cSld>
  <p:clrMapOvr>
    <a:masterClrMapping/>
  </p:clrMapOvr>
  <p:transition>
    <p:zoom/>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4_Content Slide - 1 Col HIGH">
    <p:spTree>
      <p:nvGrpSpPr>
        <p:cNvPr id="1" name=""/>
        <p:cNvGrpSpPr/>
        <p:nvPr/>
      </p:nvGrpSpPr>
      <p:grpSpPr>
        <a:xfrm>
          <a:off x="0" y="0"/>
          <a:ext cx="0" cy="0"/>
          <a:chOff x="0" y="0"/>
          <a:chExt cx="0" cy="0"/>
        </a:xfrm>
      </p:grpSpPr>
      <p:sp>
        <p:nvSpPr>
          <p:cNvPr id="10" name="Footer Placeholder 4"/>
          <p:cNvSpPr txBox="1">
            <a:spLocks/>
          </p:cNvSpPr>
          <p:nvPr userDrawn="1"/>
        </p:nvSpPr>
        <p:spPr>
          <a:xfrm>
            <a:off x="8556173" y="4843524"/>
            <a:ext cx="416379" cy="273050"/>
          </a:xfrm>
          <a:prstGeom prst="rect">
            <a:avLst/>
          </a:prstGeom>
        </p:spPr>
        <p:txBody>
          <a:bodyPr vert="horz" lIns="91355" tIns="45678" rIns="91355" bIns="45678" rtlCol="0" anchor="ctr"/>
          <a:lstStyle>
            <a:defPPr>
              <a:defRPr lang="en-US"/>
            </a:defPPr>
            <a:lvl1pPr marL="0" algn="r" defTabSz="457200" rtl="0" eaLnBrk="1" latinLnBrk="0" hangingPunct="1">
              <a:defRPr sz="800" b="1" kern="1200">
                <a:solidFill>
                  <a:schemeClr val="accent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799" dirty="0"/>
          </a:p>
        </p:txBody>
      </p:sp>
      <p:sp>
        <p:nvSpPr>
          <p:cNvPr id="11" name="Title Placeholder 1"/>
          <p:cNvSpPr>
            <a:spLocks noGrp="1"/>
          </p:cNvSpPr>
          <p:nvPr>
            <p:ph type="title" hasCustomPrompt="1"/>
          </p:nvPr>
        </p:nvSpPr>
        <p:spPr>
          <a:xfrm>
            <a:off x="457200" y="286053"/>
            <a:ext cx="8229600" cy="523220"/>
          </a:xfrm>
          <a:prstGeom prst="rect">
            <a:avLst/>
          </a:prstGeom>
        </p:spPr>
        <p:txBody>
          <a:bodyPr vert="horz" lIns="91440" tIns="45720" rIns="91440" bIns="45720" rtlCol="0" anchor="ctr">
            <a:spAutoFit/>
          </a:bodyPr>
          <a:lstStyle>
            <a:lvl1pPr>
              <a:defRPr sz="2797" cap="all"/>
            </a:lvl1pPr>
          </a:lstStyle>
          <a:p>
            <a:r>
              <a:rPr lang="en-US" dirty="0"/>
              <a:t>CLICK TO ADD TITLE</a:t>
            </a:r>
          </a:p>
        </p:txBody>
      </p:sp>
      <p:sp>
        <p:nvSpPr>
          <p:cNvPr id="5" name="Footer Placeholder 5">
            <a:extLst>
              <a:ext uri="{FF2B5EF4-FFF2-40B4-BE49-F238E27FC236}">
                <a16:creationId xmlns:a16="http://schemas.microsoft.com/office/drawing/2014/main" id="{59432805-4A98-4B1B-857E-58BF6EF6E4E3}"/>
              </a:ext>
            </a:extLst>
          </p:cNvPr>
          <p:cNvSpPr>
            <a:spLocks noGrp="1"/>
          </p:cNvSpPr>
          <p:nvPr>
            <p:ph type="ftr" sz="quarter" idx="3"/>
          </p:nvPr>
        </p:nvSpPr>
        <p:spPr>
          <a:xfrm>
            <a:off x="5778500" y="4809501"/>
            <a:ext cx="3086100" cy="273050"/>
          </a:xfrm>
          <a:prstGeom prst="rect">
            <a:avLst/>
          </a:prstGeom>
        </p:spPr>
        <p:txBody>
          <a:bodyPr vert="horz" lIns="91440" tIns="45720" rIns="91440" bIns="45720" rtlCol="0" anchor="ctr"/>
          <a:lstStyle>
            <a:lvl1pPr algn="r">
              <a:defRPr sz="799">
                <a:solidFill>
                  <a:schemeClr val="tx2"/>
                </a:solidFill>
              </a:defRPr>
            </a:lvl1pPr>
          </a:lstStyle>
          <a:p>
            <a:endParaRPr lang="en-US" dirty="0"/>
          </a:p>
        </p:txBody>
      </p:sp>
    </p:spTree>
    <p:extLst>
      <p:ext uri="{BB962C8B-B14F-4D97-AF65-F5344CB8AC3E}">
        <p14:creationId xmlns:p14="http://schemas.microsoft.com/office/powerpoint/2010/main" val="249433111"/>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Content left image right">
    <p:spTree>
      <p:nvGrpSpPr>
        <p:cNvPr id="1" name=""/>
        <p:cNvGrpSpPr/>
        <p:nvPr/>
      </p:nvGrpSpPr>
      <p:grpSpPr>
        <a:xfrm>
          <a:off x="0" y="0"/>
          <a:ext cx="0" cy="0"/>
          <a:chOff x="0" y="0"/>
          <a:chExt cx="0" cy="0"/>
        </a:xfrm>
      </p:grpSpPr>
      <p:sp>
        <p:nvSpPr>
          <p:cNvPr id="3" name="Inhaltsplatzhalter 2"/>
          <p:cNvSpPr>
            <a:spLocks noGrp="1"/>
          </p:cNvSpPr>
          <p:nvPr>
            <p:ph idx="1"/>
          </p:nvPr>
        </p:nvSpPr>
        <p:spPr>
          <a:xfrm>
            <a:off x="383932" y="709081"/>
            <a:ext cx="4116068" cy="4243741"/>
          </a:xfrm>
        </p:spPr>
        <p:txBody>
          <a:bodyPr bIns="72000"/>
          <a:lstStyle/>
          <a:p>
            <a:pPr lvl="0"/>
            <a:r>
              <a:rPr lang="en-US" noProof="0" dirty="0" err="1"/>
              <a:t>Textmasterformat</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p:txBody>
      </p:sp>
      <p:sp>
        <p:nvSpPr>
          <p:cNvPr id="9" name="Bildplatzhalter 8"/>
          <p:cNvSpPr>
            <a:spLocks noGrp="1"/>
          </p:cNvSpPr>
          <p:nvPr>
            <p:ph type="pic" sz="quarter" idx="14"/>
          </p:nvPr>
        </p:nvSpPr>
        <p:spPr>
          <a:xfrm>
            <a:off x="4643438" y="709081"/>
            <a:ext cx="4116632" cy="4243741"/>
          </a:xfrm>
        </p:spPr>
        <p:txBody>
          <a:bodyPr tIns="180000" bIns="180000" rtlCol="0">
            <a:noAutofit/>
          </a:bodyPr>
          <a:lstStyle>
            <a:lvl1pPr marL="0" indent="0">
              <a:buFontTx/>
              <a:buNone/>
              <a:defRPr sz="1201">
                <a:solidFill>
                  <a:schemeClr val="tx2"/>
                </a:solidFill>
              </a:defRPr>
            </a:lvl1pPr>
          </a:lstStyle>
          <a:p>
            <a:pPr lvl="0"/>
            <a:r>
              <a:rPr lang="en-US" noProof="0" dirty="0"/>
              <a:t>Bild durch Klicken auf Symbol hinzufügen</a:t>
            </a:r>
          </a:p>
        </p:txBody>
      </p:sp>
      <p:sp>
        <p:nvSpPr>
          <p:cNvPr id="10" name="Titel 1"/>
          <p:cNvSpPr>
            <a:spLocks noGrp="1"/>
          </p:cNvSpPr>
          <p:nvPr>
            <p:ph type="title"/>
          </p:nvPr>
        </p:nvSpPr>
        <p:spPr>
          <a:xfrm>
            <a:off x="383931" y="216200"/>
            <a:ext cx="7145936" cy="195691"/>
          </a:xfrm>
        </p:spPr>
        <p:txBody>
          <a:bodyPr/>
          <a:lstStyle>
            <a:lvl1pPr>
              <a:defRPr baseline="0"/>
            </a:lvl1pPr>
          </a:lstStyle>
          <a:p>
            <a:r>
              <a:rPr lang="de-DE" noProof="0"/>
              <a:t>Titelmasterformat durch Klicken bearbeiten</a:t>
            </a:r>
            <a:endParaRPr lang="en-US" noProof="0" dirty="0"/>
          </a:p>
        </p:txBody>
      </p:sp>
      <p:sp>
        <p:nvSpPr>
          <p:cNvPr id="11" name="Textplatzhalter 2"/>
          <p:cNvSpPr>
            <a:spLocks noGrp="1"/>
          </p:cNvSpPr>
          <p:nvPr>
            <p:ph type="body" idx="13"/>
          </p:nvPr>
        </p:nvSpPr>
        <p:spPr>
          <a:xfrm>
            <a:off x="383931" y="411891"/>
            <a:ext cx="7145936" cy="216200"/>
          </a:xfrm>
        </p:spPr>
        <p:txBody>
          <a:bodyPr tIns="0"/>
          <a:lstStyle>
            <a:lvl1pPr marL="0" indent="0">
              <a:buNone/>
              <a:defRPr sz="1501" cap="all" baseline="0">
                <a:solidFill>
                  <a:schemeClr val="accent4"/>
                </a:solidFill>
              </a:defRPr>
            </a:lvl1pPr>
            <a:lvl2pPr marL="343220" indent="0">
              <a:buNone/>
              <a:defRPr sz="1351">
                <a:solidFill>
                  <a:schemeClr val="tx1">
                    <a:tint val="75000"/>
                  </a:schemeClr>
                </a:solidFill>
              </a:defRPr>
            </a:lvl2pPr>
            <a:lvl3pPr marL="686440" indent="0">
              <a:buNone/>
              <a:defRPr sz="1201">
                <a:solidFill>
                  <a:schemeClr val="tx1">
                    <a:tint val="75000"/>
                  </a:schemeClr>
                </a:solidFill>
              </a:defRPr>
            </a:lvl3pPr>
            <a:lvl4pPr marL="1029660" indent="0">
              <a:buNone/>
              <a:defRPr sz="1051">
                <a:solidFill>
                  <a:schemeClr val="tx1">
                    <a:tint val="75000"/>
                  </a:schemeClr>
                </a:solidFill>
              </a:defRPr>
            </a:lvl4pPr>
            <a:lvl5pPr marL="1372880" indent="0">
              <a:buNone/>
              <a:defRPr sz="1051">
                <a:solidFill>
                  <a:schemeClr val="tx1">
                    <a:tint val="75000"/>
                  </a:schemeClr>
                </a:solidFill>
              </a:defRPr>
            </a:lvl5pPr>
            <a:lvl6pPr marL="1716100" indent="0">
              <a:buNone/>
              <a:defRPr sz="1051">
                <a:solidFill>
                  <a:schemeClr val="tx1">
                    <a:tint val="75000"/>
                  </a:schemeClr>
                </a:solidFill>
              </a:defRPr>
            </a:lvl6pPr>
            <a:lvl7pPr marL="2059320" indent="0">
              <a:buNone/>
              <a:defRPr sz="1051">
                <a:solidFill>
                  <a:schemeClr val="tx1">
                    <a:tint val="75000"/>
                  </a:schemeClr>
                </a:solidFill>
              </a:defRPr>
            </a:lvl7pPr>
            <a:lvl8pPr marL="2402540" indent="0">
              <a:buNone/>
              <a:defRPr sz="1051">
                <a:solidFill>
                  <a:schemeClr val="tx1">
                    <a:tint val="75000"/>
                  </a:schemeClr>
                </a:solidFill>
              </a:defRPr>
            </a:lvl8pPr>
            <a:lvl9pPr marL="2745760" indent="0">
              <a:buNone/>
              <a:defRPr sz="1051">
                <a:solidFill>
                  <a:schemeClr val="tx1">
                    <a:tint val="75000"/>
                  </a:schemeClr>
                </a:solidFill>
              </a:defRPr>
            </a:lvl9pPr>
          </a:lstStyle>
          <a:p>
            <a:pPr lvl="0"/>
            <a:r>
              <a:rPr lang="de-DE" noProof="0"/>
              <a:t>Textmasterformat bearbeiten</a:t>
            </a:r>
          </a:p>
        </p:txBody>
      </p:sp>
      <p:sp>
        <p:nvSpPr>
          <p:cNvPr id="6" name="Datumsplatzhalter 3"/>
          <p:cNvSpPr>
            <a:spLocks noGrp="1"/>
          </p:cNvSpPr>
          <p:nvPr>
            <p:ph type="dt" sz="half" idx="15"/>
          </p:nvPr>
        </p:nvSpPr>
        <p:spPr>
          <a:xfrm>
            <a:off x="384176" y="4999340"/>
            <a:ext cx="900113" cy="135857"/>
          </a:xfrm>
          <a:prstGeom prst="rect">
            <a:avLst/>
          </a:prstGeom>
        </p:spPr>
        <p:txBody>
          <a:bodyPr/>
          <a:lstStyle>
            <a:lvl1pPr fontAlgn="auto">
              <a:spcBef>
                <a:spcPts val="0"/>
              </a:spcBef>
              <a:spcAft>
                <a:spcPts val="0"/>
              </a:spcAft>
              <a:defRPr>
                <a:latin typeface="+mn-lt"/>
                <a:cs typeface="+mn-cs"/>
              </a:defRPr>
            </a:lvl1pPr>
          </a:lstStyle>
          <a:p>
            <a:pPr>
              <a:defRPr/>
            </a:pPr>
            <a:endParaRPr lang="en-US"/>
          </a:p>
        </p:txBody>
      </p:sp>
      <p:sp>
        <p:nvSpPr>
          <p:cNvPr id="7" name="Fußzeilenplatzhalter 4"/>
          <p:cNvSpPr>
            <a:spLocks noGrp="1"/>
          </p:cNvSpPr>
          <p:nvPr>
            <p:ph type="ftr" sz="quarter" idx="16"/>
          </p:nvPr>
        </p:nvSpPr>
        <p:spPr>
          <a:xfrm>
            <a:off x="1439864" y="4999340"/>
            <a:ext cx="6264275" cy="135857"/>
          </a:xfrm>
          <a:prstGeom prst="rect">
            <a:avLst/>
          </a:prstGeom>
        </p:spPr>
        <p:txBody>
          <a:bodyPr/>
          <a:lstStyle>
            <a:lvl1pPr fontAlgn="auto">
              <a:spcBef>
                <a:spcPts val="0"/>
              </a:spcBef>
              <a:spcAft>
                <a:spcPts val="0"/>
              </a:spcAft>
              <a:defRPr>
                <a:latin typeface="+mn-lt"/>
                <a:cs typeface="+mn-cs"/>
              </a:defRPr>
            </a:lvl1pPr>
          </a:lstStyle>
          <a:p>
            <a:pPr>
              <a:defRPr/>
            </a:pPr>
            <a:r>
              <a:rPr lang="en-US"/>
              <a:t>SICK Engineering, Confidential</a:t>
            </a:r>
          </a:p>
        </p:txBody>
      </p:sp>
      <p:sp>
        <p:nvSpPr>
          <p:cNvPr id="8" name="Foliennummernplatzhalter 5"/>
          <p:cNvSpPr>
            <a:spLocks noGrp="1"/>
          </p:cNvSpPr>
          <p:nvPr>
            <p:ph type="sldNum" sz="quarter" idx="17"/>
          </p:nvPr>
        </p:nvSpPr>
        <p:spPr>
          <a:xfrm>
            <a:off x="7859713" y="4999340"/>
            <a:ext cx="900112" cy="135857"/>
          </a:xfrm>
          <a:prstGeom prst="rect">
            <a:avLst/>
          </a:prstGeom>
        </p:spPr>
        <p:txBody>
          <a:bodyPr/>
          <a:lstStyle>
            <a:lvl1pPr fontAlgn="auto">
              <a:spcBef>
                <a:spcPts val="0"/>
              </a:spcBef>
              <a:spcAft>
                <a:spcPts val="0"/>
              </a:spcAft>
              <a:defRPr>
                <a:latin typeface="+mn-lt"/>
                <a:cs typeface="+mn-cs"/>
              </a:defRPr>
            </a:lvl1pPr>
          </a:lstStyle>
          <a:p>
            <a:pPr>
              <a:defRPr/>
            </a:pPr>
            <a:fld id="{C12CE9AB-A10E-4A52-A5D7-61111E62D582}" type="slidenum">
              <a:rPr lang="en-US"/>
              <a:pPr>
                <a:defRPr/>
              </a:pPr>
              <a:t>‹#›</a:t>
            </a:fld>
            <a:endParaRPr lang="en-US" dirty="0"/>
          </a:p>
        </p:txBody>
      </p:sp>
    </p:spTree>
    <p:extLst>
      <p:ext uri="{BB962C8B-B14F-4D97-AF65-F5344CB8AC3E}">
        <p14:creationId xmlns:p14="http://schemas.microsoft.com/office/powerpoint/2010/main" val="3875070193"/>
      </p:ext>
    </p:extLst>
  </p:cSld>
  <p:clrMapOvr>
    <a:masterClrMapping/>
  </p:clrMapOvr>
  <p:transition>
    <p:zoom/>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4" name="Rectangle 3"/>
          <p:cNvSpPr>
            <a:spLocks noChangeArrowheads="1"/>
          </p:cNvSpPr>
          <p:nvPr userDrawn="1"/>
        </p:nvSpPr>
        <p:spPr bwMode="auto">
          <a:xfrm>
            <a:off x="8726517" y="6164031"/>
            <a:ext cx="184731" cy="584775"/>
          </a:xfrm>
          <a:prstGeom prst="rect">
            <a:avLst/>
          </a:prstGeom>
          <a:solidFill>
            <a:schemeClr val="bg1"/>
          </a:solidFill>
          <a:ln>
            <a:noFill/>
          </a:ln>
          <a:extLst>
            <a:ext uri="{91240B29-F687-4F45-9708-019B960494DF}">
              <a14:hiddenLine xmlns:a14="http://schemas.microsoft.com/office/drawing/2010/main" w="12700" algn="ctr">
                <a:solidFill>
                  <a:srgbClr val="000000"/>
                </a:solidFill>
                <a:round/>
                <a:headEnd type="none" w="sm" len="sm"/>
                <a:tailEnd type="none" w="sm" len="sm"/>
              </a14:hiddenLine>
            </a:ext>
          </a:extLst>
        </p:spPr>
        <p:txBody>
          <a:bodyPr wrap="none" anchor="ctr">
            <a:spAutoFit/>
          </a:bodyPr>
          <a:lstStyle>
            <a:lvl1pPr>
              <a:defRPr sz="3200">
                <a:solidFill>
                  <a:schemeClr val="tx1"/>
                </a:solidFill>
                <a:latin typeface="Times" pitchFamily="-84" charset="0"/>
              </a:defRPr>
            </a:lvl1pPr>
            <a:lvl2pPr marL="742950" indent="-285750">
              <a:defRPr sz="3200">
                <a:solidFill>
                  <a:schemeClr val="tx1"/>
                </a:solidFill>
                <a:latin typeface="Times" pitchFamily="-84" charset="0"/>
              </a:defRPr>
            </a:lvl2pPr>
            <a:lvl3pPr marL="1143000" indent="-228600">
              <a:defRPr sz="3200">
                <a:solidFill>
                  <a:schemeClr val="tx1"/>
                </a:solidFill>
                <a:latin typeface="Times" pitchFamily="-84" charset="0"/>
              </a:defRPr>
            </a:lvl3pPr>
            <a:lvl4pPr marL="1600200" indent="-228600">
              <a:defRPr sz="3200">
                <a:solidFill>
                  <a:schemeClr val="tx1"/>
                </a:solidFill>
                <a:latin typeface="Times" pitchFamily="-84" charset="0"/>
              </a:defRPr>
            </a:lvl4pPr>
            <a:lvl5pPr marL="2057400" indent="-228600">
              <a:defRPr sz="3200">
                <a:solidFill>
                  <a:schemeClr val="tx1"/>
                </a:solidFill>
                <a:latin typeface="Times" pitchFamily="-84" charset="0"/>
              </a:defRPr>
            </a:lvl5pPr>
            <a:lvl6pPr marL="2514600" indent="-228600" eaLnBrk="0" fontAlgn="base" hangingPunct="0">
              <a:spcBef>
                <a:spcPct val="0"/>
              </a:spcBef>
              <a:spcAft>
                <a:spcPct val="0"/>
              </a:spcAft>
              <a:defRPr sz="3200">
                <a:solidFill>
                  <a:schemeClr val="tx1"/>
                </a:solidFill>
                <a:latin typeface="Times" pitchFamily="-84" charset="0"/>
              </a:defRPr>
            </a:lvl6pPr>
            <a:lvl7pPr marL="2971800" indent="-228600" eaLnBrk="0" fontAlgn="base" hangingPunct="0">
              <a:spcBef>
                <a:spcPct val="0"/>
              </a:spcBef>
              <a:spcAft>
                <a:spcPct val="0"/>
              </a:spcAft>
              <a:defRPr sz="3200">
                <a:solidFill>
                  <a:schemeClr val="tx1"/>
                </a:solidFill>
                <a:latin typeface="Times" pitchFamily="-84" charset="0"/>
              </a:defRPr>
            </a:lvl7pPr>
            <a:lvl8pPr marL="3429000" indent="-228600" eaLnBrk="0" fontAlgn="base" hangingPunct="0">
              <a:spcBef>
                <a:spcPct val="0"/>
              </a:spcBef>
              <a:spcAft>
                <a:spcPct val="0"/>
              </a:spcAft>
              <a:defRPr sz="3200">
                <a:solidFill>
                  <a:schemeClr val="tx1"/>
                </a:solidFill>
                <a:latin typeface="Times" pitchFamily="-84" charset="0"/>
              </a:defRPr>
            </a:lvl8pPr>
            <a:lvl9pPr marL="3886200" indent="-228600" eaLnBrk="0" fontAlgn="base" hangingPunct="0">
              <a:spcBef>
                <a:spcPct val="0"/>
              </a:spcBef>
              <a:spcAft>
                <a:spcPct val="0"/>
              </a:spcAft>
              <a:defRPr sz="3200">
                <a:solidFill>
                  <a:schemeClr val="tx1"/>
                </a:solidFill>
                <a:latin typeface="Times" pitchFamily="-84" charset="0"/>
              </a:defRPr>
            </a:lvl9pPr>
          </a:lstStyle>
          <a:p>
            <a:pPr fontAlgn="auto">
              <a:spcBef>
                <a:spcPts val="0"/>
              </a:spcBef>
              <a:spcAft>
                <a:spcPts val="0"/>
              </a:spcAft>
              <a:defRPr/>
            </a:pPr>
            <a:endParaRPr lang="en-US" altLang="en-US" sz="2402" dirty="0">
              <a:cs typeface="+mn-cs"/>
            </a:endParaRPr>
          </a:p>
        </p:txBody>
      </p: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72446313"/>
      </p:ext>
    </p:extLst>
  </p:cSld>
  <p:clrMapOvr>
    <a:masterClrMapping/>
  </p:clrMapOvr>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Nur Titel + Untertitel">
    <p:spTree>
      <p:nvGrpSpPr>
        <p:cNvPr id="1" name=""/>
        <p:cNvGrpSpPr/>
        <p:nvPr/>
      </p:nvGrpSpPr>
      <p:grpSpPr>
        <a:xfrm>
          <a:off x="0" y="0"/>
          <a:ext cx="0" cy="0"/>
          <a:chOff x="0" y="0"/>
          <a:chExt cx="0" cy="0"/>
        </a:xfrm>
      </p:grpSpPr>
      <p:sp>
        <p:nvSpPr>
          <p:cNvPr id="7" name="Titel 1"/>
          <p:cNvSpPr>
            <a:spLocks noGrp="1"/>
          </p:cNvSpPr>
          <p:nvPr>
            <p:ph type="title"/>
          </p:nvPr>
        </p:nvSpPr>
        <p:spPr>
          <a:xfrm>
            <a:off x="383931" y="216200"/>
            <a:ext cx="7145936" cy="195691"/>
          </a:xfrm>
        </p:spPr>
        <p:txBody>
          <a:bodyPr/>
          <a:lstStyle>
            <a:lvl1pPr>
              <a:defRPr baseline="0"/>
            </a:lvl1pPr>
          </a:lstStyle>
          <a:p>
            <a:r>
              <a:rPr lang="de-DE" noProof="0"/>
              <a:t>Titelmasterformat durch Klicken bearbeiten</a:t>
            </a:r>
            <a:endParaRPr lang="en-US" noProof="0" dirty="0"/>
          </a:p>
        </p:txBody>
      </p:sp>
      <p:sp>
        <p:nvSpPr>
          <p:cNvPr id="8" name="Textplatzhalter 2"/>
          <p:cNvSpPr>
            <a:spLocks noGrp="1"/>
          </p:cNvSpPr>
          <p:nvPr>
            <p:ph type="body" idx="13"/>
          </p:nvPr>
        </p:nvSpPr>
        <p:spPr>
          <a:xfrm>
            <a:off x="383931" y="411891"/>
            <a:ext cx="7145936" cy="216200"/>
          </a:xfrm>
        </p:spPr>
        <p:txBody>
          <a:bodyPr tIns="0"/>
          <a:lstStyle>
            <a:lvl1pPr marL="0" indent="0">
              <a:buNone/>
              <a:defRPr sz="1501" cap="all" baseline="0">
                <a:solidFill>
                  <a:schemeClr val="accent4"/>
                </a:solidFill>
              </a:defRPr>
            </a:lvl1pPr>
            <a:lvl2pPr marL="343220" indent="0">
              <a:buNone/>
              <a:defRPr sz="1351">
                <a:solidFill>
                  <a:schemeClr val="tx1">
                    <a:tint val="75000"/>
                  </a:schemeClr>
                </a:solidFill>
              </a:defRPr>
            </a:lvl2pPr>
            <a:lvl3pPr marL="686440" indent="0">
              <a:buNone/>
              <a:defRPr sz="1201">
                <a:solidFill>
                  <a:schemeClr val="tx1">
                    <a:tint val="75000"/>
                  </a:schemeClr>
                </a:solidFill>
              </a:defRPr>
            </a:lvl3pPr>
            <a:lvl4pPr marL="1029660" indent="0">
              <a:buNone/>
              <a:defRPr sz="1051">
                <a:solidFill>
                  <a:schemeClr val="tx1">
                    <a:tint val="75000"/>
                  </a:schemeClr>
                </a:solidFill>
              </a:defRPr>
            </a:lvl4pPr>
            <a:lvl5pPr marL="1372880" indent="0">
              <a:buNone/>
              <a:defRPr sz="1051">
                <a:solidFill>
                  <a:schemeClr val="tx1">
                    <a:tint val="75000"/>
                  </a:schemeClr>
                </a:solidFill>
              </a:defRPr>
            </a:lvl5pPr>
            <a:lvl6pPr marL="1716100" indent="0">
              <a:buNone/>
              <a:defRPr sz="1051">
                <a:solidFill>
                  <a:schemeClr val="tx1">
                    <a:tint val="75000"/>
                  </a:schemeClr>
                </a:solidFill>
              </a:defRPr>
            </a:lvl6pPr>
            <a:lvl7pPr marL="2059320" indent="0">
              <a:buNone/>
              <a:defRPr sz="1051">
                <a:solidFill>
                  <a:schemeClr val="tx1">
                    <a:tint val="75000"/>
                  </a:schemeClr>
                </a:solidFill>
              </a:defRPr>
            </a:lvl7pPr>
            <a:lvl8pPr marL="2402540" indent="0">
              <a:buNone/>
              <a:defRPr sz="1051">
                <a:solidFill>
                  <a:schemeClr val="tx1">
                    <a:tint val="75000"/>
                  </a:schemeClr>
                </a:solidFill>
              </a:defRPr>
            </a:lvl8pPr>
            <a:lvl9pPr marL="2745760" indent="0">
              <a:buNone/>
              <a:defRPr sz="1051">
                <a:solidFill>
                  <a:schemeClr val="tx1">
                    <a:tint val="75000"/>
                  </a:schemeClr>
                </a:solidFill>
              </a:defRPr>
            </a:lvl9pPr>
          </a:lstStyle>
          <a:p>
            <a:pPr lvl="0"/>
            <a:r>
              <a:rPr lang="de-DE" noProof="0"/>
              <a:t>Textmasterformat bearbeiten</a:t>
            </a:r>
          </a:p>
        </p:txBody>
      </p:sp>
      <p:sp>
        <p:nvSpPr>
          <p:cNvPr id="4" name="Datumsplatzhalter 3"/>
          <p:cNvSpPr>
            <a:spLocks noGrp="1"/>
          </p:cNvSpPr>
          <p:nvPr>
            <p:ph type="dt" sz="half" idx="14"/>
          </p:nvPr>
        </p:nvSpPr>
        <p:spPr>
          <a:xfrm>
            <a:off x="384176" y="4999340"/>
            <a:ext cx="900113" cy="135857"/>
          </a:xfrm>
          <a:prstGeom prst="rect">
            <a:avLst/>
          </a:prstGeom>
        </p:spPr>
        <p:txBody>
          <a:bodyPr/>
          <a:lstStyle>
            <a:lvl1pPr fontAlgn="auto">
              <a:spcBef>
                <a:spcPts val="0"/>
              </a:spcBef>
              <a:spcAft>
                <a:spcPts val="0"/>
              </a:spcAft>
              <a:defRPr>
                <a:latin typeface="+mn-lt"/>
                <a:cs typeface="+mn-cs"/>
              </a:defRPr>
            </a:lvl1pPr>
          </a:lstStyle>
          <a:p>
            <a:pPr>
              <a:defRPr/>
            </a:pPr>
            <a:endParaRPr lang="en-US"/>
          </a:p>
        </p:txBody>
      </p:sp>
      <p:sp>
        <p:nvSpPr>
          <p:cNvPr id="5" name="Fußzeilenplatzhalter 4"/>
          <p:cNvSpPr>
            <a:spLocks noGrp="1"/>
          </p:cNvSpPr>
          <p:nvPr>
            <p:ph type="ftr" sz="quarter" idx="15"/>
          </p:nvPr>
        </p:nvSpPr>
        <p:spPr>
          <a:xfrm>
            <a:off x="1439864" y="4999340"/>
            <a:ext cx="6264275" cy="135857"/>
          </a:xfrm>
          <a:prstGeom prst="rect">
            <a:avLst/>
          </a:prstGeom>
        </p:spPr>
        <p:txBody>
          <a:bodyPr/>
          <a:lstStyle>
            <a:lvl1pPr fontAlgn="auto">
              <a:spcBef>
                <a:spcPts val="0"/>
              </a:spcBef>
              <a:spcAft>
                <a:spcPts val="0"/>
              </a:spcAft>
              <a:defRPr>
                <a:latin typeface="+mn-lt"/>
                <a:cs typeface="+mn-cs"/>
              </a:defRPr>
            </a:lvl1pPr>
          </a:lstStyle>
          <a:p>
            <a:pPr>
              <a:defRPr/>
            </a:pPr>
            <a:r>
              <a:rPr lang="en-US"/>
              <a:t>SICK Engineering, Confidential</a:t>
            </a:r>
          </a:p>
        </p:txBody>
      </p:sp>
      <p:sp>
        <p:nvSpPr>
          <p:cNvPr id="6" name="Foliennummernplatzhalter 5"/>
          <p:cNvSpPr>
            <a:spLocks noGrp="1"/>
          </p:cNvSpPr>
          <p:nvPr>
            <p:ph type="sldNum" sz="quarter" idx="16"/>
          </p:nvPr>
        </p:nvSpPr>
        <p:spPr>
          <a:xfrm>
            <a:off x="7859713" y="4999340"/>
            <a:ext cx="900112" cy="135857"/>
          </a:xfrm>
          <a:prstGeom prst="rect">
            <a:avLst/>
          </a:prstGeom>
        </p:spPr>
        <p:txBody>
          <a:bodyPr/>
          <a:lstStyle>
            <a:lvl1pPr fontAlgn="auto">
              <a:spcBef>
                <a:spcPts val="0"/>
              </a:spcBef>
              <a:spcAft>
                <a:spcPts val="0"/>
              </a:spcAft>
              <a:defRPr>
                <a:latin typeface="+mn-lt"/>
                <a:cs typeface="+mn-cs"/>
              </a:defRPr>
            </a:lvl1pPr>
          </a:lstStyle>
          <a:p>
            <a:pPr>
              <a:defRPr/>
            </a:pPr>
            <a:fld id="{2EF08861-E17E-48D0-BD4E-E68E43BC1683}" type="slidenum">
              <a:rPr lang="en-US"/>
              <a:pPr>
                <a:defRPr/>
              </a:pPr>
              <a:t>‹#›</a:t>
            </a:fld>
            <a:endParaRPr lang="en-US" dirty="0"/>
          </a:p>
        </p:txBody>
      </p:sp>
    </p:spTree>
    <p:extLst>
      <p:ext uri="{BB962C8B-B14F-4D97-AF65-F5344CB8AC3E}">
        <p14:creationId xmlns:p14="http://schemas.microsoft.com/office/powerpoint/2010/main" val="1941631979"/>
      </p:ext>
    </p:extLst>
  </p:cSld>
  <p:clrMapOvr>
    <a:masterClrMapping/>
  </p:clrMapOvr>
  <p:transition>
    <p:zoom/>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96788205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4" name="Rectangle 4"/>
          <p:cNvSpPr>
            <a:spLocks noChangeArrowheads="1"/>
          </p:cNvSpPr>
          <p:nvPr/>
        </p:nvSpPr>
        <p:spPr bwMode="auto">
          <a:xfrm>
            <a:off x="319454" y="2115318"/>
            <a:ext cx="8824546" cy="1837644"/>
          </a:xfrm>
          <a:prstGeom prst="rect">
            <a:avLst/>
          </a:prstGeom>
          <a:solidFill>
            <a:srgbClr val="0084C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1700" u="sng">
                <a:solidFill>
                  <a:schemeClr val="tx1"/>
                </a:solidFill>
                <a:latin typeface="Arial" charset="0"/>
                <a:cs typeface="Arial" charset="0"/>
              </a:defRPr>
            </a:lvl1pPr>
            <a:lvl2pPr marL="742950" indent="-285750" eaLnBrk="0" hangingPunct="0">
              <a:defRPr sz="1700" u="sng">
                <a:solidFill>
                  <a:schemeClr val="tx1"/>
                </a:solidFill>
                <a:latin typeface="Arial" charset="0"/>
                <a:cs typeface="Arial" charset="0"/>
              </a:defRPr>
            </a:lvl2pPr>
            <a:lvl3pPr marL="1143000" indent="-228600" eaLnBrk="0" hangingPunct="0">
              <a:defRPr sz="1700" u="sng">
                <a:solidFill>
                  <a:schemeClr val="tx1"/>
                </a:solidFill>
                <a:latin typeface="Arial" charset="0"/>
                <a:cs typeface="Arial" charset="0"/>
              </a:defRPr>
            </a:lvl3pPr>
            <a:lvl4pPr marL="1600200" indent="-228600" eaLnBrk="0" hangingPunct="0">
              <a:defRPr sz="1700" u="sng">
                <a:solidFill>
                  <a:schemeClr val="tx1"/>
                </a:solidFill>
                <a:latin typeface="Arial" charset="0"/>
                <a:cs typeface="Arial" charset="0"/>
              </a:defRPr>
            </a:lvl4pPr>
            <a:lvl5pPr marL="2057400" indent="-228600" eaLnBrk="0" hangingPunct="0">
              <a:defRPr sz="1700" u="sng">
                <a:solidFill>
                  <a:schemeClr val="tx1"/>
                </a:solidFill>
                <a:latin typeface="Arial" charset="0"/>
                <a:cs typeface="Arial" charset="0"/>
              </a:defRPr>
            </a:lvl5pPr>
            <a:lvl6pPr marL="2514600" indent="-228600" eaLnBrk="0" fontAlgn="base" hangingPunct="0">
              <a:spcBef>
                <a:spcPct val="0"/>
              </a:spcBef>
              <a:spcAft>
                <a:spcPct val="0"/>
              </a:spcAft>
              <a:defRPr sz="1700" u="sng">
                <a:solidFill>
                  <a:schemeClr val="tx1"/>
                </a:solidFill>
                <a:latin typeface="Arial" charset="0"/>
                <a:cs typeface="Arial" charset="0"/>
              </a:defRPr>
            </a:lvl6pPr>
            <a:lvl7pPr marL="2971800" indent="-228600" eaLnBrk="0" fontAlgn="base" hangingPunct="0">
              <a:spcBef>
                <a:spcPct val="0"/>
              </a:spcBef>
              <a:spcAft>
                <a:spcPct val="0"/>
              </a:spcAft>
              <a:defRPr sz="1700" u="sng">
                <a:solidFill>
                  <a:schemeClr val="tx1"/>
                </a:solidFill>
                <a:latin typeface="Arial" charset="0"/>
                <a:cs typeface="Arial" charset="0"/>
              </a:defRPr>
            </a:lvl7pPr>
            <a:lvl8pPr marL="3429000" indent="-228600" eaLnBrk="0" fontAlgn="base" hangingPunct="0">
              <a:spcBef>
                <a:spcPct val="0"/>
              </a:spcBef>
              <a:spcAft>
                <a:spcPct val="0"/>
              </a:spcAft>
              <a:defRPr sz="1700" u="sng">
                <a:solidFill>
                  <a:schemeClr val="tx1"/>
                </a:solidFill>
                <a:latin typeface="Arial" charset="0"/>
                <a:cs typeface="Arial" charset="0"/>
              </a:defRPr>
            </a:lvl8pPr>
            <a:lvl9pPr marL="3886200" indent="-228600" eaLnBrk="0" fontAlgn="base" hangingPunct="0">
              <a:spcBef>
                <a:spcPct val="0"/>
              </a:spcBef>
              <a:spcAft>
                <a:spcPct val="0"/>
              </a:spcAft>
              <a:defRPr sz="1700" u="sng">
                <a:solidFill>
                  <a:schemeClr val="tx1"/>
                </a:solidFill>
                <a:latin typeface="Arial" charset="0"/>
                <a:cs typeface="Arial" charset="0"/>
              </a:defRPr>
            </a:lvl9pPr>
          </a:lstStyle>
          <a:p>
            <a:pPr eaLnBrk="1" hangingPunct="1">
              <a:spcBef>
                <a:spcPct val="20000"/>
              </a:spcBef>
              <a:buClr>
                <a:srgbClr val="0084C2"/>
              </a:buClr>
              <a:buSzPct val="130000"/>
              <a:buFont typeface="Times New Roman" pitchFamily="18" charset="0"/>
              <a:buNone/>
              <a:defRPr/>
            </a:pPr>
            <a:endParaRPr lang="en-US" altLang="en-US" sz="1276">
              <a:solidFill>
                <a:srgbClr val="000000"/>
              </a:solidFill>
            </a:endParaRPr>
          </a:p>
        </p:txBody>
      </p:sp>
      <p:sp>
        <p:nvSpPr>
          <p:cNvPr id="5" name="Rectangle 10"/>
          <p:cNvSpPr>
            <a:spLocks noChangeArrowheads="1"/>
          </p:cNvSpPr>
          <p:nvPr/>
        </p:nvSpPr>
        <p:spPr bwMode="auto">
          <a:xfrm>
            <a:off x="549520" y="3088959"/>
            <a:ext cx="7077808" cy="865194"/>
          </a:xfrm>
          <a:prstGeom prst="rect">
            <a:avLst/>
          </a:prstGeom>
          <a:solidFill>
            <a:schemeClr val="accent2"/>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1700" u="sng">
                <a:solidFill>
                  <a:schemeClr val="tx1"/>
                </a:solidFill>
                <a:latin typeface="Arial" charset="0"/>
                <a:cs typeface="Arial" charset="0"/>
              </a:defRPr>
            </a:lvl1pPr>
            <a:lvl2pPr marL="742950" indent="-285750" eaLnBrk="0" hangingPunct="0">
              <a:defRPr sz="1700" u="sng">
                <a:solidFill>
                  <a:schemeClr val="tx1"/>
                </a:solidFill>
                <a:latin typeface="Arial" charset="0"/>
                <a:cs typeface="Arial" charset="0"/>
              </a:defRPr>
            </a:lvl2pPr>
            <a:lvl3pPr marL="1143000" indent="-228600" eaLnBrk="0" hangingPunct="0">
              <a:defRPr sz="1700" u="sng">
                <a:solidFill>
                  <a:schemeClr val="tx1"/>
                </a:solidFill>
                <a:latin typeface="Arial" charset="0"/>
                <a:cs typeface="Arial" charset="0"/>
              </a:defRPr>
            </a:lvl3pPr>
            <a:lvl4pPr marL="1600200" indent="-228600" eaLnBrk="0" hangingPunct="0">
              <a:defRPr sz="1700" u="sng">
                <a:solidFill>
                  <a:schemeClr val="tx1"/>
                </a:solidFill>
                <a:latin typeface="Arial" charset="0"/>
                <a:cs typeface="Arial" charset="0"/>
              </a:defRPr>
            </a:lvl4pPr>
            <a:lvl5pPr marL="2057400" indent="-228600" eaLnBrk="0" hangingPunct="0">
              <a:defRPr sz="1700" u="sng">
                <a:solidFill>
                  <a:schemeClr val="tx1"/>
                </a:solidFill>
                <a:latin typeface="Arial" charset="0"/>
                <a:cs typeface="Arial" charset="0"/>
              </a:defRPr>
            </a:lvl5pPr>
            <a:lvl6pPr marL="2514600" indent="-228600" eaLnBrk="0" fontAlgn="base" hangingPunct="0">
              <a:spcBef>
                <a:spcPct val="0"/>
              </a:spcBef>
              <a:spcAft>
                <a:spcPct val="0"/>
              </a:spcAft>
              <a:defRPr sz="1700" u="sng">
                <a:solidFill>
                  <a:schemeClr val="tx1"/>
                </a:solidFill>
                <a:latin typeface="Arial" charset="0"/>
                <a:cs typeface="Arial" charset="0"/>
              </a:defRPr>
            </a:lvl6pPr>
            <a:lvl7pPr marL="2971800" indent="-228600" eaLnBrk="0" fontAlgn="base" hangingPunct="0">
              <a:spcBef>
                <a:spcPct val="0"/>
              </a:spcBef>
              <a:spcAft>
                <a:spcPct val="0"/>
              </a:spcAft>
              <a:defRPr sz="1700" u="sng">
                <a:solidFill>
                  <a:schemeClr val="tx1"/>
                </a:solidFill>
                <a:latin typeface="Arial" charset="0"/>
                <a:cs typeface="Arial" charset="0"/>
              </a:defRPr>
            </a:lvl7pPr>
            <a:lvl8pPr marL="3429000" indent="-228600" eaLnBrk="0" fontAlgn="base" hangingPunct="0">
              <a:spcBef>
                <a:spcPct val="0"/>
              </a:spcBef>
              <a:spcAft>
                <a:spcPct val="0"/>
              </a:spcAft>
              <a:defRPr sz="1700" u="sng">
                <a:solidFill>
                  <a:schemeClr val="tx1"/>
                </a:solidFill>
                <a:latin typeface="Arial" charset="0"/>
                <a:cs typeface="Arial" charset="0"/>
              </a:defRPr>
            </a:lvl8pPr>
            <a:lvl9pPr marL="3886200" indent="-228600" eaLnBrk="0" fontAlgn="base" hangingPunct="0">
              <a:spcBef>
                <a:spcPct val="0"/>
              </a:spcBef>
              <a:spcAft>
                <a:spcPct val="0"/>
              </a:spcAft>
              <a:defRPr sz="1700" u="sng">
                <a:solidFill>
                  <a:schemeClr val="tx1"/>
                </a:solidFill>
                <a:latin typeface="Arial" charset="0"/>
                <a:cs typeface="Arial" charset="0"/>
              </a:defRPr>
            </a:lvl9pPr>
          </a:lstStyle>
          <a:p>
            <a:pPr eaLnBrk="1" hangingPunct="1">
              <a:spcBef>
                <a:spcPct val="20000"/>
              </a:spcBef>
              <a:buClr>
                <a:srgbClr val="0084C2"/>
              </a:buClr>
              <a:buSzPct val="130000"/>
              <a:buFont typeface="Times New Roman" pitchFamily="18" charset="0"/>
              <a:buNone/>
              <a:defRPr/>
            </a:pPr>
            <a:endParaRPr lang="en-US" altLang="en-US" sz="1276">
              <a:solidFill>
                <a:srgbClr val="000000"/>
              </a:solidFill>
            </a:endParaRPr>
          </a:p>
        </p:txBody>
      </p:sp>
      <p:sp>
        <p:nvSpPr>
          <p:cNvPr id="6" name="Rectangle 5"/>
          <p:cNvSpPr>
            <a:spLocks noChangeArrowheads="1"/>
          </p:cNvSpPr>
          <p:nvPr/>
        </p:nvSpPr>
        <p:spPr bwMode="auto">
          <a:xfrm>
            <a:off x="548054" y="3088958"/>
            <a:ext cx="7082204" cy="1134525"/>
          </a:xfrm>
          <a:prstGeom prst="rect">
            <a:avLst/>
          </a:prstGeom>
          <a:noFill/>
          <a:ln w="9525">
            <a:solidFill>
              <a:schemeClr val="hlink"/>
            </a:solidFill>
            <a:miter lim="800000"/>
            <a:headEnd/>
            <a:tailEnd/>
          </a:ln>
          <a:effectLst/>
          <a:extLst>
            <a:ext uri="{909E8E84-426E-40DD-AFC4-6F175D3DCCD1}">
              <a14:hiddenFill xmlns:a14="http://schemas.microsoft.com/office/drawing/2010/main">
                <a:solidFill>
                  <a:srgbClr val="FFFFFF">
                    <a:alpha val="50195"/>
                  </a:srgbClr>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1700" u="sng">
                <a:solidFill>
                  <a:schemeClr val="tx1"/>
                </a:solidFill>
                <a:latin typeface="Arial" charset="0"/>
                <a:cs typeface="Arial" charset="0"/>
              </a:defRPr>
            </a:lvl1pPr>
            <a:lvl2pPr marL="742950" indent="-285750" eaLnBrk="0" hangingPunct="0">
              <a:defRPr sz="1700" u="sng">
                <a:solidFill>
                  <a:schemeClr val="tx1"/>
                </a:solidFill>
                <a:latin typeface="Arial" charset="0"/>
                <a:cs typeface="Arial" charset="0"/>
              </a:defRPr>
            </a:lvl2pPr>
            <a:lvl3pPr marL="1143000" indent="-228600" eaLnBrk="0" hangingPunct="0">
              <a:defRPr sz="1700" u="sng">
                <a:solidFill>
                  <a:schemeClr val="tx1"/>
                </a:solidFill>
                <a:latin typeface="Arial" charset="0"/>
                <a:cs typeface="Arial" charset="0"/>
              </a:defRPr>
            </a:lvl3pPr>
            <a:lvl4pPr marL="1600200" indent="-228600" eaLnBrk="0" hangingPunct="0">
              <a:defRPr sz="1700" u="sng">
                <a:solidFill>
                  <a:schemeClr val="tx1"/>
                </a:solidFill>
                <a:latin typeface="Arial" charset="0"/>
                <a:cs typeface="Arial" charset="0"/>
              </a:defRPr>
            </a:lvl4pPr>
            <a:lvl5pPr marL="2057400" indent="-228600" eaLnBrk="0" hangingPunct="0">
              <a:defRPr sz="1700" u="sng">
                <a:solidFill>
                  <a:schemeClr val="tx1"/>
                </a:solidFill>
                <a:latin typeface="Arial" charset="0"/>
                <a:cs typeface="Arial" charset="0"/>
              </a:defRPr>
            </a:lvl5pPr>
            <a:lvl6pPr marL="2514600" indent="-228600" eaLnBrk="0" fontAlgn="base" hangingPunct="0">
              <a:spcBef>
                <a:spcPct val="0"/>
              </a:spcBef>
              <a:spcAft>
                <a:spcPct val="0"/>
              </a:spcAft>
              <a:defRPr sz="1700" u="sng">
                <a:solidFill>
                  <a:schemeClr val="tx1"/>
                </a:solidFill>
                <a:latin typeface="Arial" charset="0"/>
                <a:cs typeface="Arial" charset="0"/>
              </a:defRPr>
            </a:lvl6pPr>
            <a:lvl7pPr marL="2971800" indent="-228600" eaLnBrk="0" fontAlgn="base" hangingPunct="0">
              <a:spcBef>
                <a:spcPct val="0"/>
              </a:spcBef>
              <a:spcAft>
                <a:spcPct val="0"/>
              </a:spcAft>
              <a:defRPr sz="1700" u="sng">
                <a:solidFill>
                  <a:schemeClr val="tx1"/>
                </a:solidFill>
                <a:latin typeface="Arial" charset="0"/>
                <a:cs typeface="Arial" charset="0"/>
              </a:defRPr>
            </a:lvl7pPr>
            <a:lvl8pPr marL="3429000" indent="-228600" eaLnBrk="0" fontAlgn="base" hangingPunct="0">
              <a:spcBef>
                <a:spcPct val="0"/>
              </a:spcBef>
              <a:spcAft>
                <a:spcPct val="0"/>
              </a:spcAft>
              <a:defRPr sz="1700" u="sng">
                <a:solidFill>
                  <a:schemeClr val="tx1"/>
                </a:solidFill>
                <a:latin typeface="Arial" charset="0"/>
                <a:cs typeface="Arial" charset="0"/>
              </a:defRPr>
            </a:lvl8pPr>
            <a:lvl9pPr marL="3886200" indent="-228600" eaLnBrk="0" fontAlgn="base" hangingPunct="0">
              <a:spcBef>
                <a:spcPct val="0"/>
              </a:spcBef>
              <a:spcAft>
                <a:spcPct val="0"/>
              </a:spcAft>
              <a:defRPr sz="1700" u="sng">
                <a:solidFill>
                  <a:schemeClr val="tx1"/>
                </a:solidFill>
                <a:latin typeface="Arial" charset="0"/>
                <a:cs typeface="Arial" charset="0"/>
              </a:defRPr>
            </a:lvl9pPr>
          </a:lstStyle>
          <a:p>
            <a:pPr eaLnBrk="1" hangingPunct="1">
              <a:spcBef>
                <a:spcPct val="20000"/>
              </a:spcBef>
              <a:buClr>
                <a:srgbClr val="0084C2"/>
              </a:buClr>
              <a:buSzPct val="130000"/>
              <a:buFont typeface="Times New Roman" pitchFamily="18" charset="0"/>
              <a:buNone/>
              <a:defRPr/>
            </a:pPr>
            <a:endParaRPr lang="en-US" altLang="en-US" sz="1276">
              <a:solidFill>
                <a:srgbClr val="000000"/>
              </a:solidFill>
            </a:endParaRPr>
          </a:p>
        </p:txBody>
      </p:sp>
      <p:grpSp>
        <p:nvGrpSpPr>
          <p:cNvPr id="7" name="Group 93"/>
          <p:cNvGrpSpPr>
            <a:grpSpLocks/>
          </p:cNvGrpSpPr>
          <p:nvPr/>
        </p:nvGrpSpPr>
        <p:grpSpPr bwMode="auto">
          <a:xfrm>
            <a:off x="7630258" y="113216"/>
            <a:ext cx="1195754" cy="396845"/>
            <a:chOff x="5207" y="95"/>
            <a:chExt cx="816" cy="333"/>
          </a:xfrm>
        </p:grpSpPr>
        <p:sp>
          <p:nvSpPr>
            <p:cNvPr id="8" name="AutoShape 53"/>
            <p:cNvSpPr>
              <a:spLocks noChangeAspect="1" noChangeArrowheads="1" noTextEdit="1"/>
            </p:cNvSpPr>
            <p:nvPr userDrawn="1"/>
          </p:nvSpPr>
          <p:spPr bwMode="auto">
            <a:xfrm>
              <a:off x="5207" y="95"/>
              <a:ext cx="816" cy="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z="1276" u="sng">
                <a:solidFill>
                  <a:srgbClr val="000000"/>
                </a:solidFill>
                <a:latin typeface="Arial" charset="0"/>
                <a:cs typeface="Arial"/>
              </a:endParaRPr>
            </a:p>
          </p:txBody>
        </p:sp>
        <p:sp>
          <p:nvSpPr>
            <p:cNvPr id="9" name="Freeform 55"/>
            <p:cNvSpPr>
              <a:spLocks/>
            </p:cNvSpPr>
            <p:nvPr userDrawn="1"/>
          </p:nvSpPr>
          <p:spPr bwMode="auto">
            <a:xfrm>
              <a:off x="5208" y="98"/>
              <a:ext cx="165" cy="184"/>
            </a:xfrm>
            <a:custGeom>
              <a:avLst/>
              <a:gdLst>
                <a:gd name="T0" fmla="*/ 0 w 3308"/>
                <a:gd name="T1" fmla="*/ 0 h 3663"/>
                <a:gd name="T2" fmla="*/ 0 w 3308"/>
                <a:gd name="T3" fmla="*/ 0 h 3663"/>
                <a:gd name="T4" fmla="*/ 0 w 3308"/>
                <a:gd name="T5" fmla="*/ 0 h 3663"/>
                <a:gd name="T6" fmla="*/ 0 w 3308"/>
                <a:gd name="T7" fmla="*/ 0 h 3663"/>
                <a:gd name="T8" fmla="*/ 0 w 3308"/>
                <a:gd name="T9" fmla="*/ 0 h 3663"/>
                <a:gd name="T10" fmla="*/ 0 w 3308"/>
                <a:gd name="T11" fmla="*/ 0 h 3663"/>
                <a:gd name="T12" fmla="*/ 0 w 3308"/>
                <a:gd name="T13" fmla="*/ 0 h 3663"/>
                <a:gd name="T14" fmla="*/ 0 w 3308"/>
                <a:gd name="T15" fmla="*/ 0 h 3663"/>
                <a:gd name="T16" fmla="*/ 0 w 3308"/>
                <a:gd name="T17" fmla="*/ 0 h 3663"/>
                <a:gd name="T18" fmla="*/ 0 w 3308"/>
                <a:gd name="T19" fmla="*/ 0 h 3663"/>
                <a:gd name="T20" fmla="*/ 0 w 3308"/>
                <a:gd name="T21" fmla="*/ 0 h 3663"/>
                <a:gd name="T22" fmla="*/ 0 w 3308"/>
                <a:gd name="T23" fmla="*/ 0 h 3663"/>
                <a:gd name="T24" fmla="*/ 0 w 3308"/>
                <a:gd name="T25" fmla="*/ 0 h 3663"/>
                <a:gd name="T26" fmla="*/ 0 w 3308"/>
                <a:gd name="T27" fmla="*/ 0 h 3663"/>
                <a:gd name="T28" fmla="*/ 0 w 3308"/>
                <a:gd name="T29" fmla="*/ 0 h 3663"/>
                <a:gd name="T30" fmla="*/ 0 w 3308"/>
                <a:gd name="T31" fmla="*/ 0 h 3663"/>
                <a:gd name="T32" fmla="*/ 0 w 3308"/>
                <a:gd name="T33" fmla="*/ 0 h 3663"/>
                <a:gd name="T34" fmla="*/ 0 w 3308"/>
                <a:gd name="T35" fmla="*/ 0 h 3663"/>
                <a:gd name="T36" fmla="*/ 0 w 3308"/>
                <a:gd name="T37" fmla="*/ 0 h 3663"/>
                <a:gd name="T38" fmla="*/ 0 w 3308"/>
                <a:gd name="T39" fmla="*/ 0 h 3663"/>
                <a:gd name="T40" fmla="*/ 0 w 3308"/>
                <a:gd name="T41" fmla="*/ 0 h 3663"/>
                <a:gd name="T42" fmla="*/ 0 w 3308"/>
                <a:gd name="T43" fmla="*/ 0 h 3663"/>
                <a:gd name="T44" fmla="*/ 0 w 3308"/>
                <a:gd name="T45" fmla="*/ 0 h 3663"/>
                <a:gd name="T46" fmla="*/ 0 w 3308"/>
                <a:gd name="T47" fmla="*/ 0 h 3663"/>
                <a:gd name="T48" fmla="*/ 0 w 3308"/>
                <a:gd name="T49" fmla="*/ 0 h 3663"/>
                <a:gd name="T50" fmla="*/ 0 w 3308"/>
                <a:gd name="T51" fmla="*/ 0 h 3663"/>
                <a:gd name="T52" fmla="*/ 0 w 3308"/>
                <a:gd name="T53" fmla="*/ 0 h 3663"/>
                <a:gd name="T54" fmla="*/ 0 w 3308"/>
                <a:gd name="T55" fmla="*/ 0 h 3663"/>
                <a:gd name="T56" fmla="*/ 0 w 3308"/>
                <a:gd name="T57" fmla="*/ 0 h 3663"/>
                <a:gd name="T58" fmla="*/ 0 w 3308"/>
                <a:gd name="T59" fmla="*/ 0 h 3663"/>
                <a:gd name="T60" fmla="*/ 0 w 3308"/>
                <a:gd name="T61" fmla="*/ 0 h 3663"/>
                <a:gd name="T62" fmla="*/ 0 w 3308"/>
                <a:gd name="T63" fmla="*/ 0 h 3663"/>
                <a:gd name="T64" fmla="*/ 0 w 3308"/>
                <a:gd name="T65" fmla="*/ 0 h 3663"/>
                <a:gd name="T66" fmla="*/ 0 w 3308"/>
                <a:gd name="T67" fmla="*/ 0 h 3663"/>
                <a:gd name="T68" fmla="*/ 0 w 3308"/>
                <a:gd name="T69" fmla="*/ 0 h 3663"/>
                <a:gd name="T70" fmla="*/ 0 w 3308"/>
                <a:gd name="T71" fmla="*/ 0 h 3663"/>
                <a:gd name="T72" fmla="*/ 0 w 3308"/>
                <a:gd name="T73" fmla="*/ 0 h 3663"/>
                <a:gd name="T74" fmla="*/ 0 w 3308"/>
                <a:gd name="T75" fmla="*/ 0 h 3663"/>
                <a:gd name="T76" fmla="*/ 0 w 3308"/>
                <a:gd name="T77" fmla="*/ 0 h 3663"/>
                <a:gd name="T78" fmla="*/ 0 w 3308"/>
                <a:gd name="T79" fmla="*/ 0 h 3663"/>
                <a:gd name="T80" fmla="*/ 0 w 3308"/>
                <a:gd name="T81" fmla="*/ 0 h 3663"/>
                <a:gd name="T82" fmla="*/ 0 w 3308"/>
                <a:gd name="T83" fmla="*/ 0 h 3663"/>
                <a:gd name="T84" fmla="*/ 0 w 3308"/>
                <a:gd name="T85" fmla="*/ 0 h 3663"/>
                <a:gd name="T86" fmla="*/ 0 w 3308"/>
                <a:gd name="T87" fmla="*/ 0 h 3663"/>
                <a:gd name="T88" fmla="*/ 0 w 3308"/>
                <a:gd name="T89" fmla="*/ 0 h 3663"/>
                <a:gd name="T90" fmla="*/ 0 w 3308"/>
                <a:gd name="T91" fmla="*/ 0 h 3663"/>
                <a:gd name="T92" fmla="*/ 0 w 3308"/>
                <a:gd name="T93" fmla="*/ 0 h 3663"/>
                <a:gd name="T94" fmla="*/ 0 w 3308"/>
                <a:gd name="T95" fmla="*/ 0 h 3663"/>
                <a:gd name="T96" fmla="*/ 0 w 3308"/>
                <a:gd name="T97" fmla="*/ 0 h 3663"/>
                <a:gd name="T98" fmla="*/ 0 w 3308"/>
                <a:gd name="T99" fmla="*/ 0 h 3663"/>
                <a:gd name="T100" fmla="*/ 0 w 3308"/>
                <a:gd name="T101" fmla="*/ 0 h 3663"/>
                <a:gd name="T102" fmla="*/ 0 w 3308"/>
                <a:gd name="T103" fmla="*/ 0 h 3663"/>
                <a:gd name="T104" fmla="*/ 0 w 3308"/>
                <a:gd name="T105" fmla="*/ 0 h 3663"/>
                <a:gd name="T106" fmla="*/ 0 w 3308"/>
                <a:gd name="T107" fmla="*/ 0 h 3663"/>
                <a:gd name="T108" fmla="*/ 0 w 3308"/>
                <a:gd name="T109" fmla="*/ 0 h 3663"/>
                <a:gd name="T110" fmla="*/ 0 w 3308"/>
                <a:gd name="T111" fmla="*/ 0 h 3663"/>
                <a:gd name="T112" fmla="*/ 0 w 3308"/>
                <a:gd name="T113" fmla="*/ 0 h 3663"/>
                <a:gd name="T114" fmla="*/ 0 w 3308"/>
                <a:gd name="T115" fmla="*/ 0 h 36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308" h="3663">
                  <a:moveTo>
                    <a:pt x="6" y="2779"/>
                  </a:moveTo>
                  <a:lnTo>
                    <a:pt x="8" y="2836"/>
                  </a:lnTo>
                  <a:lnTo>
                    <a:pt x="13" y="2891"/>
                  </a:lnTo>
                  <a:lnTo>
                    <a:pt x="20" y="2944"/>
                  </a:lnTo>
                  <a:lnTo>
                    <a:pt x="31" y="2995"/>
                  </a:lnTo>
                  <a:lnTo>
                    <a:pt x="43" y="3044"/>
                  </a:lnTo>
                  <a:lnTo>
                    <a:pt x="60" y="3090"/>
                  </a:lnTo>
                  <a:lnTo>
                    <a:pt x="78" y="3135"/>
                  </a:lnTo>
                  <a:lnTo>
                    <a:pt x="99" y="3178"/>
                  </a:lnTo>
                  <a:lnTo>
                    <a:pt x="122" y="3219"/>
                  </a:lnTo>
                  <a:lnTo>
                    <a:pt x="147" y="3257"/>
                  </a:lnTo>
                  <a:lnTo>
                    <a:pt x="175" y="3295"/>
                  </a:lnTo>
                  <a:lnTo>
                    <a:pt x="204" y="3330"/>
                  </a:lnTo>
                  <a:lnTo>
                    <a:pt x="235" y="3363"/>
                  </a:lnTo>
                  <a:lnTo>
                    <a:pt x="269" y="3395"/>
                  </a:lnTo>
                  <a:lnTo>
                    <a:pt x="303" y="3424"/>
                  </a:lnTo>
                  <a:lnTo>
                    <a:pt x="340" y="3452"/>
                  </a:lnTo>
                  <a:lnTo>
                    <a:pt x="378" y="3478"/>
                  </a:lnTo>
                  <a:lnTo>
                    <a:pt x="417" y="3503"/>
                  </a:lnTo>
                  <a:lnTo>
                    <a:pt x="456" y="3525"/>
                  </a:lnTo>
                  <a:lnTo>
                    <a:pt x="498" y="3546"/>
                  </a:lnTo>
                  <a:lnTo>
                    <a:pt x="541" y="3565"/>
                  </a:lnTo>
                  <a:lnTo>
                    <a:pt x="584" y="3582"/>
                  </a:lnTo>
                  <a:lnTo>
                    <a:pt x="628" y="3597"/>
                  </a:lnTo>
                  <a:lnTo>
                    <a:pt x="673" y="3611"/>
                  </a:lnTo>
                  <a:lnTo>
                    <a:pt x="718" y="3623"/>
                  </a:lnTo>
                  <a:lnTo>
                    <a:pt x="764" y="3634"/>
                  </a:lnTo>
                  <a:lnTo>
                    <a:pt x="810" y="3642"/>
                  </a:lnTo>
                  <a:lnTo>
                    <a:pt x="857" y="3649"/>
                  </a:lnTo>
                  <a:lnTo>
                    <a:pt x="903" y="3656"/>
                  </a:lnTo>
                  <a:lnTo>
                    <a:pt x="950" y="3660"/>
                  </a:lnTo>
                  <a:lnTo>
                    <a:pt x="997" y="3662"/>
                  </a:lnTo>
                  <a:lnTo>
                    <a:pt x="1043" y="3663"/>
                  </a:lnTo>
                  <a:lnTo>
                    <a:pt x="1230" y="3663"/>
                  </a:lnTo>
                  <a:lnTo>
                    <a:pt x="1392" y="3663"/>
                  </a:lnTo>
                  <a:lnTo>
                    <a:pt x="1534" y="3663"/>
                  </a:lnTo>
                  <a:lnTo>
                    <a:pt x="1664" y="3663"/>
                  </a:lnTo>
                  <a:lnTo>
                    <a:pt x="1789" y="3663"/>
                  </a:lnTo>
                  <a:lnTo>
                    <a:pt x="1916" y="3663"/>
                  </a:lnTo>
                  <a:lnTo>
                    <a:pt x="2052" y="3663"/>
                  </a:lnTo>
                  <a:lnTo>
                    <a:pt x="2203" y="3663"/>
                  </a:lnTo>
                  <a:lnTo>
                    <a:pt x="2260" y="3661"/>
                  </a:lnTo>
                  <a:lnTo>
                    <a:pt x="2317" y="3656"/>
                  </a:lnTo>
                  <a:lnTo>
                    <a:pt x="2373" y="3647"/>
                  </a:lnTo>
                  <a:lnTo>
                    <a:pt x="2428" y="3636"/>
                  </a:lnTo>
                  <a:lnTo>
                    <a:pt x="2481" y="3623"/>
                  </a:lnTo>
                  <a:lnTo>
                    <a:pt x="2534" y="3606"/>
                  </a:lnTo>
                  <a:lnTo>
                    <a:pt x="2586" y="3586"/>
                  </a:lnTo>
                  <a:lnTo>
                    <a:pt x="2636" y="3564"/>
                  </a:lnTo>
                  <a:lnTo>
                    <a:pt x="2685" y="3538"/>
                  </a:lnTo>
                  <a:lnTo>
                    <a:pt x="2733" y="3512"/>
                  </a:lnTo>
                  <a:lnTo>
                    <a:pt x="2780" y="3482"/>
                  </a:lnTo>
                  <a:lnTo>
                    <a:pt x="2825" y="3451"/>
                  </a:lnTo>
                  <a:lnTo>
                    <a:pt x="2868" y="3416"/>
                  </a:lnTo>
                  <a:lnTo>
                    <a:pt x="2909" y="3381"/>
                  </a:lnTo>
                  <a:lnTo>
                    <a:pt x="2949" y="3343"/>
                  </a:lnTo>
                  <a:lnTo>
                    <a:pt x="2988" y="3303"/>
                  </a:lnTo>
                  <a:lnTo>
                    <a:pt x="3024" y="3263"/>
                  </a:lnTo>
                  <a:lnTo>
                    <a:pt x="3058" y="3220"/>
                  </a:lnTo>
                  <a:lnTo>
                    <a:pt x="3091" y="3176"/>
                  </a:lnTo>
                  <a:lnTo>
                    <a:pt x="3122" y="3130"/>
                  </a:lnTo>
                  <a:lnTo>
                    <a:pt x="3150" y="3083"/>
                  </a:lnTo>
                  <a:lnTo>
                    <a:pt x="3177" y="3035"/>
                  </a:lnTo>
                  <a:lnTo>
                    <a:pt x="3200" y="2987"/>
                  </a:lnTo>
                  <a:lnTo>
                    <a:pt x="3223" y="2937"/>
                  </a:lnTo>
                  <a:lnTo>
                    <a:pt x="3242" y="2886"/>
                  </a:lnTo>
                  <a:lnTo>
                    <a:pt x="3259" y="2834"/>
                  </a:lnTo>
                  <a:lnTo>
                    <a:pt x="3274" y="2782"/>
                  </a:lnTo>
                  <a:lnTo>
                    <a:pt x="3286" y="2730"/>
                  </a:lnTo>
                  <a:lnTo>
                    <a:pt x="3296" y="2676"/>
                  </a:lnTo>
                  <a:lnTo>
                    <a:pt x="3302" y="2623"/>
                  </a:lnTo>
                  <a:lnTo>
                    <a:pt x="3306" y="2570"/>
                  </a:lnTo>
                  <a:lnTo>
                    <a:pt x="3308" y="2516"/>
                  </a:lnTo>
                  <a:lnTo>
                    <a:pt x="3306" y="2458"/>
                  </a:lnTo>
                  <a:lnTo>
                    <a:pt x="3302" y="2401"/>
                  </a:lnTo>
                  <a:lnTo>
                    <a:pt x="3295" y="2345"/>
                  </a:lnTo>
                  <a:lnTo>
                    <a:pt x="3286" y="2290"/>
                  </a:lnTo>
                  <a:lnTo>
                    <a:pt x="3274" y="2236"/>
                  </a:lnTo>
                  <a:lnTo>
                    <a:pt x="3258" y="2183"/>
                  </a:lnTo>
                  <a:lnTo>
                    <a:pt x="3241" y="2131"/>
                  </a:lnTo>
                  <a:lnTo>
                    <a:pt x="3222" y="2080"/>
                  </a:lnTo>
                  <a:lnTo>
                    <a:pt x="3199" y="2032"/>
                  </a:lnTo>
                  <a:lnTo>
                    <a:pt x="3175" y="1983"/>
                  </a:lnTo>
                  <a:lnTo>
                    <a:pt x="3148" y="1936"/>
                  </a:lnTo>
                  <a:lnTo>
                    <a:pt x="3120" y="1891"/>
                  </a:lnTo>
                  <a:lnTo>
                    <a:pt x="3089" y="1847"/>
                  </a:lnTo>
                  <a:lnTo>
                    <a:pt x="3056" y="1805"/>
                  </a:lnTo>
                  <a:lnTo>
                    <a:pt x="3022" y="1765"/>
                  </a:lnTo>
                  <a:lnTo>
                    <a:pt x="2985" y="1726"/>
                  </a:lnTo>
                  <a:lnTo>
                    <a:pt x="2946" y="1688"/>
                  </a:lnTo>
                  <a:lnTo>
                    <a:pt x="2906" y="1654"/>
                  </a:lnTo>
                  <a:lnTo>
                    <a:pt x="2865" y="1620"/>
                  </a:lnTo>
                  <a:lnTo>
                    <a:pt x="2821" y="1589"/>
                  </a:lnTo>
                  <a:lnTo>
                    <a:pt x="2776" y="1560"/>
                  </a:lnTo>
                  <a:lnTo>
                    <a:pt x="2730" y="1533"/>
                  </a:lnTo>
                  <a:lnTo>
                    <a:pt x="2682" y="1507"/>
                  </a:lnTo>
                  <a:lnTo>
                    <a:pt x="2633" y="1485"/>
                  </a:lnTo>
                  <a:lnTo>
                    <a:pt x="2582" y="1464"/>
                  </a:lnTo>
                  <a:lnTo>
                    <a:pt x="2531" y="1446"/>
                  </a:lnTo>
                  <a:lnTo>
                    <a:pt x="2478" y="1430"/>
                  </a:lnTo>
                  <a:lnTo>
                    <a:pt x="2424" y="1417"/>
                  </a:lnTo>
                  <a:lnTo>
                    <a:pt x="2369" y="1405"/>
                  </a:lnTo>
                  <a:lnTo>
                    <a:pt x="2314" y="1397"/>
                  </a:lnTo>
                  <a:lnTo>
                    <a:pt x="2257" y="1392"/>
                  </a:lnTo>
                  <a:lnTo>
                    <a:pt x="2199" y="1389"/>
                  </a:lnTo>
                  <a:lnTo>
                    <a:pt x="1075" y="1389"/>
                  </a:lnTo>
                  <a:lnTo>
                    <a:pt x="1048" y="1383"/>
                  </a:lnTo>
                  <a:lnTo>
                    <a:pt x="1022" y="1375"/>
                  </a:lnTo>
                  <a:lnTo>
                    <a:pt x="998" y="1366"/>
                  </a:lnTo>
                  <a:lnTo>
                    <a:pt x="977" y="1353"/>
                  </a:lnTo>
                  <a:lnTo>
                    <a:pt x="957" y="1340"/>
                  </a:lnTo>
                  <a:lnTo>
                    <a:pt x="939" y="1326"/>
                  </a:lnTo>
                  <a:lnTo>
                    <a:pt x="922" y="1310"/>
                  </a:lnTo>
                  <a:lnTo>
                    <a:pt x="908" y="1291"/>
                  </a:lnTo>
                  <a:lnTo>
                    <a:pt x="895" y="1273"/>
                  </a:lnTo>
                  <a:lnTo>
                    <a:pt x="884" y="1254"/>
                  </a:lnTo>
                  <a:lnTo>
                    <a:pt x="875" y="1233"/>
                  </a:lnTo>
                  <a:lnTo>
                    <a:pt x="867" y="1212"/>
                  </a:lnTo>
                  <a:lnTo>
                    <a:pt x="862" y="1190"/>
                  </a:lnTo>
                  <a:lnTo>
                    <a:pt x="858" y="1168"/>
                  </a:lnTo>
                  <a:lnTo>
                    <a:pt x="856" y="1146"/>
                  </a:lnTo>
                  <a:lnTo>
                    <a:pt x="855" y="1123"/>
                  </a:lnTo>
                  <a:lnTo>
                    <a:pt x="856" y="1101"/>
                  </a:lnTo>
                  <a:lnTo>
                    <a:pt x="859" y="1078"/>
                  </a:lnTo>
                  <a:lnTo>
                    <a:pt x="864" y="1057"/>
                  </a:lnTo>
                  <a:lnTo>
                    <a:pt x="870" y="1035"/>
                  </a:lnTo>
                  <a:lnTo>
                    <a:pt x="879" y="1014"/>
                  </a:lnTo>
                  <a:lnTo>
                    <a:pt x="889" y="994"/>
                  </a:lnTo>
                  <a:lnTo>
                    <a:pt x="900" y="975"/>
                  </a:lnTo>
                  <a:lnTo>
                    <a:pt x="913" y="956"/>
                  </a:lnTo>
                  <a:lnTo>
                    <a:pt x="928" y="940"/>
                  </a:lnTo>
                  <a:lnTo>
                    <a:pt x="944" y="924"/>
                  </a:lnTo>
                  <a:lnTo>
                    <a:pt x="961" y="909"/>
                  </a:lnTo>
                  <a:lnTo>
                    <a:pt x="982" y="896"/>
                  </a:lnTo>
                  <a:lnTo>
                    <a:pt x="1002" y="886"/>
                  </a:lnTo>
                  <a:lnTo>
                    <a:pt x="1025" y="877"/>
                  </a:lnTo>
                  <a:lnTo>
                    <a:pt x="1049" y="870"/>
                  </a:lnTo>
                  <a:lnTo>
                    <a:pt x="1075" y="865"/>
                  </a:lnTo>
                  <a:lnTo>
                    <a:pt x="1233" y="865"/>
                  </a:lnTo>
                  <a:lnTo>
                    <a:pt x="1503" y="865"/>
                  </a:lnTo>
                  <a:lnTo>
                    <a:pt x="1845" y="865"/>
                  </a:lnTo>
                  <a:lnTo>
                    <a:pt x="2218" y="865"/>
                  </a:lnTo>
                  <a:lnTo>
                    <a:pt x="2579" y="865"/>
                  </a:lnTo>
                  <a:lnTo>
                    <a:pt x="2889" y="865"/>
                  </a:lnTo>
                  <a:lnTo>
                    <a:pt x="3105" y="865"/>
                  </a:lnTo>
                  <a:lnTo>
                    <a:pt x="3186" y="865"/>
                  </a:lnTo>
                  <a:lnTo>
                    <a:pt x="3185" y="820"/>
                  </a:lnTo>
                  <a:lnTo>
                    <a:pt x="3182" y="775"/>
                  </a:lnTo>
                  <a:lnTo>
                    <a:pt x="3177" y="731"/>
                  </a:lnTo>
                  <a:lnTo>
                    <a:pt x="3170" y="689"/>
                  </a:lnTo>
                  <a:lnTo>
                    <a:pt x="3160" y="647"/>
                  </a:lnTo>
                  <a:lnTo>
                    <a:pt x="3149" y="605"/>
                  </a:lnTo>
                  <a:lnTo>
                    <a:pt x="3136" y="565"/>
                  </a:lnTo>
                  <a:lnTo>
                    <a:pt x="3122" y="526"/>
                  </a:lnTo>
                  <a:lnTo>
                    <a:pt x="3104" y="487"/>
                  </a:lnTo>
                  <a:lnTo>
                    <a:pt x="3086" y="450"/>
                  </a:lnTo>
                  <a:lnTo>
                    <a:pt x="3065" y="414"/>
                  </a:lnTo>
                  <a:lnTo>
                    <a:pt x="3044" y="379"/>
                  </a:lnTo>
                  <a:lnTo>
                    <a:pt x="3021" y="344"/>
                  </a:lnTo>
                  <a:lnTo>
                    <a:pt x="2995" y="312"/>
                  </a:lnTo>
                  <a:lnTo>
                    <a:pt x="2969" y="281"/>
                  </a:lnTo>
                  <a:lnTo>
                    <a:pt x="2940" y="251"/>
                  </a:lnTo>
                  <a:lnTo>
                    <a:pt x="2910" y="222"/>
                  </a:lnTo>
                  <a:lnTo>
                    <a:pt x="2880" y="196"/>
                  </a:lnTo>
                  <a:lnTo>
                    <a:pt x="2847" y="170"/>
                  </a:lnTo>
                  <a:lnTo>
                    <a:pt x="2813" y="146"/>
                  </a:lnTo>
                  <a:lnTo>
                    <a:pt x="2777" y="123"/>
                  </a:lnTo>
                  <a:lnTo>
                    <a:pt x="2741" y="103"/>
                  </a:lnTo>
                  <a:lnTo>
                    <a:pt x="2702" y="85"/>
                  </a:lnTo>
                  <a:lnTo>
                    <a:pt x="2664" y="67"/>
                  </a:lnTo>
                  <a:lnTo>
                    <a:pt x="2624" y="52"/>
                  </a:lnTo>
                  <a:lnTo>
                    <a:pt x="2582" y="38"/>
                  </a:lnTo>
                  <a:lnTo>
                    <a:pt x="2539" y="27"/>
                  </a:lnTo>
                  <a:lnTo>
                    <a:pt x="2496" y="18"/>
                  </a:lnTo>
                  <a:lnTo>
                    <a:pt x="2451" y="9"/>
                  </a:lnTo>
                  <a:lnTo>
                    <a:pt x="2406" y="4"/>
                  </a:lnTo>
                  <a:lnTo>
                    <a:pt x="2360" y="1"/>
                  </a:lnTo>
                  <a:lnTo>
                    <a:pt x="2312" y="0"/>
                  </a:lnTo>
                  <a:lnTo>
                    <a:pt x="2121" y="0"/>
                  </a:lnTo>
                  <a:lnTo>
                    <a:pt x="1916" y="0"/>
                  </a:lnTo>
                  <a:lnTo>
                    <a:pt x="1710" y="0"/>
                  </a:lnTo>
                  <a:lnTo>
                    <a:pt x="1513" y="0"/>
                  </a:lnTo>
                  <a:lnTo>
                    <a:pt x="1340" y="0"/>
                  </a:lnTo>
                  <a:lnTo>
                    <a:pt x="1201" y="0"/>
                  </a:lnTo>
                  <a:lnTo>
                    <a:pt x="1108" y="0"/>
                  </a:lnTo>
                  <a:lnTo>
                    <a:pt x="1075" y="0"/>
                  </a:lnTo>
                  <a:lnTo>
                    <a:pt x="1016" y="1"/>
                  </a:lnTo>
                  <a:lnTo>
                    <a:pt x="958" y="6"/>
                  </a:lnTo>
                  <a:lnTo>
                    <a:pt x="901" y="14"/>
                  </a:lnTo>
                  <a:lnTo>
                    <a:pt x="846" y="25"/>
                  </a:lnTo>
                  <a:lnTo>
                    <a:pt x="792" y="38"/>
                  </a:lnTo>
                  <a:lnTo>
                    <a:pt x="740" y="54"/>
                  </a:lnTo>
                  <a:lnTo>
                    <a:pt x="688" y="74"/>
                  </a:lnTo>
                  <a:lnTo>
                    <a:pt x="639" y="95"/>
                  </a:lnTo>
                  <a:lnTo>
                    <a:pt x="590" y="118"/>
                  </a:lnTo>
                  <a:lnTo>
                    <a:pt x="544" y="145"/>
                  </a:lnTo>
                  <a:lnTo>
                    <a:pt x="499" y="173"/>
                  </a:lnTo>
                  <a:lnTo>
                    <a:pt x="455" y="205"/>
                  </a:lnTo>
                  <a:lnTo>
                    <a:pt x="413" y="237"/>
                  </a:lnTo>
                  <a:lnTo>
                    <a:pt x="374" y="272"/>
                  </a:lnTo>
                  <a:lnTo>
                    <a:pt x="335" y="309"/>
                  </a:lnTo>
                  <a:lnTo>
                    <a:pt x="299" y="347"/>
                  </a:lnTo>
                  <a:lnTo>
                    <a:pt x="265" y="388"/>
                  </a:lnTo>
                  <a:lnTo>
                    <a:pt x="232" y="430"/>
                  </a:lnTo>
                  <a:lnTo>
                    <a:pt x="201" y="473"/>
                  </a:lnTo>
                  <a:lnTo>
                    <a:pt x="173" y="517"/>
                  </a:lnTo>
                  <a:lnTo>
                    <a:pt x="145" y="564"/>
                  </a:lnTo>
                  <a:lnTo>
                    <a:pt x="121" y="611"/>
                  </a:lnTo>
                  <a:lnTo>
                    <a:pt x="98" y="660"/>
                  </a:lnTo>
                  <a:lnTo>
                    <a:pt x="79" y="710"/>
                  </a:lnTo>
                  <a:lnTo>
                    <a:pt x="61" y="761"/>
                  </a:lnTo>
                  <a:lnTo>
                    <a:pt x="44" y="812"/>
                  </a:lnTo>
                  <a:lnTo>
                    <a:pt x="31" y="865"/>
                  </a:lnTo>
                  <a:lnTo>
                    <a:pt x="20" y="918"/>
                  </a:lnTo>
                  <a:lnTo>
                    <a:pt x="12" y="971"/>
                  </a:lnTo>
                  <a:lnTo>
                    <a:pt x="5" y="1026"/>
                  </a:lnTo>
                  <a:lnTo>
                    <a:pt x="1" y="1080"/>
                  </a:lnTo>
                  <a:lnTo>
                    <a:pt x="0" y="1134"/>
                  </a:lnTo>
                  <a:lnTo>
                    <a:pt x="1" y="1192"/>
                  </a:lnTo>
                  <a:lnTo>
                    <a:pt x="5" y="1248"/>
                  </a:lnTo>
                  <a:lnTo>
                    <a:pt x="13" y="1302"/>
                  </a:lnTo>
                  <a:lnTo>
                    <a:pt x="22" y="1357"/>
                  </a:lnTo>
                  <a:lnTo>
                    <a:pt x="33" y="1411"/>
                  </a:lnTo>
                  <a:lnTo>
                    <a:pt x="47" y="1464"/>
                  </a:lnTo>
                  <a:lnTo>
                    <a:pt x="65" y="1515"/>
                  </a:lnTo>
                  <a:lnTo>
                    <a:pt x="84" y="1566"/>
                  </a:lnTo>
                  <a:lnTo>
                    <a:pt x="104" y="1616"/>
                  </a:lnTo>
                  <a:lnTo>
                    <a:pt x="129" y="1664"/>
                  </a:lnTo>
                  <a:lnTo>
                    <a:pt x="154" y="1711"/>
                  </a:lnTo>
                  <a:lnTo>
                    <a:pt x="182" y="1757"/>
                  </a:lnTo>
                  <a:lnTo>
                    <a:pt x="212" y="1800"/>
                  </a:lnTo>
                  <a:lnTo>
                    <a:pt x="243" y="1843"/>
                  </a:lnTo>
                  <a:lnTo>
                    <a:pt x="277" y="1884"/>
                  </a:lnTo>
                  <a:lnTo>
                    <a:pt x="312" y="1923"/>
                  </a:lnTo>
                  <a:lnTo>
                    <a:pt x="349" y="1960"/>
                  </a:lnTo>
                  <a:lnTo>
                    <a:pt x="389" y="1996"/>
                  </a:lnTo>
                  <a:lnTo>
                    <a:pt x="429" y="2029"/>
                  </a:lnTo>
                  <a:lnTo>
                    <a:pt x="472" y="2061"/>
                  </a:lnTo>
                  <a:lnTo>
                    <a:pt x="514" y="2091"/>
                  </a:lnTo>
                  <a:lnTo>
                    <a:pt x="559" y="2118"/>
                  </a:lnTo>
                  <a:lnTo>
                    <a:pt x="606" y="2142"/>
                  </a:lnTo>
                  <a:lnTo>
                    <a:pt x="654" y="2166"/>
                  </a:lnTo>
                  <a:lnTo>
                    <a:pt x="703" y="2186"/>
                  </a:lnTo>
                  <a:lnTo>
                    <a:pt x="753" y="2204"/>
                  </a:lnTo>
                  <a:lnTo>
                    <a:pt x="804" y="2219"/>
                  </a:lnTo>
                  <a:lnTo>
                    <a:pt x="856" y="2232"/>
                  </a:lnTo>
                  <a:lnTo>
                    <a:pt x="910" y="2242"/>
                  </a:lnTo>
                  <a:lnTo>
                    <a:pt x="964" y="2249"/>
                  </a:lnTo>
                  <a:lnTo>
                    <a:pt x="1019" y="2253"/>
                  </a:lnTo>
                  <a:lnTo>
                    <a:pt x="1075" y="2254"/>
                  </a:lnTo>
                  <a:lnTo>
                    <a:pt x="2203" y="2254"/>
                  </a:lnTo>
                  <a:lnTo>
                    <a:pt x="2228" y="2262"/>
                  </a:lnTo>
                  <a:lnTo>
                    <a:pt x="2253" y="2270"/>
                  </a:lnTo>
                  <a:lnTo>
                    <a:pt x="2276" y="2279"/>
                  </a:lnTo>
                  <a:lnTo>
                    <a:pt x="2297" y="2291"/>
                  </a:lnTo>
                  <a:lnTo>
                    <a:pt x="2318" y="2304"/>
                  </a:lnTo>
                  <a:lnTo>
                    <a:pt x="2336" y="2319"/>
                  </a:lnTo>
                  <a:lnTo>
                    <a:pt x="2352" y="2335"/>
                  </a:lnTo>
                  <a:lnTo>
                    <a:pt x="2368" y="2351"/>
                  </a:lnTo>
                  <a:lnTo>
                    <a:pt x="2381" y="2370"/>
                  </a:lnTo>
                  <a:lnTo>
                    <a:pt x="2393" y="2389"/>
                  </a:lnTo>
                  <a:lnTo>
                    <a:pt x="2403" y="2408"/>
                  </a:lnTo>
                  <a:lnTo>
                    <a:pt x="2413" y="2429"/>
                  </a:lnTo>
                  <a:lnTo>
                    <a:pt x="2420" y="2450"/>
                  </a:lnTo>
                  <a:lnTo>
                    <a:pt x="2425" y="2470"/>
                  </a:lnTo>
                  <a:lnTo>
                    <a:pt x="2428" y="2493"/>
                  </a:lnTo>
                  <a:lnTo>
                    <a:pt x="2430" y="2514"/>
                  </a:lnTo>
                  <a:lnTo>
                    <a:pt x="2430" y="2536"/>
                  </a:lnTo>
                  <a:lnTo>
                    <a:pt x="2428" y="2558"/>
                  </a:lnTo>
                  <a:lnTo>
                    <a:pt x="2424" y="2579"/>
                  </a:lnTo>
                  <a:lnTo>
                    <a:pt x="2419" y="2600"/>
                  </a:lnTo>
                  <a:lnTo>
                    <a:pt x="2412" y="2621"/>
                  </a:lnTo>
                  <a:lnTo>
                    <a:pt x="2402" y="2640"/>
                  </a:lnTo>
                  <a:lnTo>
                    <a:pt x="2391" y="2660"/>
                  </a:lnTo>
                  <a:lnTo>
                    <a:pt x="2378" y="2678"/>
                  </a:lnTo>
                  <a:lnTo>
                    <a:pt x="2363" y="2695"/>
                  </a:lnTo>
                  <a:lnTo>
                    <a:pt x="2346" y="2712"/>
                  </a:lnTo>
                  <a:lnTo>
                    <a:pt x="2327" y="2727"/>
                  </a:lnTo>
                  <a:lnTo>
                    <a:pt x="2307" y="2740"/>
                  </a:lnTo>
                  <a:lnTo>
                    <a:pt x="2283" y="2752"/>
                  </a:lnTo>
                  <a:lnTo>
                    <a:pt x="2259" y="2764"/>
                  </a:lnTo>
                  <a:lnTo>
                    <a:pt x="2231" y="2772"/>
                  </a:lnTo>
                  <a:lnTo>
                    <a:pt x="2203" y="2779"/>
                  </a:lnTo>
                  <a:lnTo>
                    <a:pt x="2021" y="2779"/>
                  </a:lnTo>
                  <a:lnTo>
                    <a:pt x="1732" y="2779"/>
                  </a:lnTo>
                  <a:lnTo>
                    <a:pt x="1375" y="2779"/>
                  </a:lnTo>
                  <a:lnTo>
                    <a:pt x="991" y="2779"/>
                  </a:lnTo>
                  <a:lnTo>
                    <a:pt x="622" y="2779"/>
                  </a:lnTo>
                  <a:lnTo>
                    <a:pt x="307" y="2779"/>
                  </a:lnTo>
                  <a:lnTo>
                    <a:pt x="88" y="2779"/>
                  </a:lnTo>
                  <a:lnTo>
                    <a:pt x="6" y="277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276" u="sng">
                <a:solidFill>
                  <a:srgbClr val="000000"/>
                </a:solidFill>
                <a:latin typeface="Arial" charset="0"/>
                <a:cs typeface="Arial"/>
              </a:endParaRPr>
            </a:p>
          </p:txBody>
        </p:sp>
        <p:sp>
          <p:nvSpPr>
            <p:cNvPr id="10" name="Rectangle 56"/>
            <p:cNvSpPr>
              <a:spLocks noChangeArrowheads="1"/>
            </p:cNvSpPr>
            <p:nvPr userDrawn="1"/>
          </p:nvSpPr>
          <p:spPr bwMode="auto">
            <a:xfrm>
              <a:off x="5390" y="98"/>
              <a:ext cx="43" cy="184"/>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700" u="sng">
                  <a:solidFill>
                    <a:schemeClr val="tx1"/>
                  </a:solidFill>
                  <a:latin typeface="Arial" charset="0"/>
                  <a:cs typeface="Arial" charset="0"/>
                </a:defRPr>
              </a:lvl1pPr>
              <a:lvl2pPr marL="742950" indent="-285750" eaLnBrk="0" hangingPunct="0">
                <a:defRPr sz="1700" u="sng">
                  <a:solidFill>
                    <a:schemeClr val="tx1"/>
                  </a:solidFill>
                  <a:latin typeface="Arial" charset="0"/>
                  <a:cs typeface="Arial" charset="0"/>
                </a:defRPr>
              </a:lvl2pPr>
              <a:lvl3pPr marL="1143000" indent="-228600" eaLnBrk="0" hangingPunct="0">
                <a:defRPr sz="1700" u="sng">
                  <a:solidFill>
                    <a:schemeClr val="tx1"/>
                  </a:solidFill>
                  <a:latin typeface="Arial" charset="0"/>
                  <a:cs typeface="Arial" charset="0"/>
                </a:defRPr>
              </a:lvl3pPr>
              <a:lvl4pPr marL="1600200" indent="-228600" eaLnBrk="0" hangingPunct="0">
                <a:defRPr sz="1700" u="sng">
                  <a:solidFill>
                    <a:schemeClr val="tx1"/>
                  </a:solidFill>
                  <a:latin typeface="Arial" charset="0"/>
                  <a:cs typeface="Arial" charset="0"/>
                </a:defRPr>
              </a:lvl4pPr>
              <a:lvl5pPr marL="2057400" indent="-228600" eaLnBrk="0" hangingPunct="0">
                <a:defRPr sz="1700" u="sng">
                  <a:solidFill>
                    <a:schemeClr val="tx1"/>
                  </a:solidFill>
                  <a:latin typeface="Arial" charset="0"/>
                  <a:cs typeface="Arial" charset="0"/>
                </a:defRPr>
              </a:lvl5pPr>
              <a:lvl6pPr marL="2514600" indent="-228600" eaLnBrk="0" fontAlgn="base" hangingPunct="0">
                <a:spcBef>
                  <a:spcPct val="0"/>
                </a:spcBef>
                <a:spcAft>
                  <a:spcPct val="0"/>
                </a:spcAft>
                <a:defRPr sz="1700" u="sng">
                  <a:solidFill>
                    <a:schemeClr val="tx1"/>
                  </a:solidFill>
                  <a:latin typeface="Arial" charset="0"/>
                  <a:cs typeface="Arial" charset="0"/>
                </a:defRPr>
              </a:lvl6pPr>
              <a:lvl7pPr marL="2971800" indent="-228600" eaLnBrk="0" fontAlgn="base" hangingPunct="0">
                <a:spcBef>
                  <a:spcPct val="0"/>
                </a:spcBef>
                <a:spcAft>
                  <a:spcPct val="0"/>
                </a:spcAft>
                <a:defRPr sz="1700" u="sng">
                  <a:solidFill>
                    <a:schemeClr val="tx1"/>
                  </a:solidFill>
                  <a:latin typeface="Arial" charset="0"/>
                  <a:cs typeface="Arial" charset="0"/>
                </a:defRPr>
              </a:lvl7pPr>
              <a:lvl8pPr marL="3429000" indent="-228600" eaLnBrk="0" fontAlgn="base" hangingPunct="0">
                <a:spcBef>
                  <a:spcPct val="0"/>
                </a:spcBef>
                <a:spcAft>
                  <a:spcPct val="0"/>
                </a:spcAft>
                <a:defRPr sz="1700" u="sng">
                  <a:solidFill>
                    <a:schemeClr val="tx1"/>
                  </a:solidFill>
                  <a:latin typeface="Arial" charset="0"/>
                  <a:cs typeface="Arial" charset="0"/>
                </a:defRPr>
              </a:lvl8pPr>
              <a:lvl9pPr marL="3886200" indent="-228600" eaLnBrk="0" fontAlgn="base" hangingPunct="0">
                <a:spcBef>
                  <a:spcPct val="0"/>
                </a:spcBef>
                <a:spcAft>
                  <a:spcPct val="0"/>
                </a:spcAft>
                <a:defRPr sz="1700" u="sng">
                  <a:solidFill>
                    <a:schemeClr val="tx1"/>
                  </a:solidFill>
                  <a:latin typeface="Arial" charset="0"/>
                  <a:cs typeface="Arial" charset="0"/>
                </a:defRPr>
              </a:lvl9pPr>
            </a:lstStyle>
            <a:p>
              <a:pPr eaLnBrk="1" hangingPunct="1">
                <a:spcBef>
                  <a:spcPct val="20000"/>
                </a:spcBef>
                <a:buClr>
                  <a:srgbClr val="0084C2"/>
                </a:buClr>
                <a:buSzPct val="130000"/>
                <a:buFont typeface="Times New Roman" pitchFamily="18" charset="0"/>
                <a:buNone/>
                <a:defRPr/>
              </a:pPr>
              <a:endParaRPr lang="en-US" altLang="en-US" sz="1276">
                <a:solidFill>
                  <a:srgbClr val="000000"/>
                </a:solidFill>
              </a:endParaRPr>
            </a:p>
          </p:txBody>
        </p:sp>
        <p:sp>
          <p:nvSpPr>
            <p:cNvPr id="11" name="Freeform 57"/>
            <p:cNvSpPr>
              <a:spLocks/>
            </p:cNvSpPr>
            <p:nvPr userDrawn="1"/>
          </p:nvSpPr>
          <p:spPr bwMode="auto">
            <a:xfrm>
              <a:off x="5452" y="95"/>
              <a:ext cx="178" cy="191"/>
            </a:xfrm>
            <a:custGeom>
              <a:avLst/>
              <a:gdLst>
                <a:gd name="T0" fmla="*/ 0 w 3567"/>
                <a:gd name="T1" fmla="*/ 0 h 3816"/>
                <a:gd name="T2" fmla="*/ 0 w 3567"/>
                <a:gd name="T3" fmla="*/ 0 h 3816"/>
                <a:gd name="T4" fmla="*/ 0 w 3567"/>
                <a:gd name="T5" fmla="*/ 0 h 3816"/>
                <a:gd name="T6" fmla="*/ 0 w 3567"/>
                <a:gd name="T7" fmla="*/ 0 h 3816"/>
                <a:gd name="T8" fmla="*/ 0 w 3567"/>
                <a:gd name="T9" fmla="*/ 0 h 3816"/>
                <a:gd name="T10" fmla="*/ 0 w 3567"/>
                <a:gd name="T11" fmla="*/ 0 h 3816"/>
                <a:gd name="T12" fmla="*/ 0 w 3567"/>
                <a:gd name="T13" fmla="*/ 0 h 3816"/>
                <a:gd name="T14" fmla="*/ 0 w 3567"/>
                <a:gd name="T15" fmla="*/ 0 h 3816"/>
                <a:gd name="T16" fmla="*/ 0 w 3567"/>
                <a:gd name="T17" fmla="*/ 0 h 3816"/>
                <a:gd name="T18" fmla="*/ 0 w 3567"/>
                <a:gd name="T19" fmla="*/ 0 h 3816"/>
                <a:gd name="T20" fmla="*/ 0 w 3567"/>
                <a:gd name="T21" fmla="*/ 0 h 3816"/>
                <a:gd name="T22" fmla="*/ 0 w 3567"/>
                <a:gd name="T23" fmla="*/ 0 h 3816"/>
                <a:gd name="T24" fmla="*/ 0 w 3567"/>
                <a:gd name="T25" fmla="*/ 0 h 3816"/>
                <a:gd name="T26" fmla="*/ 0 w 3567"/>
                <a:gd name="T27" fmla="*/ 0 h 3816"/>
                <a:gd name="T28" fmla="*/ 0 w 3567"/>
                <a:gd name="T29" fmla="*/ 0 h 3816"/>
                <a:gd name="T30" fmla="*/ 0 w 3567"/>
                <a:gd name="T31" fmla="*/ 0 h 3816"/>
                <a:gd name="T32" fmla="*/ 0 w 3567"/>
                <a:gd name="T33" fmla="*/ 0 h 3816"/>
                <a:gd name="T34" fmla="*/ 0 w 3567"/>
                <a:gd name="T35" fmla="*/ 0 h 3816"/>
                <a:gd name="T36" fmla="*/ 0 w 3567"/>
                <a:gd name="T37" fmla="*/ 0 h 3816"/>
                <a:gd name="T38" fmla="*/ 0 w 3567"/>
                <a:gd name="T39" fmla="*/ 0 h 3816"/>
                <a:gd name="T40" fmla="*/ 0 w 3567"/>
                <a:gd name="T41" fmla="*/ 0 h 3816"/>
                <a:gd name="T42" fmla="*/ 0 w 3567"/>
                <a:gd name="T43" fmla="*/ 0 h 3816"/>
                <a:gd name="T44" fmla="*/ 0 w 3567"/>
                <a:gd name="T45" fmla="*/ 0 h 3816"/>
                <a:gd name="T46" fmla="*/ 0 w 3567"/>
                <a:gd name="T47" fmla="*/ 0 h 3816"/>
                <a:gd name="T48" fmla="*/ 0 w 3567"/>
                <a:gd name="T49" fmla="*/ 0 h 3816"/>
                <a:gd name="T50" fmla="*/ 0 w 3567"/>
                <a:gd name="T51" fmla="*/ 0 h 3816"/>
                <a:gd name="T52" fmla="*/ 0 w 3567"/>
                <a:gd name="T53" fmla="*/ 0 h 3816"/>
                <a:gd name="T54" fmla="*/ 0 w 3567"/>
                <a:gd name="T55" fmla="*/ 0 h 3816"/>
                <a:gd name="T56" fmla="*/ 0 w 3567"/>
                <a:gd name="T57" fmla="*/ 0 h 3816"/>
                <a:gd name="T58" fmla="*/ 0 w 3567"/>
                <a:gd name="T59" fmla="*/ 0 h 3816"/>
                <a:gd name="T60" fmla="*/ 0 w 3567"/>
                <a:gd name="T61" fmla="*/ 0 h 3816"/>
                <a:gd name="T62" fmla="*/ 0 w 3567"/>
                <a:gd name="T63" fmla="*/ 0 h 3816"/>
                <a:gd name="T64" fmla="*/ 0 w 3567"/>
                <a:gd name="T65" fmla="*/ 0 h 3816"/>
                <a:gd name="T66" fmla="*/ 0 w 3567"/>
                <a:gd name="T67" fmla="*/ 0 h 3816"/>
                <a:gd name="T68" fmla="*/ 0 w 3567"/>
                <a:gd name="T69" fmla="*/ 0 h 3816"/>
                <a:gd name="T70" fmla="*/ 0 w 3567"/>
                <a:gd name="T71" fmla="*/ 0 h 3816"/>
                <a:gd name="T72" fmla="*/ 0 w 3567"/>
                <a:gd name="T73" fmla="*/ 0 h 3816"/>
                <a:gd name="T74" fmla="*/ 0 w 3567"/>
                <a:gd name="T75" fmla="*/ 0 h 3816"/>
                <a:gd name="T76" fmla="*/ 0 w 3567"/>
                <a:gd name="T77" fmla="*/ 0 h 3816"/>
                <a:gd name="T78" fmla="*/ 0 w 3567"/>
                <a:gd name="T79" fmla="*/ 0 h 3816"/>
                <a:gd name="T80" fmla="*/ 0 w 3567"/>
                <a:gd name="T81" fmla="*/ 0 h 3816"/>
                <a:gd name="T82" fmla="*/ 0 w 3567"/>
                <a:gd name="T83" fmla="*/ 0 h 3816"/>
                <a:gd name="T84" fmla="*/ 0 w 3567"/>
                <a:gd name="T85" fmla="*/ 0 h 3816"/>
                <a:gd name="T86" fmla="*/ 0 w 3567"/>
                <a:gd name="T87" fmla="*/ 0 h 3816"/>
                <a:gd name="T88" fmla="*/ 0 w 3567"/>
                <a:gd name="T89" fmla="*/ 0 h 3816"/>
                <a:gd name="T90" fmla="*/ 0 w 3567"/>
                <a:gd name="T91" fmla="*/ 0 h 3816"/>
                <a:gd name="T92" fmla="*/ 0 w 3567"/>
                <a:gd name="T93" fmla="*/ 0 h 3816"/>
                <a:gd name="T94" fmla="*/ 0 w 3567"/>
                <a:gd name="T95" fmla="*/ 0 h 3816"/>
                <a:gd name="T96" fmla="*/ 0 w 3567"/>
                <a:gd name="T97" fmla="*/ 0 h 3816"/>
                <a:gd name="T98" fmla="*/ 0 w 3567"/>
                <a:gd name="T99" fmla="*/ 0 h 3816"/>
                <a:gd name="T100" fmla="*/ 0 w 3567"/>
                <a:gd name="T101" fmla="*/ 0 h 381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567" h="3816">
                  <a:moveTo>
                    <a:pt x="3567" y="2804"/>
                  </a:moveTo>
                  <a:lnTo>
                    <a:pt x="3535" y="2860"/>
                  </a:lnTo>
                  <a:lnTo>
                    <a:pt x="3503" y="2915"/>
                  </a:lnTo>
                  <a:lnTo>
                    <a:pt x="3469" y="2968"/>
                  </a:lnTo>
                  <a:lnTo>
                    <a:pt x="3433" y="3021"/>
                  </a:lnTo>
                  <a:lnTo>
                    <a:pt x="3396" y="3072"/>
                  </a:lnTo>
                  <a:lnTo>
                    <a:pt x="3356" y="3122"/>
                  </a:lnTo>
                  <a:lnTo>
                    <a:pt x="3315" y="3170"/>
                  </a:lnTo>
                  <a:lnTo>
                    <a:pt x="3272" y="3216"/>
                  </a:lnTo>
                  <a:lnTo>
                    <a:pt x="3228" y="3262"/>
                  </a:lnTo>
                  <a:lnTo>
                    <a:pt x="3183" y="3306"/>
                  </a:lnTo>
                  <a:lnTo>
                    <a:pt x="3136" y="3348"/>
                  </a:lnTo>
                  <a:lnTo>
                    <a:pt x="3087" y="3390"/>
                  </a:lnTo>
                  <a:lnTo>
                    <a:pt x="3039" y="3428"/>
                  </a:lnTo>
                  <a:lnTo>
                    <a:pt x="2988" y="3466"/>
                  </a:lnTo>
                  <a:lnTo>
                    <a:pt x="2935" y="3502"/>
                  </a:lnTo>
                  <a:lnTo>
                    <a:pt x="2881" y="3536"/>
                  </a:lnTo>
                  <a:lnTo>
                    <a:pt x="2827" y="3569"/>
                  </a:lnTo>
                  <a:lnTo>
                    <a:pt x="2771" y="3599"/>
                  </a:lnTo>
                  <a:lnTo>
                    <a:pt x="2714" y="3628"/>
                  </a:lnTo>
                  <a:lnTo>
                    <a:pt x="2656" y="3655"/>
                  </a:lnTo>
                  <a:lnTo>
                    <a:pt x="2598" y="3680"/>
                  </a:lnTo>
                  <a:lnTo>
                    <a:pt x="2538" y="3703"/>
                  </a:lnTo>
                  <a:lnTo>
                    <a:pt x="2476" y="3724"/>
                  </a:lnTo>
                  <a:lnTo>
                    <a:pt x="2415" y="3743"/>
                  </a:lnTo>
                  <a:lnTo>
                    <a:pt x="2352" y="3760"/>
                  </a:lnTo>
                  <a:lnTo>
                    <a:pt x="2289" y="3774"/>
                  </a:lnTo>
                  <a:lnTo>
                    <a:pt x="2225" y="3788"/>
                  </a:lnTo>
                  <a:lnTo>
                    <a:pt x="2159" y="3798"/>
                  </a:lnTo>
                  <a:lnTo>
                    <a:pt x="2094" y="3806"/>
                  </a:lnTo>
                  <a:lnTo>
                    <a:pt x="2028" y="3811"/>
                  </a:lnTo>
                  <a:lnTo>
                    <a:pt x="1960" y="3815"/>
                  </a:lnTo>
                  <a:lnTo>
                    <a:pt x="1893" y="3816"/>
                  </a:lnTo>
                  <a:lnTo>
                    <a:pt x="1795" y="3814"/>
                  </a:lnTo>
                  <a:lnTo>
                    <a:pt x="1699" y="3806"/>
                  </a:lnTo>
                  <a:lnTo>
                    <a:pt x="1604" y="3795"/>
                  </a:lnTo>
                  <a:lnTo>
                    <a:pt x="1511" y="3777"/>
                  </a:lnTo>
                  <a:lnTo>
                    <a:pt x="1420" y="3756"/>
                  </a:lnTo>
                  <a:lnTo>
                    <a:pt x="1330" y="3731"/>
                  </a:lnTo>
                  <a:lnTo>
                    <a:pt x="1241" y="3700"/>
                  </a:lnTo>
                  <a:lnTo>
                    <a:pt x="1156" y="3667"/>
                  </a:lnTo>
                  <a:lnTo>
                    <a:pt x="1072" y="3628"/>
                  </a:lnTo>
                  <a:lnTo>
                    <a:pt x="990" y="3586"/>
                  </a:lnTo>
                  <a:lnTo>
                    <a:pt x="911" y="3540"/>
                  </a:lnTo>
                  <a:lnTo>
                    <a:pt x="834" y="3490"/>
                  </a:lnTo>
                  <a:lnTo>
                    <a:pt x="760" y="3437"/>
                  </a:lnTo>
                  <a:lnTo>
                    <a:pt x="688" y="3380"/>
                  </a:lnTo>
                  <a:lnTo>
                    <a:pt x="620" y="3320"/>
                  </a:lnTo>
                  <a:lnTo>
                    <a:pt x="554" y="3257"/>
                  </a:lnTo>
                  <a:lnTo>
                    <a:pt x="492" y="3191"/>
                  </a:lnTo>
                  <a:lnTo>
                    <a:pt x="431" y="3122"/>
                  </a:lnTo>
                  <a:lnTo>
                    <a:pt x="375" y="3049"/>
                  </a:lnTo>
                  <a:lnTo>
                    <a:pt x="322" y="2975"/>
                  </a:lnTo>
                  <a:lnTo>
                    <a:pt x="273" y="2898"/>
                  </a:lnTo>
                  <a:lnTo>
                    <a:pt x="227" y="2817"/>
                  </a:lnTo>
                  <a:lnTo>
                    <a:pt x="186" y="2736"/>
                  </a:lnTo>
                  <a:lnTo>
                    <a:pt x="148" y="2650"/>
                  </a:lnTo>
                  <a:lnTo>
                    <a:pt x="114" y="2564"/>
                  </a:lnTo>
                  <a:lnTo>
                    <a:pt x="85" y="2475"/>
                  </a:lnTo>
                  <a:lnTo>
                    <a:pt x="59" y="2385"/>
                  </a:lnTo>
                  <a:lnTo>
                    <a:pt x="38" y="2293"/>
                  </a:lnTo>
                  <a:lnTo>
                    <a:pt x="21" y="2198"/>
                  </a:lnTo>
                  <a:lnTo>
                    <a:pt x="9" y="2104"/>
                  </a:lnTo>
                  <a:lnTo>
                    <a:pt x="2" y="2006"/>
                  </a:lnTo>
                  <a:lnTo>
                    <a:pt x="0" y="1908"/>
                  </a:lnTo>
                  <a:lnTo>
                    <a:pt x="2" y="1810"/>
                  </a:lnTo>
                  <a:lnTo>
                    <a:pt x="9" y="1713"/>
                  </a:lnTo>
                  <a:lnTo>
                    <a:pt x="21" y="1618"/>
                  </a:lnTo>
                  <a:lnTo>
                    <a:pt x="38" y="1523"/>
                  </a:lnTo>
                  <a:lnTo>
                    <a:pt x="59" y="1432"/>
                  </a:lnTo>
                  <a:lnTo>
                    <a:pt x="85" y="1341"/>
                  </a:lnTo>
                  <a:lnTo>
                    <a:pt x="114" y="1252"/>
                  </a:lnTo>
                  <a:lnTo>
                    <a:pt x="148" y="1166"/>
                  </a:lnTo>
                  <a:lnTo>
                    <a:pt x="186" y="1081"/>
                  </a:lnTo>
                  <a:lnTo>
                    <a:pt x="227" y="999"/>
                  </a:lnTo>
                  <a:lnTo>
                    <a:pt x="273" y="918"/>
                  </a:lnTo>
                  <a:lnTo>
                    <a:pt x="322" y="841"/>
                  </a:lnTo>
                  <a:lnTo>
                    <a:pt x="375" y="767"/>
                  </a:lnTo>
                  <a:lnTo>
                    <a:pt x="431" y="694"/>
                  </a:lnTo>
                  <a:lnTo>
                    <a:pt x="492" y="625"/>
                  </a:lnTo>
                  <a:lnTo>
                    <a:pt x="554" y="559"/>
                  </a:lnTo>
                  <a:lnTo>
                    <a:pt x="620" y="496"/>
                  </a:lnTo>
                  <a:lnTo>
                    <a:pt x="688" y="436"/>
                  </a:lnTo>
                  <a:lnTo>
                    <a:pt x="760" y="379"/>
                  </a:lnTo>
                  <a:lnTo>
                    <a:pt x="834" y="326"/>
                  </a:lnTo>
                  <a:lnTo>
                    <a:pt x="911" y="276"/>
                  </a:lnTo>
                  <a:lnTo>
                    <a:pt x="990" y="230"/>
                  </a:lnTo>
                  <a:lnTo>
                    <a:pt x="1072" y="188"/>
                  </a:lnTo>
                  <a:lnTo>
                    <a:pt x="1156" y="150"/>
                  </a:lnTo>
                  <a:lnTo>
                    <a:pt x="1241" y="116"/>
                  </a:lnTo>
                  <a:lnTo>
                    <a:pt x="1330" y="86"/>
                  </a:lnTo>
                  <a:lnTo>
                    <a:pt x="1420" y="60"/>
                  </a:lnTo>
                  <a:lnTo>
                    <a:pt x="1511" y="39"/>
                  </a:lnTo>
                  <a:lnTo>
                    <a:pt x="1604" y="22"/>
                  </a:lnTo>
                  <a:lnTo>
                    <a:pt x="1699" y="10"/>
                  </a:lnTo>
                  <a:lnTo>
                    <a:pt x="1795" y="2"/>
                  </a:lnTo>
                  <a:lnTo>
                    <a:pt x="1893" y="0"/>
                  </a:lnTo>
                  <a:lnTo>
                    <a:pt x="1959" y="1"/>
                  </a:lnTo>
                  <a:lnTo>
                    <a:pt x="2026" y="5"/>
                  </a:lnTo>
                  <a:lnTo>
                    <a:pt x="2092" y="10"/>
                  </a:lnTo>
                  <a:lnTo>
                    <a:pt x="2156" y="18"/>
                  </a:lnTo>
                  <a:lnTo>
                    <a:pt x="2221" y="29"/>
                  </a:lnTo>
                  <a:lnTo>
                    <a:pt x="2285" y="41"/>
                  </a:lnTo>
                  <a:lnTo>
                    <a:pt x="2348" y="56"/>
                  </a:lnTo>
                  <a:lnTo>
                    <a:pt x="2409" y="72"/>
                  </a:lnTo>
                  <a:lnTo>
                    <a:pt x="2470" y="91"/>
                  </a:lnTo>
                  <a:lnTo>
                    <a:pt x="2532" y="111"/>
                  </a:lnTo>
                  <a:lnTo>
                    <a:pt x="2591" y="134"/>
                  </a:lnTo>
                  <a:lnTo>
                    <a:pt x="2649" y="159"/>
                  </a:lnTo>
                  <a:lnTo>
                    <a:pt x="2706" y="185"/>
                  </a:lnTo>
                  <a:lnTo>
                    <a:pt x="2763" y="213"/>
                  </a:lnTo>
                  <a:lnTo>
                    <a:pt x="2818" y="243"/>
                  </a:lnTo>
                  <a:lnTo>
                    <a:pt x="2872" y="275"/>
                  </a:lnTo>
                  <a:lnTo>
                    <a:pt x="2925" y="309"/>
                  </a:lnTo>
                  <a:lnTo>
                    <a:pt x="2977" y="344"/>
                  </a:lnTo>
                  <a:lnTo>
                    <a:pt x="3027" y="381"/>
                  </a:lnTo>
                  <a:lnTo>
                    <a:pt x="3077" y="419"/>
                  </a:lnTo>
                  <a:lnTo>
                    <a:pt x="3125" y="459"/>
                  </a:lnTo>
                  <a:lnTo>
                    <a:pt x="3171" y="501"/>
                  </a:lnTo>
                  <a:lnTo>
                    <a:pt x="3217" y="545"/>
                  </a:lnTo>
                  <a:lnTo>
                    <a:pt x="3261" y="590"/>
                  </a:lnTo>
                  <a:lnTo>
                    <a:pt x="3303" y="635"/>
                  </a:lnTo>
                  <a:lnTo>
                    <a:pt x="3343" y="682"/>
                  </a:lnTo>
                  <a:lnTo>
                    <a:pt x="3383" y="731"/>
                  </a:lnTo>
                  <a:lnTo>
                    <a:pt x="3421" y="782"/>
                  </a:lnTo>
                  <a:lnTo>
                    <a:pt x="3457" y="833"/>
                  </a:lnTo>
                  <a:lnTo>
                    <a:pt x="3491" y="886"/>
                  </a:lnTo>
                  <a:lnTo>
                    <a:pt x="3524" y="940"/>
                  </a:lnTo>
                  <a:lnTo>
                    <a:pt x="3555" y="995"/>
                  </a:lnTo>
                  <a:lnTo>
                    <a:pt x="2779" y="1412"/>
                  </a:lnTo>
                  <a:lnTo>
                    <a:pt x="2762" y="1383"/>
                  </a:lnTo>
                  <a:lnTo>
                    <a:pt x="2745" y="1353"/>
                  </a:lnTo>
                  <a:lnTo>
                    <a:pt x="2726" y="1326"/>
                  </a:lnTo>
                  <a:lnTo>
                    <a:pt x="2707" y="1298"/>
                  </a:lnTo>
                  <a:lnTo>
                    <a:pt x="2687" y="1271"/>
                  </a:lnTo>
                  <a:lnTo>
                    <a:pt x="2665" y="1244"/>
                  </a:lnTo>
                  <a:lnTo>
                    <a:pt x="2643" y="1219"/>
                  </a:lnTo>
                  <a:lnTo>
                    <a:pt x="2620" y="1194"/>
                  </a:lnTo>
                  <a:lnTo>
                    <a:pt x="2597" y="1171"/>
                  </a:lnTo>
                  <a:lnTo>
                    <a:pt x="2572" y="1148"/>
                  </a:lnTo>
                  <a:lnTo>
                    <a:pt x="2548" y="1125"/>
                  </a:lnTo>
                  <a:lnTo>
                    <a:pt x="2522" y="1104"/>
                  </a:lnTo>
                  <a:lnTo>
                    <a:pt x="2496" y="1083"/>
                  </a:lnTo>
                  <a:lnTo>
                    <a:pt x="2468" y="1063"/>
                  </a:lnTo>
                  <a:lnTo>
                    <a:pt x="2441" y="1045"/>
                  </a:lnTo>
                  <a:lnTo>
                    <a:pt x="2412" y="1026"/>
                  </a:lnTo>
                  <a:lnTo>
                    <a:pt x="2384" y="1009"/>
                  </a:lnTo>
                  <a:lnTo>
                    <a:pt x="2354" y="994"/>
                  </a:lnTo>
                  <a:lnTo>
                    <a:pt x="2323" y="978"/>
                  </a:lnTo>
                  <a:lnTo>
                    <a:pt x="2293" y="964"/>
                  </a:lnTo>
                  <a:lnTo>
                    <a:pt x="2262" y="951"/>
                  </a:lnTo>
                  <a:lnTo>
                    <a:pt x="2231" y="939"/>
                  </a:lnTo>
                  <a:lnTo>
                    <a:pt x="2198" y="929"/>
                  </a:lnTo>
                  <a:lnTo>
                    <a:pt x="2166" y="918"/>
                  </a:lnTo>
                  <a:lnTo>
                    <a:pt x="2133" y="909"/>
                  </a:lnTo>
                  <a:lnTo>
                    <a:pt x="2100" y="902"/>
                  </a:lnTo>
                  <a:lnTo>
                    <a:pt x="2066" y="895"/>
                  </a:lnTo>
                  <a:lnTo>
                    <a:pt x="2032" y="890"/>
                  </a:lnTo>
                  <a:lnTo>
                    <a:pt x="1997" y="886"/>
                  </a:lnTo>
                  <a:lnTo>
                    <a:pt x="1962" y="883"/>
                  </a:lnTo>
                  <a:lnTo>
                    <a:pt x="1928" y="881"/>
                  </a:lnTo>
                  <a:lnTo>
                    <a:pt x="1893" y="880"/>
                  </a:lnTo>
                  <a:lnTo>
                    <a:pt x="1841" y="882"/>
                  </a:lnTo>
                  <a:lnTo>
                    <a:pt x="1790" y="886"/>
                  </a:lnTo>
                  <a:lnTo>
                    <a:pt x="1740" y="892"/>
                  </a:lnTo>
                  <a:lnTo>
                    <a:pt x="1691" y="901"/>
                  </a:lnTo>
                  <a:lnTo>
                    <a:pt x="1642" y="912"/>
                  </a:lnTo>
                  <a:lnTo>
                    <a:pt x="1594" y="926"/>
                  </a:lnTo>
                  <a:lnTo>
                    <a:pt x="1548" y="942"/>
                  </a:lnTo>
                  <a:lnTo>
                    <a:pt x="1502" y="960"/>
                  </a:lnTo>
                  <a:lnTo>
                    <a:pt x="1458" y="981"/>
                  </a:lnTo>
                  <a:lnTo>
                    <a:pt x="1414" y="1003"/>
                  </a:lnTo>
                  <a:lnTo>
                    <a:pt x="1372" y="1027"/>
                  </a:lnTo>
                  <a:lnTo>
                    <a:pt x="1330" y="1054"/>
                  </a:lnTo>
                  <a:lnTo>
                    <a:pt x="1290" y="1082"/>
                  </a:lnTo>
                  <a:lnTo>
                    <a:pt x="1252" y="1112"/>
                  </a:lnTo>
                  <a:lnTo>
                    <a:pt x="1216" y="1144"/>
                  </a:lnTo>
                  <a:lnTo>
                    <a:pt x="1180" y="1178"/>
                  </a:lnTo>
                  <a:lnTo>
                    <a:pt x="1146" y="1214"/>
                  </a:lnTo>
                  <a:lnTo>
                    <a:pt x="1115" y="1251"/>
                  </a:lnTo>
                  <a:lnTo>
                    <a:pt x="1084" y="1290"/>
                  </a:lnTo>
                  <a:lnTo>
                    <a:pt x="1056" y="1330"/>
                  </a:lnTo>
                  <a:lnTo>
                    <a:pt x="1029" y="1372"/>
                  </a:lnTo>
                  <a:lnTo>
                    <a:pt x="1005" y="1414"/>
                  </a:lnTo>
                  <a:lnTo>
                    <a:pt x="982" y="1459"/>
                  </a:lnTo>
                  <a:lnTo>
                    <a:pt x="962" y="1505"/>
                  </a:lnTo>
                  <a:lnTo>
                    <a:pt x="943" y="1552"/>
                  </a:lnTo>
                  <a:lnTo>
                    <a:pt x="927" y="1600"/>
                  </a:lnTo>
                  <a:lnTo>
                    <a:pt x="913" y="1648"/>
                  </a:lnTo>
                  <a:lnTo>
                    <a:pt x="902" y="1698"/>
                  </a:lnTo>
                  <a:lnTo>
                    <a:pt x="892" y="1749"/>
                  </a:lnTo>
                  <a:lnTo>
                    <a:pt x="886" y="1802"/>
                  </a:lnTo>
                  <a:lnTo>
                    <a:pt x="882" y="1854"/>
                  </a:lnTo>
                  <a:lnTo>
                    <a:pt x="881" y="1908"/>
                  </a:lnTo>
                  <a:lnTo>
                    <a:pt x="882" y="1962"/>
                  </a:lnTo>
                  <a:lnTo>
                    <a:pt x="886" y="2015"/>
                  </a:lnTo>
                  <a:lnTo>
                    <a:pt x="892" y="2067"/>
                  </a:lnTo>
                  <a:lnTo>
                    <a:pt x="902" y="2118"/>
                  </a:lnTo>
                  <a:lnTo>
                    <a:pt x="913" y="2168"/>
                  </a:lnTo>
                  <a:lnTo>
                    <a:pt x="927" y="2217"/>
                  </a:lnTo>
                  <a:lnTo>
                    <a:pt x="943" y="2264"/>
                  </a:lnTo>
                  <a:lnTo>
                    <a:pt x="962" y="2311"/>
                  </a:lnTo>
                  <a:lnTo>
                    <a:pt x="982" y="2357"/>
                  </a:lnTo>
                  <a:lnTo>
                    <a:pt x="1005" y="2402"/>
                  </a:lnTo>
                  <a:lnTo>
                    <a:pt x="1029" y="2445"/>
                  </a:lnTo>
                  <a:lnTo>
                    <a:pt x="1056" y="2486"/>
                  </a:lnTo>
                  <a:lnTo>
                    <a:pt x="1084" y="2526"/>
                  </a:lnTo>
                  <a:lnTo>
                    <a:pt x="1115" y="2566"/>
                  </a:lnTo>
                  <a:lnTo>
                    <a:pt x="1146" y="2603"/>
                  </a:lnTo>
                  <a:lnTo>
                    <a:pt x="1180" y="2638"/>
                  </a:lnTo>
                  <a:lnTo>
                    <a:pt x="1216" y="2672"/>
                  </a:lnTo>
                  <a:lnTo>
                    <a:pt x="1252" y="2704"/>
                  </a:lnTo>
                  <a:lnTo>
                    <a:pt x="1290" y="2734"/>
                  </a:lnTo>
                  <a:lnTo>
                    <a:pt x="1330" y="2762"/>
                  </a:lnTo>
                  <a:lnTo>
                    <a:pt x="1372" y="2789"/>
                  </a:lnTo>
                  <a:lnTo>
                    <a:pt x="1414" y="2813"/>
                  </a:lnTo>
                  <a:lnTo>
                    <a:pt x="1458" y="2837"/>
                  </a:lnTo>
                  <a:lnTo>
                    <a:pt x="1502" y="2856"/>
                  </a:lnTo>
                  <a:lnTo>
                    <a:pt x="1548" y="2874"/>
                  </a:lnTo>
                  <a:lnTo>
                    <a:pt x="1594" y="2891"/>
                  </a:lnTo>
                  <a:lnTo>
                    <a:pt x="1642" y="2904"/>
                  </a:lnTo>
                  <a:lnTo>
                    <a:pt x="1691" y="2916"/>
                  </a:lnTo>
                  <a:lnTo>
                    <a:pt x="1740" y="2924"/>
                  </a:lnTo>
                  <a:lnTo>
                    <a:pt x="1790" y="2931"/>
                  </a:lnTo>
                  <a:lnTo>
                    <a:pt x="1841" y="2934"/>
                  </a:lnTo>
                  <a:lnTo>
                    <a:pt x="1893" y="2936"/>
                  </a:lnTo>
                  <a:lnTo>
                    <a:pt x="1929" y="2935"/>
                  </a:lnTo>
                  <a:lnTo>
                    <a:pt x="1964" y="2933"/>
                  </a:lnTo>
                  <a:lnTo>
                    <a:pt x="2000" y="2930"/>
                  </a:lnTo>
                  <a:lnTo>
                    <a:pt x="2035" y="2926"/>
                  </a:lnTo>
                  <a:lnTo>
                    <a:pt x="2070" y="2920"/>
                  </a:lnTo>
                  <a:lnTo>
                    <a:pt x="2104" y="2914"/>
                  </a:lnTo>
                  <a:lnTo>
                    <a:pt x="2138" y="2906"/>
                  </a:lnTo>
                  <a:lnTo>
                    <a:pt x="2172" y="2897"/>
                  </a:lnTo>
                  <a:lnTo>
                    <a:pt x="2205" y="2887"/>
                  </a:lnTo>
                  <a:lnTo>
                    <a:pt x="2238" y="2874"/>
                  </a:lnTo>
                  <a:lnTo>
                    <a:pt x="2269" y="2862"/>
                  </a:lnTo>
                  <a:lnTo>
                    <a:pt x="2301" y="2849"/>
                  </a:lnTo>
                  <a:lnTo>
                    <a:pt x="2333" y="2835"/>
                  </a:lnTo>
                  <a:lnTo>
                    <a:pt x="2363" y="2818"/>
                  </a:lnTo>
                  <a:lnTo>
                    <a:pt x="2393" y="2802"/>
                  </a:lnTo>
                  <a:lnTo>
                    <a:pt x="2422" y="2784"/>
                  </a:lnTo>
                  <a:lnTo>
                    <a:pt x="2452" y="2765"/>
                  </a:lnTo>
                  <a:lnTo>
                    <a:pt x="2480" y="2746"/>
                  </a:lnTo>
                  <a:lnTo>
                    <a:pt x="2507" y="2726"/>
                  </a:lnTo>
                  <a:lnTo>
                    <a:pt x="2534" y="2704"/>
                  </a:lnTo>
                  <a:lnTo>
                    <a:pt x="2560" y="2682"/>
                  </a:lnTo>
                  <a:lnTo>
                    <a:pt x="2586" y="2659"/>
                  </a:lnTo>
                  <a:lnTo>
                    <a:pt x="2610" y="2635"/>
                  </a:lnTo>
                  <a:lnTo>
                    <a:pt x="2634" y="2610"/>
                  </a:lnTo>
                  <a:lnTo>
                    <a:pt x="2656" y="2584"/>
                  </a:lnTo>
                  <a:lnTo>
                    <a:pt x="2678" y="2558"/>
                  </a:lnTo>
                  <a:lnTo>
                    <a:pt x="2700" y="2531"/>
                  </a:lnTo>
                  <a:lnTo>
                    <a:pt x="2720" y="2503"/>
                  </a:lnTo>
                  <a:lnTo>
                    <a:pt x="2740" y="2474"/>
                  </a:lnTo>
                  <a:lnTo>
                    <a:pt x="2758" y="2445"/>
                  </a:lnTo>
                  <a:lnTo>
                    <a:pt x="2775" y="2415"/>
                  </a:lnTo>
                  <a:lnTo>
                    <a:pt x="2792" y="2385"/>
                  </a:lnTo>
                  <a:lnTo>
                    <a:pt x="3567" y="280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276" u="sng">
                <a:solidFill>
                  <a:srgbClr val="000000"/>
                </a:solidFill>
                <a:latin typeface="Arial" charset="0"/>
                <a:cs typeface="Arial"/>
              </a:endParaRPr>
            </a:p>
          </p:txBody>
        </p:sp>
        <p:sp>
          <p:nvSpPr>
            <p:cNvPr id="12" name="Freeform 58"/>
            <p:cNvSpPr>
              <a:spLocks/>
            </p:cNvSpPr>
            <p:nvPr userDrawn="1"/>
          </p:nvSpPr>
          <p:spPr bwMode="auto">
            <a:xfrm>
              <a:off x="5646" y="98"/>
              <a:ext cx="160" cy="184"/>
            </a:xfrm>
            <a:custGeom>
              <a:avLst/>
              <a:gdLst>
                <a:gd name="T0" fmla="*/ 0 w 3202"/>
                <a:gd name="T1" fmla="*/ 0 h 3663"/>
                <a:gd name="T2" fmla="*/ 0 w 3202"/>
                <a:gd name="T3" fmla="*/ 0 h 3663"/>
                <a:gd name="T4" fmla="*/ 0 w 3202"/>
                <a:gd name="T5" fmla="*/ 0 h 3663"/>
                <a:gd name="T6" fmla="*/ 0 w 3202"/>
                <a:gd name="T7" fmla="*/ 0 h 3663"/>
                <a:gd name="T8" fmla="*/ 0 w 3202"/>
                <a:gd name="T9" fmla="*/ 0 h 3663"/>
                <a:gd name="T10" fmla="*/ 0 w 3202"/>
                <a:gd name="T11" fmla="*/ 0 h 3663"/>
                <a:gd name="T12" fmla="*/ 0 w 3202"/>
                <a:gd name="T13" fmla="*/ 0 h 3663"/>
                <a:gd name="T14" fmla="*/ 0 w 3202"/>
                <a:gd name="T15" fmla="*/ 0 h 3663"/>
                <a:gd name="T16" fmla="*/ 0 w 3202"/>
                <a:gd name="T17" fmla="*/ 0 h 3663"/>
                <a:gd name="T18" fmla="*/ 0 w 3202"/>
                <a:gd name="T19" fmla="*/ 0 h 3663"/>
                <a:gd name="T20" fmla="*/ 0 w 3202"/>
                <a:gd name="T21" fmla="*/ 0 h 3663"/>
                <a:gd name="T22" fmla="*/ 0 w 3202"/>
                <a:gd name="T23" fmla="*/ 0 h 3663"/>
                <a:gd name="T24" fmla="*/ 0 w 3202"/>
                <a:gd name="T25" fmla="*/ 0 h 3663"/>
                <a:gd name="T26" fmla="*/ 0 w 3202"/>
                <a:gd name="T27" fmla="*/ 0 h 366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202" h="3663">
                  <a:moveTo>
                    <a:pt x="0" y="0"/>
                  </a:moveTo>
                  <a:lnTo>
                    <a:pt x="0" y="3663"/>
                  </a:lnTo>
                  <a:lnTo>
                    <a:pt x="876" y="3663"/>
                  </a:lnTo>
                  <a:lnTo>
                    <a:pt x="876" y="2243"/>
                  </a:lnTo>
                  <a:lnTo>
                    <a:pt x="1184" y="2243"/>
                  </a:lnTo>
                  <a:lnTo>
                    <a:pt x="2107" y="3663"/>
                  </a:lnTo>
                  <a:lnTo>
                    <a:pt x="3184" y="3663"/>
                  </a:lnTo>
                  <a:lnTo>
                    <a:pt x="1961" y="1854"/>
                  </a:lnTo>
                  <a:lnTo>
                    <a:pt x="3202" y="0"/>
                  </a:lnTo>
                  <a:lnTo>
                    <a:pt x="2125" y="0"/>
                  </a:lnTo>
                  <a:lnTo>
                    <a:pt x="1214" y="1468"/>
                  </a:lnTo>
                  <a:lnTo>
                    <a:pt x="876" y="1468"/>
                  </a:lnTo>
                  <a:lnTo>
                    <a:pt x="876" y="0"/>
                  </a:ln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276" u="sng">
                <a:solidFill>
                  <a:srgbClr val="000000"/>
                </a:solidFill>
                <a:latin typeface="Arial" charset="0"/>
                <a:cs typeface="Arial"/>
              </a:endParaRPr>
            </a:p>
          </p:txBody>
        </p:sp>
        <p:sp>
          <p:nvSpPr>
            <p:cNvPr id="13" name="Freeform 59"/>
            <p:cNvSpPr>
              <a:spLocks/>
            </p:cNvSpPr>
            <p:nvPr userDrawn="1"/>
          </p:nvSpPr>
          <p:spPr bwMode="auto">
            <a:xfrm>
              <a:off x="5207" y="344"/>
              <a:ext cx="53" cy="69"/>
            </a:xfrm>
            <a:custGeom>
              <a:avLst/>
              <a:gdLst>
                <a:gd name="T0" fmla="*/ 0 w 1062"/>
                <a:gd name="T1" fmla="*/ 0 h 1367"/>
                <a:gd name="T2" fmla="*/ 0 w 1062"/>
                <a:gd name="T3" fmla="*/ 0 h 1367"/>
                <a:gd name="T4" fmla="*/ 0 w 1062"/>
                <a:gd name="T5" fmla="*/ 0 h 1367"/>
                <a:gd name="T6" fmla="*/ 0 w 1062"/>
                <a:gd name="T7" fmla="*/ 0 h 1367"/>
                <a:gd name="T8" fmla="*/ 0 w 1062"/>
                <a:gd name="T9" fmla="*/ 0 h 1367"/>
                <a:gd name="T10" fmla="*/ 0 w 1062"/>
                <a:gd name="T11" fmla="*/ 0 h 1367"/>
                <a:gd name="T12" fmla="*/ 0 w 1062"/>
                <a:gd name="T13" fmla="*/ 0 h 1367"/>
                <a:gd name="T14" fmla="*/ 0 w 1062"/>
                <a:gd name="T15" fmla="*/ 0 h 1367"/>
                <a:gd name="T16" fmla="*/ 0 w 1062"/>
                <a:gd name="T17" fmla="*/ 0 h 1367"/>
                <a:gd name="T18" fmla="*/ 0 w 1062"/>
                <a:gd name="T19" fmla="*/ 0 h 1367"/>
                <a:gd name="T20" fmla="*/ 0 w 1062"/>
                <a:gd name="T21" fmla="*/ 0 h 1367"/>
                <a:gd name="T22" fmla="*/ 0 w 1062"/>
                <a:gd name="T23" fmla="*/ 0 h 1367"/>
                <a:gd name="T24" fmla="*/ 0 w 1062"/>
                <a:gd name="T25" fmla="*/ 0 h 1367"/>
                <a:gd name="T26" fmla="*/ 0 w 1062"/>
                <a:gd name="T27" fmla="*/ 0 h 1367"/>
                <a:gd name="T28" fmla="*/ 0 w 1062"/>
                <a:gd name="T29" fmla="*/ 0 h 1367"/>
                <a:gd name="T30" fmla="*/ 0 w 1062"/>
                <a:gd name="T31" fmla="*/ 0 h 1367"/>
                <a:gd name="T32" fmla="*/ 0 w 1062"/>
                <a:gd name="T33" fmla="*/ 0 h 1367"/>
                <a:gd name="T34" fmla="*/ 0 w 1062"/>
                <a:gd name="T35" fmla="*/ 0 h 1367"/>
                <a:gd name="T36" fmla="*/ 0 w 1062"/>
                <a:gd name="T37" fmla="*/ 0 h 1367"/>
                <a:gd name="T38" fmla="*/ 0 w 1062"/>
                <a:gd name="T39" fmla="*/ 0 h 1367"/>
                <a:gd name="T40" fmla="*/ 0 w 1062"/>
                <a:gd name="T41" fmla="*/ 0 h 1367"/>
                <a:gd name="T42" fmla="*/ 0 w 1062"/>
                <a:gd name="T43" fmla="*/ 0 h 1367"/>
                <a:gd name="T44" fmla="*/ 0 w 1062"/>
                <a:gd name="T45" fmla="*/ 0 h 1367"/>
                <a:gd name="T46" fmla="*/ 0 w 1062"/>
                <a:gd name="T47" fmla="*/ 0 h 1367"/>
                <a:gd name="T48" fmla="*/ 0 w 1062"/>
                <a:gd name="T49" fmla="*/ 0 h 1367"/>
                <a:gd name="T50" fmla="*/ 0 w 1062"/>
                <a:gd name="T51" fmla="*/ 0 h 1367"/>
                <a:gd name="T52" fmla="*/ 0 w 1062"/>
                <a:gd name="T53" fmla="*/ 0 h 1367"/>
                <a:gd name="T54" fmla="*/ 0 w 1062"/>
                <a:gd name="T55" fmla="*/ 0 h 1367"/>
                <a:gd name="T56" fmla="*/ 0 w 1062"/>
                <a:gd name="T57" fmla="*/ 0 h 1367"/>
                <a:gd name="T58" fmla="*/ 0 w 1062"/>
                <a:gd name="T59" fmla="*/ 0 h 1367"/>
                <a:gd name="T60" fmla="*/ 0 w 1062"/>
                <a:gd name="T61" fmla="*/ 0 h 1367"/>
                <a:gd name="T62" fmla="*/ 0 w 1062"/>
                <a:gd name="T63" fmla="*/ 0 h 1367"/>
                <a:gd name="T64" fmla="*/ 0 w 1062"/>
                <a:gd name="T65" fmla="*/ 0 h 1367"/>
                <a:gd name="T66" fmla="*/ 0 w 1062"/>
                <a:gd name="T67" fmla="*/ 0 h 1367"/>
                <a:gd name="T68" fmla="*/ 0 w 1062"/>
                <a:gd name="T69" fmla="*/ 0 h 1367"/>
                <a:gd name="T70" fmla="*/ 0 w 1062"/>
                <a:gd name="T71" fmla="*/ 0 h 1367"/>
                <a:gd name="T72" fmla="*/ 0 w 1062"/>
                <a:gd name="T73" fmla="*/ 0 h 1367"/>
                <a:gd name="T74" fmla="*/ 0 w 1062"/>
                <a:gd name="T75" fmla="*/ 0 h 1367"/>
                <a:gd name="T76" fmla="*/ 0 w 1062"/>
                <a:gd name="T77" fmla="*/ 0 h 1367"/>
                <a:gd name="T78" fmla="*/ 0 w 1062"/>
                <a:gd name="T79" fmla="*/ 0 h 1367"/>
                <a:gd name="T80" fmla="*/ 0 w 1062"/>
                <a:gd name="T81" fmla="*/ 0 h 1367"/>
                <a:gd name="T82" fmla="*/ 0 w 1062"/>
                <a:gd name="T83" fmla="*/ 0 h 1367"/>
                <a:gd name="T84" fmla="*/ 0 w 1062"/>
                <a:gd name="T85" fmla="*/ 0 h 1367"/>
                <a:gd name="T86" fmla="*/ 0 w 1062"/>
                <a:gd name="T87" fmla="*/ 0 h 1367"/>
                <a:gd name="T88" fmla="*/ 0 w 1062"/>
                <a:gd name="T89" fmla="*/ 0 h 1367"/>
                <a:gd name="T90" fmla="*/ 0 w 1062"/>
                <a:gd name="T91" fmla="*/ 0 h 1367"/>
                <a:gd name="T92" fmla="*/ 0 w 1062"/>
                <a:gd name="T93" fmla="*/ 0 h 1367"/>
                <a:gd name="T94" fmla="*/ 0 w 1062"/>
                <a:gd name="T95" fmla="*/ 0 h 1367"/>
                <a:gd name="T96" fmla="*/ 0 w 1062"/>
                <a:gd name="T97" fmla="*/ 0 h 1367"/>
                <a:gd name="T98" fmla="*/ 0 w 1062"/>
                <a:gd name="T99" fmla="*/ 0 h 1367"/>
                <a:gd name="T100" fmla="*/ 0 w 1062"/>
                <a:gd name="T101" fmla="*/ 0 h 1367"/>
                <a:gd name="T102" fmla="*/ 0 w 1062"/>
                <a:gd name="T103" fmla="*/ 0 h 1367"/>
                <a:gd name="T104" fmla="*/ 0 w 1062"/>
                <a:gd name="T105" fmla="*/ 0 h 1367"/>
                <a:gd name="T106" fmla="*/ 0 w 1062"/>
                <a:gd name="T107" fmla="*/ 0 h 1367"/>
                <a:gd name="T108" fmla="*/ 0 w 1062"/>
                <a:gd name="T109" fmla="*/ 0 h 1367"/>
                <a:gd name="T110" fmla="*/ 0 w 1062"/>
                <a:gd name="T111" fmla="*/ 0 h 1367"/>
                <a:gd name="T112" fmla="*/ 0 w 1062"/>
                <a:gd name="T113" fmla="*/ 0 h 1367"/>
                <a:gd name="T114" fmla="*/ 0 w 1062"/>
                <a:gd name="T115" fmla="*/ 0 h 1367"/>
                <a:gd name="T116" fmla="*/ 0 w 1062"/>
                <a:gd name="T117" fmla="*/ 0 h 1367"/>
                <a:gd name="T118" fmla="*/ 0 w 1062"/>
                <a:gd name="T119" fmla="*/ 0 h 1367"/>
                <a:gd name="T120" fmla="*/ 0 w 1062"/>
                <a:gd name="T121" fmla="*/ 0 h 136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062" h="1367">
                  <a:moveTo>
                    <a:pt x="0" y="1025"/>
                  </a:moveTo>
                  <a:lnTo>
                    <a:pt x="4" y="1040"/>
                  </a:lnTo>
                  <a:lnTo>
                    <a:pt x="8" y="1053"/>
                  </a:lnTo>
                  <a:lnTo>
                    <a:pt x="12" y="1067"/>
                  </a:lnTo>
                  <a:lnTo>
                    <a:pt x="17" y="1080"/>
                  </a:lnTo>
                  <a:lnTo>
                    <a:pt x="22" y="1094"/>
                  </a:lnTo>
                  <a:lnTo>
                    <a:pt x="28" y="1107"/>
                  </a:lnTo>
                  <a:lnTo>
                    <a:pt x="34" y="1120"/>
                  </a:lnTo>
                  <a:lnTo>
                    <a:pt x="41" y="1133"/>
                  </a:lnTo>
                  <a:lnTo>
                    <a:pt x="51" y="1150"/>
                  </a:lnTo>
                  <a:lnTo>
                    <a:pt x="62" y="1165"/>
                  </a:lnTo>
                  <a:lnTo>
                    <a:pt x="73" y="1180"/>
                  </a:lnTo>
                  <a:lnTo>
                    <a:pt x="86" y="1195"/>
                  </a:lnTo>
                  <a:lnTo>
                    <a:pt x="99" y="1209"/>
                  </a:lnTo>
                  <a:lnTo>
                    <a:pt x="112" y="1223"/>
                  </a:lnTo>
                  <a:lnTo>
                    <a:pt x="126" y="1236"/>
                  </a:lnTo>
                  <a:lnTo>
                    <a:pt x="141" y="1248"/>
                  </a:lnTo>
                  <a:lnTo>
                    <a:pt x="155" y="1259"/>
                  </a:lnTo>
                  <a:lnTo>
                    <a:pt x="169" y="1270"/>
                  </a:lnTo>
                  <a:lnTo>
                    <a:pt x="186" y="1281"/>
                  </a:lnTo>
                  <a:lnTo>
                    <a:pt x="203" y="1291"/>
                  </a:lnTo>
                  <a:lnTo>
                    <a:pt x="221" y="1301"/>
                  </a:lnTo>
                  <a:lnTo>
                    <a:pt x="242" y="1311"/>
                  </a:lnTo>
                  <a:lnTo>
                    <a:pt x="263" y="1321"/>
                  </a:lnTo>
                  <a:lnTo>
                    <a:pt x="287" y="1330"/>
                  </a:lnTo>
                  <a:lnTo>
                    <a:pt x="312" y="1338"/>
                  </a:lnTo>
                  <a:lnTo>
                    <a:pt x="339" y="1345"/>
                  </a:lnTo>
                  <a:lnTo>
                    <a:pt x="366" y="1352"/>
                  </a:lnTo>
                  <a:lnTo>
                    <a:pt x="397" y="1357"/>
                  </a:lnTo>
                  <a:lnTo>
                    <a:pt x="429" y="1361"/>
                  </a:lnTo>
                  <a:lnTo>
                    <a:pt x="463" y="1365"/>
                  </a:lnTo>
                  <a:lnTo>
                    <a:pt x="500" y="1367"/>
                  </a:lnTo>
                  <a:lnTo>
                    <a:pt x="539" y="1367"/>
                  </a:lnTo>
                  <a:lnTo>
                    <a:pt x="562" y="1367"/>
                  </a:lnTo>
                  <a:lnTo>
                    <a:pt x="584" y="1366"/>
                  </a:lnTo>
                  <a:lnTo>
                    <a:pt x="607" y="1365"/>
                  </a:lnTo>
                  <a:lnTo>
                    <a:pt x="628" y="1363"/>
                  </a:lnTo>
                  <a:lnTo>
                    <a:pt x="650" y="1360"/>
                  </a:lnTo>
                  <a:lnTo>
                    <a:pt x="669" y="1357"/>
                  </a:lnTo>
                  <a:lnTo>
                    <a:pt x="690" y="1354"/>
                  </a:lnTo>
                  <a:lnTo>
                    <a:pt x="708" y="1350"/>
                  </a:lnTo>
                  <a:lnTo>
                    <a:pt x="726" y="1346"/>
                  </a:lnTo>
                  <a:lnTo>
                    <a:pt x="745" y="1341"/>
                  </a:lnTo>
                  <a:lnTo>
                    <a:pt x="762" y="1336"/>
                  </a:lnTo>
                  <a:lnTo>
                    <a:pt x="778" y="1330"/>
                  </a:lnTo>
                  <a:lnTo>
                    <a:pt x="795" y="1325"/>
                  </a:lnTo>
                  <a:lnTo>
                    <a:pt x="810" y="1318"/>
                  </a:lnTo>
                  <a:lnTo>
                    <a:pt x="825" y="1311"/>
                  </a:lnTo>
                  <a:lnTo>
                    <a:pt x="839" y="1304"/>
                  </a:lnTo>
                  <a:lnTo>
                    <a:pt x="866" y="1290"/>
                  </a:lnTo>
                  <a:lnTo>
                    <a:pt x="890" y="1275"/>
                  </a:lnTo>
                  <a:lnTo>
                    <a:pt x="913" y="1260"/>
                  </a:lnTo>
                  <a:lnTo>
                    <a:pt x="933" y="1243"/>
                  </a:lnTo>
                  <a:lnTo>
                    <a:pt x="952" y="1227"/>
                  </a:lnTo>
                  <a:lnTo>
                    <a:pt x="968" y="1210"/>
                  </a:lnTo>
                  <a:lnTo>
                    <a:pt x="982" y="1193"/>
                  </a:lnTo>
                  <a:lnTo>
                    <a:pt x="995" y="1177"/>
                  </a:lnTo>
                  <a:lnTo>
                    <a:pt x="1005" y="1162"/>
                  </a:lnTo>
                  <a:lnTo>
                    <a:pt x="1016" y="1143"/>
                  </a:lnTo>
                  <a:lnTo>
                    <a:pt x="1027" y="1120"/>
                  </a:lnTo>
                  <a:lnTo>
                    <a:pt x="1037" y="1094"/>
                  </a:lnTo>
                  <a:lnTo>
                    <a:pt x="1042" y="1079"/>
                  </a:lnTo>
                  <a:lnTo>
                    <a:pt x="1048" y="1064"/>
                  </a:lnTo>
                  <a:lnTo>
                    <a:pt x="1052" y="1047"/>
                  </a:lnTo>
                  <a:lnTo>
                    <a:pt x="1055" y="1029"/>
                  </a:lnTo>
                  <a:lnTo>
                    <a:pt x="1058" y="1011"/>
                  </a:lnTo>
                  <a:lnTo>
                    <a:pt x="1060" y="993"/>
                  </a:lnTo>
                  <a:lnTo>
                    <a:pt x="1062" y="972"/>
                  </a:lnTo>
                  <a:lnTo>
                    <a:pt x="1062" y="952"/>
                  </a:lnTo>
                  <a:lnTo>
                    <a:pt x="1062" y="931"/>
                  </a:lnTo>
                  <a:lnTo>
                    <a:pt x="1060" y="910"/>
                  </a:lnTo>
                  <a:lnTo>
                    <a:pt x="1058" y="889"/>
                  </a:lnTo>
                  <a:lnTo>
                    <a:pt x="1054" y="869"/>
                  </a:lnTo>
                  <a:lnTo>
                    <a:pt x="1049" y="849"/>
                  </a:lnTo>
                  <a:lnTo>
                    <a:pt x="1043" y="829"/>
                  </a:lnTo>
                  <a:lnTo>
                    <a:pt x="1036" y="809"/>
                  </a:lnTo>
                  <a:lnTo>
                    <a:pt x="1028" y="790"/>
                  </a:lnTo>
                  <a:lnTo>
                    <a:pt x="1019" y="772"/>
                  </a:lnTo>
                  <a:lnTo>
                    <a:pt x="1009" y="755"/>
                  </a:lnTo>
                  <a:lnTo>
                    <a:pt x="998" y="737"/>
                  </a:lnTo>
                  <a:lnTo>
                    <a:pt x="985" y="720"/>
                  </a:lnTo>
                  <a:lnTo>
                    <a:pt x="972" y="705"/>
                  </a:lnTo>
                  <a:lnTo>
                    <a:pt x="958" y="689"/>
                  </a:lnTo>
                  <a:lnTo>
                    <a:pt x="941" y="675"/>
                  </a:lnTo>
                  <a:lnTo>
                    <a:pt x="925" y="662"/>
                  </a:lnTo>
                  <a:lnTo>
                    <a:pt x="903" y="647"/>
                  </a:lnTo>
                  <a:lnTo>
                    <a:pt x="879" y="632"/>
                  </a:lnTo>
                  <a:lnTo>
                    <a:pt x="856" y="621"/>
                  </a:lnTo>
                  <a:lnTo>
                    <a:pt x="830" y="610"/>
                  </a:lnTo>
                  <a:lnTo>
                    <a:pt x="805" y="601"/>
                  </a:lnTo>
                  <a:lnTo>
                    <a:pt x="779" y="593"/>
                  </a:lnTo>
                  <a:lnTo>
                    <a:pt x="753" y="584"/>
                  </a:lnTo>
                  <a:lnTo>
                    <a:pt x="726" y="577"/>
                  </a:lnTo>
                  <a:lnTo>
                    <a:pt x="708" y="572"/>
                  </a:lnTo>
                  <a:lnTo>
                    <a:pt x="690" y="566"/>
                  </a:lnTo>
                  <a:lnTo>
                    <a:pt x="671" y="562"/>
                  </a:lnTo>
                  <a:lnTo>
                    <a:pt x="653" y="557"/>
                  </a:lnTo>
                  <a:lnTo>
                    <a:pt x="634" y="552"/>
                  </a:lnTo>
                  <a:lnTo>
                    <a:pt x="616" y="548"/>
                  </a:lnTo>
                  <a:lnTo>
                    <a:pt x="598" y="543"/>
                  </a:lnTo>
                  <a:lnTo>
                    <a:pt x="580" y="538"/>
                  </a:lnTo>
                  <a:lnTo>
                    <a:pt x="542" y="529"/>
                  </a:lnTo>
                  <a:lnTo>
                    <a:pt x="508" y="521"/>
                  </a:lnTo>
                  <a:lnTo>
                    <a:pt x="478" y="515"/>
                  </a:lnTo>
                  <a:lnTo>
                    <a:pt x="454" y="508"/>
                  </a:lnTo>
                  <a:lnTo>
                    <a:pt x="430" y="501"/>
                  </a:lnTo>
                  <a:lnTo>
                    <a:pt x="411" y="493"/>
                  </a:lnTo>
                  <a:lnTo>
                    <a:pt x="401" y="489"/>
                  </a:lnTo>
                  <a:lnTo>
                    <a:pt x="392" y="483"/>
                  </a:lnTo>
                  <a:lnTo>
                    <a:pt x="383" y="477"/>
                  </a:lnTo>
                  <a:lnTo>
                    <a:pt x="373" y="470"/>
                  </a:lnTo>
                  <a:lnTo>
                    <a:pt x="364" y="463"/>
                  </a:lnTo>
                  <a:lnTo>
                    <a:pt x="356" y="455"/>
                  </a:lnTo>
                  <a:lnTo>
                    <a:pt x="348" y="447"/>
                  </a:lnTo>
                  <a:lnTo>
                    <a:pt x="342" y="439"/>
                  </a:lnTo>
                  <a:lnTo>
                    <a:pt x="336" y="432"/>
                  </a:lnTo>
                  <a:lnTo>
                    <a:pt x="330" y="424"/>
                  </a:lnTo>
                  <a:lnTo>
                    <a:pt x="326" y="415"/>
                  </a:lnTo>
                  <a:lnTo>
                    <a:pt x="322" y="408"/>
                  </a:lnTo>
                  <a:lnTo>
                    <a:pt x="317" y="393"/>
                  </a:lnTo>
                  <a:lnTo>
                    <a:pt x="313" y="380"/>
                  </a:lnTo>
                  <a:lnTo>
                    <a:pt x="311" y="368"/>
                  </a:lnTo>
                  <a:lnTo>
                    <a:pt x="310" y="358"/>
                  </a:lnTo>
                  <a:lnTo>
                    <a:pt x="310" y="351"/>
                  </a:lnTo>
                  <a:lnTo>
                    <a:pt x="311" y="343"/>
                  </a:lnTo>
                  <a:lnTo>
                    <a:pt x="312" y="334"/>
                  </a:lnTo>
                  <a:lnTo>
                    <a:pt x="314" y="324"/>
                  </a:lnTo>
                  <a:lnTo>
                    <a:pt x="318" y="313"/>
                  </a:lnTo>
                  <a:lnTo>
                    <a:pt x="323" y="300"/>
                  </a:lnTo>
                  <a:lnTo>
                    <a:pt x="329" y="288"/>
                  </a:lnTo>
                  <a:lnTo>
                    <a:pt x="338" y="276"/>
                  </a:lnTo>
                  <a:lnTo>
                    <a:pt x="342" y="270"/>
                  </a:lnTo>
                  <a:lnTo>
                    <a:pt x="347" y="264"/>
                  </a:lnTo>
                  <a:lnTo>
                    <a:pt x="352" y="259"/>
                  </a:lnTo>
                  <a:lnTo>
                    <a:pt x="357" y="253"/>
                  </a:lnTo>
                  <a:lnTo>
                    <a:pt x="363" y="247"/>
                  </a:lnTo>
                  <a:lnTo>
                    <a:pt x="368" y="243"/>
                  </a:lnTo>
                  <a:lnTo>
                    <a:pt x="374" y="238"/>
                  </a:lnTo>
                  <a:lnTo>
                    <a:pt x="381" y="234"/>
                  </a:lnTo>
                  <a:lnTo>
                    <a:pt x="392" y="228"/>
                  </a:lnTo>
                  <a:lnTo>
                    <a:pt x="404" y="223"/>
                  </a:lnTo>
                  <a:lnTo>
                    <a:pt x="416" y="218"/>
                  </a:lnTo>
                  <a:lnTo>
                    <a:pt x="428" y="214"/>
                  </a:lnTo>
                  <a:lnTo>
                    <a:pt x="454" y="207"/>
                  </a:lnTo>
                  <a:lnTo>
                    <a:pt x="478" y="203"/>
                  </a:lnTo>
                  <a:lnTo>
                    <a:pt x="501" y="200"/>
                  </a:lnTo>
                  <a:lnTo>
                    <a:pt x="520" y="198"/>
                  </a:lnTo>
                  <a:lnTo>
                    <a:pt x="534" y="197"/>
                  </a:lnTo>
                  <a:lnTo>
                    <a:pt x="543" y="197"/>
                  </a:lnTo>
                  <a:lnTo>
                    <a:pt x="559" y="198"/>
                  </a:lnTo>
                  <a:lnTo>
                    <a:pt x="574" y="198"/>
                  </a:lnTo>
                  <a:lnTo>
                    <a:pt x="591" y="200"/>
                  </a:lnTo>
                  <a:lnTo>
                    <a:pt x="606" y="202"/>
                  </a:lnTo>
                  <a:lnTo>
                    <a:pt x="621" y="205"/>
                  </a:lnTo>
                  <a:lnTo>
                    <a:pt x="636" y="209"/>
                  </a:lnTo>
                  <a:lnTo>
                    <a:pt x="652" y="213"/>
                  </a:lnTo>
                  <a:lnTo>
                    <a:pt x="666" y="219"/>
                  </a:lnTo>
                  <a:lnTo>
                    <a:pt x="680" y="225"/>
                  </a:lnTo>
                  <a:lnTo>
                    <a:pt x="694" y="232"/>
                  </a:lnTo>
                  <a:lnTo>
                    <a:pt x="706" y="241"/>
                  </a:lnTo>
                  <a:lnTo>
                    <a:pt x="718" y="251"/>
                  </a:lnTo>
                  <a:lnTo>
                    <a:pt x="730" y="261"/>
                  </a:lnTo>
                  <a:lnTo>
                    <a:pt x="741" y="273"/>
                  </a:lnTo>
                  <a:lnTo>
                    <a:pt x="751" y="286"/>
                  </a:lnTo>
                  <a:lnTo>
                    <a:pt x="760" y="299"/>
                  </a:lnTo>
                  <a:lnTo>
                    <a:pt x="762" y="302"/>
                  </a:lnTo>
                  <a:lnTo>
                    <a:pt x="764" y="307"/>
                  </a:lnTo>
                  <a:lnTo>
                    <a:pt x="767" y="312"/>
                  </a:lnTo>
                  <a:lnTo>
                    <a:pt x="770" y="317"/>
                  </a:lnTo>
                  <a:lnTo>
                    <a:pt x="773" y="323"/>
                  </a:lnTo>
                  <a:lnTo>
                    <a:pt x="776" y="330"/>
                  </a:lnTo>
                  <a:lnTo>
                    <a:pt x="779" y="337"/>
                  </a:lnTo>
                  <a:lnTo>
                    <a:pt x="782" y="345"/>
                  </a:lnTo>
                  <a:lnTo>
                    <a:pt x="796" y="342"/>
                  </a:lnTo>
                  <a:lnTo>
                    <a:pt x="808" y="339"/>
                  </a:lnTo>
                  <a:lnTo>
                    <a:pt x="821" y="336"/>
                  </a:lnTo>
                  <a:lnTo>
                    <a:pt x="834" y="333"/>
                  </a:lnTo>
                  <a:lnTo>
                    <a:pt x="847" y="331"/>
                  </a:lnTo>
                  <a:lnTo>
                    <a:pt x="859" y="327"/>
                  </a:lnTo>
                  <a:lnTo>
                    <a:pt x="872" y="324"/>
                  </a:lnTo>
                  <a:lnTo>
                    <a:pt x="884" y="321"/>
                  </a:lnTo>
                  <a:lnTo>
                    <a:pt x="900" y="317"/>
                  </a:lnTo>
                  <a:lnTo>
                    <a:pt x="915" y="313"/>
                  </a:lnTo>
                  <a:lnTo>
                    <a:pt x="929" y="308"/>
                  </a:lnTo>
                  <a:lnTo>
                    <a:pt x="945" y="303"/>
                  </a:lnTo>
                  <a:lnTo>
                    <a:pt x="960" y="299"/>
                  </a:lnTo>
                  <a:lnTo>
                    <a:pt x="974" y="294"/>
                  </a:lnTo>
                  <a:lnTo>
                    <a:pt x="989" y="290"/>
                  </a:lnTo>
                  <a:lnTo>
                    <a:pt x="1004" y="285"/>
                  </a:lnTo>
                  <a:lnTo>
                    <a:pt x="1003" y="280"/>
                  </a:lnTo>
                  <a:lnTo>
                    <a:pt x="1001" y="274"/>
                  </a:lnTo>
                  <a:lnTo>
                    <a:pt x="998" y="265"/>
                  </a:lnTo>
                  <a:lnTo>
                    <a:pt x="995" y="255"/>
                  </a:lnTo>
                  <a:lnTo>
                    <a:pt x="990" y="244"/>
                  </a:lnTo>
                  <a:lnTo>
                    <a:pt x="984" y="232"/>
                  </a:lnTo>
                  <a:lnTo>
                    <a:pt x="979" y="220"/>
                  </a:lnTo>
                  <a:lnTo>
                    <a:pt x="972" y="208"/>
                  </a:lnTo>
                  <a:lnTo>
                    <a:pt x="962" y="191"/>
                  </a:lnTo>
                  <a:lnTo>
                    <a:pt x="951" y="176"/>
                  </a:lnTo>
                  <a:lnTo>
                    <a:pt x="938" y="162"/>
                  </a:lnTo>
                  <a:lnTo>
                    <a:pt x="927" y="150"/>
                  </a:lnTo>
                  <a:lnTo>
                    <a:pt x="916" y="139"/>
                  </a:lnTo>
                  <a:lnTo>
                    <a:pt x="906" y="129"/>
                  </a:lnTo>
                  <a:lnTo>
                    <a:pt x="898" y="121"/>
                  </a:lnTo>
                  <a:lnTo>
                    <a:pt x="891" y="116"/>
                  </a:lnTo>
                  <a:lnTo>
                    <a:pt x="879" y="106"/>
                  </a:lnTo>
                  <a:lnTo>
                    <a:pt x="866" y="96"/>
                  </a:lnTo>
                  <a:lnTo>
                    <a:pt x="853" y="87"/>
                  </a:lnTo>
                  <a:lnTo>
                    <a:pt x="840" y="78"/>
                  </a:lnTo>
                  <a:lnTo>
                    <a:pt x="814" y="63"/>
                  </a:lnTo>
                  <a:lnTo>
                    <a:pt x="788" y="50"/>
                  </a:lnTo>
                  <a:lnTo>
                    <a:pt x="762" y="39"/>
                  </a:lnTo>
                  <a:lnTo>
                    <a:pt x="736" y="30"/>
                  </a:lnTo>
                  <a:lnTo>
                    <a:pt x="711" y="21"/>
                  </a:lnTo>
                  <a:lnTo>
                    <a:pt x="686" y="15"/>
                  </a:lnTo>
                  <a:lnTo>
                    <a:pt x="663" y="10"/>
                  </a:lnTo>
                  <a:lnTo>
                    <a:pt x="641" y="7"/>
                  </a:lnTo>
                  <a:lnTo>
                    <a:pt x="619" y="4"/>
                  </a:lnTo>
                  <a:lnTo>
                    <a:pt x="600" y="2"/>
                  </a:lnTo>
                  <a:lnTo>
                    <a:pt x="565" y="0"/>
                  </a:lnTo>
                  <a:lnTo>
                    <a:pt x="539" y="0"/>
                  </a:lnTo>
                  <a:lnTo>
                    <a:pt x="516" y="0"/>
                  </a:lnTo>
                  <a:lnTo>
                    <a:pt x="496" y="1"/>
                  </a:lnTo>
                  <a:lnTo>
                    <a:pt x="474" y="3"/>
                  </a:lnTo>
                  <a:lnTo>
                    <a:pt x="455" y="5"/>
                  </a:lnTo>
                  <a:lnTo>
                    <a:pt x="435" y="8"/>
                  </a:lnTo>
                  <a:lnTo>
                    <a:pt x="416" y="11"/>
                  </a:lnTo>
                  <a:lnTo>
                    <a:pt x="398" y="14"/>
                  </a:lnTo>
                  <a:lnTo>
                    <a:pt x="380" y="18"/>
                  </a:lnTo>
                  <a:lnTo>
                    <a:pt x="363" y="23"/>
                  </a:lnTo>
                  <a:lnTo>
                    <a:pt x="347" y="29"/>
                  </a:lnTo>
                  <a:lnTo>
                    <a:pt x="332" y="34"/>
                  </a:lnTo>
                  <a:lnTo>
                    <a:pt x="316" y="40"/>
                  </a:lnTo>
                  <a:lnTo>
                    <a:pt x="287" y="52"/>
                  </a:lnTo>
                  <a:lnTo>
                    <a:pt x="260" y="65"/>
                  </a:lnTo>
                  <a:lnTo>
                    <a:pt x="237" y="80"/>
                  </a:lnTo>
                  <a:lnTo>
                    <a:pt x="214" y="96"/>
                  </a:lnTo>
                  <a:lnTo>
                    <a:pt x="194" y="112"/>
                  </a:lnTo>
                  <a:lnTo>
                    <a:pt x="175" y="128"/>
                  </a:lnTo>
                  <a:lnTo>
                    <a:pt x="159" y="145"/>
                  </a:lnTo>
                  <a:lnTo>
                    <a:pt x="145" y="161"/>
                  </a:lnTo>
                  <a:lnTo>
                    <a:pt x="133" y="177"/>
                  </a:lnTo>
                  <a:lnTo>
                    <a:pt x="122" y="193"/>
                  </a:lnTo>
                  <a:lnTo>
                    <a:pt x="112" y="209"/>
                  </a:lnTo>
                  <a:lnTo>
                    <a:pt x="104" y="225"/>
                  </a:lnTo>
                  <a:lnTo>
                    <a:pt x="97" y="241"/>
                  </a:lnTo>
                  <a:lnTo>
                    <a:pt x="91" y="257"/>
                  </a:lnTo>
                  <a:lnTo>
                    <a:pt x="86" y="273"/>
                  </a:lnTo>
                  <a:lnTo>
                    <a:pt x="81" y="288"/>
                  </a:lnTo>
                  <a:lnTo>
                    <a:pt x="78" y="302"/>
                  </a:lnTo>
                  <a:lnTo>
                    <a:pt x="74" y="318"/>
                  </a:lnTo>
                  <a:lnTo>
                    <a:pt x="69" y="344"/>
                  </a:lnTo>
                  <a:lnTo>
                    <a:pt x="67" y="369"/>
                  </a:lnTo>
                  <a:lnTo>
                    <a:pt x="66" y="389"/>
                  </a:lnTo>
                  <a:lnTo>
                    <a:pt x="65" y="404"/>
                  </a:lnTo>
                  <a:lnTo>
                    <a:pt x="66" y="424"/>
                  </a:lnTo>
                  <a:lnTo>
                    <a:pt x="67" y="447"/>
                  </a:lnTo>
                  <a:lnTo>
                    <a:pt x="69" y="460"/>
                  </a:lnTo>
                  <a:lnTo>
                    <a:pt x="71" y="473"/>
                  </a:lnTo>
                  <a:lnTo>
                    <a:pt x="74" y="489"/>
                  </a:lnTo>
                  <a:lnTo>
                    <a:pt x="79" y="503"/>
                  </a:lnTo>
                  <a:lnTo>
                    <a:pt x="84" y="519"/>
                  </a:lnTo>
                  <a:lnTo>
                    <a:pt x="90" y="536"/>
                  </a:lnTo>
                  <a:lnTo>
                    <a:pt x="97" y="552"/>
                  </a:lnTo>
                  <a:lnTo>
                    <a:pt x="105" y="568"/>
                  </a:lnTo>
                  <a:lnTo>
                    <a:pt x="115" y="585"/>
                  </a:lnTo>
                  <a:lnTo>
                    <a:pt x="126" y="603"/>
                  </a:lnTo>
                  <a:lnTo>
                    <a:pt x="139" y="620"/>
                  </a:lnTo>
                  <a:lnTo>
                    <a:pt x="154" y="637"/>
                  </a:lnTo>
                  <a:lnTo>
                    <a:pt x="165" y="650"/>
                  </a:lnTo>
                  <a:lnTo>
                    <a:pt x="177" y="660"/>
                  </a:lnTo>
                  <a:lnTo>
                    <a:pt x="189" y="670"/>
                  </a:lnTo>
                  <a:lnTo>
                    <a:pt x="200" y="679"/>
                  </a:lnTo>
                  <a:lnTo>
                    <a:pt x="211" y="687"/>
                  </a:lnTo>
                  <a:lnTo>
                    <a:pt x="221" y="695"/>
                  </a:lnTo>
                  <a:lnTo>
                    <a:pt x="232" y="702"/>
                  </a:lnTo>
                  <a:lnTo>
                    <a:pt x="243" y="708"/>
                  </a:lnTo>
                  <a:lnTo>
                    <a:pt x="262" y="718"/>
                  </a:lnTo>
                  <a:lnTo>
                    <a:pt x="279" y="726"/>
                  </a:lnTo>
                  <a:lnTo>
                    <a:pt x="296" y="732"/>
                  </a:lnTo>
                  <a:lnTo>
                    <a:pt x="310" y="736"/>
                  </a:lnTo>
                  <a:lnTo>
                    <a:pt x="317" y="738"/>
                  </a:lnTo>
                  <a:lnTo>
                    <a:pt x="325" y="740"/>
                  </a:lnTo>
                  <a:lnTo>
                    <a:pt x="333" y="743"/>
                  </a:lnTo>
                  <a:lnTo>
                    <a:pt x="341" y="745"/>
                  </a:lnTo>
                  <a:lnTo>
                    <a:pt x="349" y="747"/>
                  </a:lnTo>
                  <a:lnTo>
                    <a:pt x="357" y="750"/>
                  </a:lnTo>
                  <a:lnTo>
                    <a:pt x="365" y="752"/>
                  </a:lnTo>
                  <a:lnTo>
                    <a:pt x="373" y="756"/>
                  </a:lnTo>
                  <a:lnTo>
                    <a:pt x="389" y="761"/>
                  </a:lnTo>
                  <a:lnTo>
                    <a:pt x="405" y="765"/>
                  </a:lnTo>
                  <a:lnTo>
                    <a:pt x="420" y="770"/>
                  </a:lnTo>
                  <a:lnTo>
                    <a:pt x="437" y="774"/>
                  </a:lnTo>
                  <a:lnTo>
                    <a:pt x="453" y="778"/>
                  </a:lnTo>
                  <a:lnTo>
                    <a:pt x="468" y="782"/>
                  </a:lnTo>
                  <a:lnTo>
                    <a:pt x="485" y="786"/>
                  </a:lnTo>
                  <a:lnTo>
                    <a:pt x="501" y="791"/>
                  </a:lnTo>
                  <a:lnTo>
                    <a:pt x="529" y="797"/>
                  </a:lnTo>
                  <a:lnTo>
                    <a:pt x="561" y="804"/>
                  </a:lnTo>
                  <a:lnTo>
                    <a:pt x="594" y="812"/>
                  </a:lnTo>
                  <a:lnTo>
                    <a:pt x="627" y="820"/>
                  </a:lnTo>
                  <a:lnTo>
                    <a:pt x="660" y="829"/>
                  </a:lnTo>
                  <a:lnTo>
                    <a:pt x="692" y="840"/>
                  </a:lnTo>
                  <a:lnTo>
                    <a:pt x="706" y="846"/>
                  </a:lnTo>
                  <a:lnTo>
                    <a:pt x="720" y="852"/>
                  </a:lnTo>
                  <a:lnTo>
                    <a:pt x="733" y="858"/>
                  </a:lnTo>
                  <a:lnTo>
                    <a:pt x="745" y="866"/>
                  </a:lnTo>
                  <a:lnTo>
                    <a:pt x="755" y="873"/>
                  </a:lnTo>
                  <a:lnTo>
                    <a:pt x="764" y="880"/>
                  </a:lnTo>
                  <a:lnTo>
                    <a:pt x="772" y="888"/>
                  </a:lnTo>
                  <a:lnTo>
                    <a:pt x="779" y="896"/>
                  </a:lnTo>
                  <a:lnTo>
                    <a:pt x="785" y="905"/>
                  </a:lnTo>
                  <a:lnTo>
                    <a:pt x="791" y="913"/>
                  </a:lnTo>
                  <a:lnTo>
                    <a:pt x="795" y="923"/>
                  </a:lnTo>
                  <a:lnTo>
                    <a:pt x="799" y="931"/>
                  </a:lnTo>
                  <a:lnTo>
                    <a:pt x="805" y="947"/>
                  </a:lnTo>
                  <a:lnTo>
                    <a:pt x="808" y="962"/>
                  </a:lnTo>
                  <a:lnTo>
                    <a:pt x="810" y="975"/>
                  </a:lnTo>
                  <a:lnTo>
                    <a:pt x="811" y="986"/>
                  </a:lnTo>
                  <a:lnTo>
                    <a:pt x="811" y="994"/>
                  </a:lnTo>
                  <a:lnTo>
                    <a:pt x="810" y="1004"/>
                  </a:lnTo>
                  <a:lnTo>
                    <a:pt x="808" y="1015"/>
                  </a:lnTo>
                  <a:lnTo>
                    <a:pt x="805" y="1027"/>
                  </a:lnTo>
                  <a:lnTo>
                    <a:pt x="801" y="1041"/>
                  </a:lnTo>
                  <a:lnTo>
                    <a:pt x="795" y="1054"/>
                  </a:lnTo>
                  <a:lnTo>
                    <a:pt x="787" y="1068"/>
                  </a:lnTo>
                  <a:lnTo>
                    <a:pt x="777" y="1083"/>
                  </a:lnTo>
                  <a:lnTo>
                    <a:pt x="770" y="1091"/>
                  </a:lnTo>
                  <a:lnTo>
                    <a:pt x="764" y="1097"/>
                  </a:lnTo>
                  <a:lnTo>
                    <a:pt x="757" y="1103"/>
                  </a:lnTo>
                  <a:lnTo>
                    <a:pt x="750" y="1109"/>
                  </a:lnTo>
                  <a:lnTo>
                    <a:pt x="743" y="1115"/>
                  </a:lnTo>
                  <a:lnTo>
                    <a:pt x="735" y="1120"/>
                  </a:lnTo>
                  <a:lnTo>
                    <a:pt x="728" y="1125"/>
                  </a:lnTo>
                  <a:lnTo>
                    <a:pt x="721" y="1130"/>
                  </a:lnTo>
                  <a:lnTo>
                    <a:pt x="708" y="1136"/>
                  </a:lnTo>
                  <a:lnTo>
                    <a:pt x="696" y="1141"/>
                  </a:lnTo>
                  <a:lnTo>
                    <a:pt x="681" y="1147"/>
                  </a:lnTo>
                  <a:lnTo>
                    <a:pt x="668" y="1151"/>
                  </a:lnTo>
                  <a:lnTo>
                    <a:pt x="641" y="1157"/>
                  </a:lnTo>
                  <a:lnTo>
                    <a:pt x="614" y="1161"/>
                  </a:lnTo>
                  <a:lnTo>
                    <a:pt x="590" y="1164"/>
                  </a:lnTo>
                  <a:lnTo>
                    <a:pt x="569" y="1165"/>
                  </a:lnTo>
                  <a:lnTo>
                    <a:pt x="554" y="1166"/>
                  </a:lnTo>
                  <a:lnTo>
                    <a:pt x="545" y="1166"/>
                  </a:lnTo>
                  <a:lnTo>
                    <a:pt x="514" y="1165"/>
                  </a:lnTo>
                  <a:lnTo>
                    <a:pt x="487" y="1163"/>
                  </a:lnTo>
                  <a:lnTo>
                    <a:pt x="460" y="1160"/>
                  </a:lnTo>
                  <a:lnTo>
                    <a:pt x="436" y="1156"/>
                  </a:lnTo>
                  <a:lnTo>
                    <a:pt x="413" y="1151"/>
                  </a:lnTo>
                  <a:lnTo>
                    <a:pt x="392" y="1144"/>
                  </a:lnTo>
                  <a:lnTo>
                    <a:pt x="372" y="1138"/>
                  </a:lnTo>
                  <a:lnTo>
                    <a:pt x="355" y="1130"/>
                  </a:lnTo>
                  <a:lnTo>
                    <a:pt x="338" y="1122"/>
                  </a:lnTo>
                  <a:lnTo>
                    <a:pt x="323" y="1113"/>
                  </a:lnTo>
                  <a:lnTo>
                    <a:pt x="309" y="1103"/>
                  </a:lnTo>
                  <a:lnTo>
                    <a:pt x="297" y="1093"/>
                  </a:lnTo>
                  <a:lnTo>
                    <a:pt x="286" y="1082"/>
                  </a:lnTo>
                  <a:lnTo>
                    <a:pt x="275" y="1071"/>
                  </a:lnTo>
                  <a:lnTo>
                    <a:pt x="267" y="1059"/>
                  </a:lnTo>
                  <a:lnTo>
                    <a:pt x="259" y="1048"/>
                  </a:lnTo>
                  <a:lnTo>
                    <a:pt x="254" y="1040"/>
                  </a:lnTo>
                  <a:lnTo>
                    <a:pt x="249" y="1031"/>
                  </a:lnTo>
                  <a:lnTo>
                    <a:pt x="245" y="1023"/>
                  </a:lnTo>
                  <a:lnTo>
                    <a:pt x="241" y="1015"/>
                  </a:lnTo>
                  <a:lnTo>
                    <a:pt x="238" y="1008"/>
                  </a:lnTo>
                  <a:lnTo>
                    <a:pt x="235" y="1000"/>
                  </a:lnTo>
                  <a:lnTo>
                    <a:pt x="232" y="991"/>
                  </a:lnTo>
                  <a:lnTo>
                    <a:pt x="228" y="983"/>
                  </a:lnTo>
                  <a:lnTo>
                    <a:pt x="0" y="1025"/>
                  </a:lnTo>
                  <a:close/>
                </a:path>
              </a:pathLst>
            </a:custGeom>
            <a:solidFill>
              <a:srgbClr val="5E737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276" u="sng">
                <a:solidFill>
                  <a:srgbClr val="000000"/>
                </a:solidFill>
                <a:latin typeface="Arial" charset="0"/>
                <a:cs typeface="Arial"/>
              </a:endParaRPr>
            </a:p>
          </p:txBody>
        </p:sp>
        <p:sp>
          <p:nvSpPr>
            <p:cNvPr id="14" name="Freeform 60"/>
            <p:cNvSpPr>
              <a:spLocks noEditPoints="1"/>
            </p:cNvSpPr>
            <p:nvPr userDrawn="1"/>
          </p:nvSpPr>
          <p:spPr bwMode="auto">
            <a:xfrm>
              <a:off x="5267" y="362"/>
              <a:ext cx="44" cy="50"/>
            </a:xfrm>
            <a:custGeom>
              <a:avLst/>
              <a:gdLst>
                <a:gd name="T0" fmla="*/ 0 w 873"/>
                <a:gd name="T1" fmla="*/ 0 h 1017"/>
                <a:gd name="T2" fmla="*/ 0 w 873"/>
                <a:gd name="T3" fmla="*/ 0 h 1017"/>
                <a:gd name="T4" fmla="*/ 0 w 873"/>
                <a:gd name="T5" fmla="*/ 0 h 1017"/>
                <a:gd name="T6" fmla="*/ 0 w 873"/>
                <a:gd name="T7" fmla="*/ 0 h 1017"/>
                <a:gd name="T8" fmla="*/ 0 w 873"/>
                <a:gd name="T9" fmla="*/ 0 h 1017"/>
                <a:gd name="T10" fmla="*/ 0 w 873"/>
                <a:gd name="T11" fmla="*/ 0 h 1017"/>
                <a:gd name="T12" fmla="*/ 0 w 873"/>
                <a:gd name="T13" fmla="*/ 0 h 1017"/>
                <a:gd name="T14" fmla="*/ 0 w 873"/>
                <a:gd name="T15" fmla="*/ 0 h 1017"/>
                <a:gd name="T16" fmla="*/ 0 w 873"/>
                <a:gd name="T17" fmla="*/ 0 h 1017"/>
                <a:gd name="T18" fmla="*/ 0 w 873"/>
                <a:gd name="T19" fmla="*/ 0 h 1017"/>
                <a:gd name="T20" fmla="*/ 0 w 873"/>
                <a:gd name="T21" fmla="*/ 0 h 1017"/>
                <a:gd name="T22" fmla="*/ 0 w 873"/>
                <a:gd name="T23" fmla="*/ 0 h 1017"/>
                <a:gd name="T24" fmla="*/ 0 w 873"/>
                <a:gd name="T25" fmla="*/ 0 h 1017"/>
                <a:gd name="T26" fmla="*/ 0 w 873"/>
                <a:gd name="T27" fmla="*/ 0 h 1017"/>
                <a:gd name="T28" fmla="*/ 0 w 873"/>
                <a:gd name="T29" fmla="*/ 0 h 1017"/>
                <a:gd name="T30" fmla="*/ 0 w 873"/>
                <a:gd name="T31" fmla="*/ 0 h 1017"/>
                <a:gd name="T32" fmla="*/ 0 w 873"/>
                <a:gd name="T33" fmla="*/ 0 h 1017"/>
                <a:gd name="T34" fmla="*/ 0 w 873"/>
                <a:gd name="T35" fmla="*/ 0 h 1017"/>
                <a:gd name="T36" fmla="*/ 0 w 873"/>
                <a:gd name="T37" fmla="*/ 0 h 1017"/>
                <a:gd name="T38" fmla="*/ 0 w 873"/>
                <a:gd name="T39" fmla="*/ 0 h 1017"/>
                <a:gd name="T40" fmla="*/ 0 w 873"/>
                <a:gd name="T41" fmla="*/ 0 h 1017"/>
                <a:gd name="T42" fmla="*/ 0 w 873"/>
                <a:gd name="T43" fmla="*/ 0 h 1017"/>
                <a:gd name="T44" fmla="*/ 0 w 873"/>
                <a:gd name="T45" fmla="*/ 0 h 1017"/>
                <a:gd name="T46" fmla="*/ 0 w 873"/>
                <a:gd name="T47" fmla="*/ 0 h 1017"/>
                <a:gd name="T48" fmla="*/ 0 w 873"/>
                <a:gd name="T49" fmla="*/ 0 h 1017"/>
                <a:gd name="T50" fmla="*/ 0 w 873"/>
                <a:gd name="T51" fmla="*/ 0 h 1017"/>
                <a:gd name="T52" fmla="*/ 0 w 873"/>
                <a:gd name="T53" fmla="*/ 0 h 1017"/>
                <a:gd name="T54" fmla="*/ 0 w 873"/>
                <a:gd name="T55" fmla="*/ 0 h 1017"/>
                <a:gd name="T56" fmla="*/ 0 w 873"/>
                <a:gd name="T57" fmla="*/ 0 h 1017"/>
                <a:gd name="T58" fmla="*/ 0 w 873"/>
                <a:gd name="T59" fmla="*/ 0 h 1017"/>
                <a:gd name="T60" fmla="*/ 0 w 873"/>
                <a:gd name="T61" fmla="*/ 0 h 1017"/>
                <a:gd name="T62" fmla="*/ 0 w 873"/>
                <a:gd name="T63" fmla="*/ 0 h 1017"/>
                <a:gd name="T64" fmla="*/ 0 w 873"/>
                <a:gd name="T65" fmla="*/ 0 h 1017"/>
                <a:gd name="T66" fmla="*/ 0 w 873"/>
                <a:gd name="T67" fmla="*/ 0 h 1017"/>
                <a:gd name="T68" fmla="*/ 0 w 873"/>
                <a:gd name="T69" fmla="*/ 0 h 1017"/>
                <a:gd name="T70" fmla="*/ 0 w 873"/>
                <a:gd name="T71" fmla="*/ 0 h 1017"/>
                <a:gd name="T72" fmla="*/ 0 w 873"/>
                <a:gd name="T73" fmla="*/ 0 h 1017"/>
                <a:gd name="T74" fmla="*/ 0 w 873"/>
                <a:gd name="T75" fmla="*/ 0 h 1017"/>
                <a:gd name="T76" fmla="*/ 0 w 873"/>
                <a:gd name="T77" fmla="*/ 0 h 1017"/>
                <a:gd name="T78" fmla="*/ 0 w 873"/>
                <a:gd name="T79" fmla="*/ 0 h 1017"/>
                <a:gd name="T80" fmla="*/ 0 w 873"/>
                <a:gd name="T81" fmla="*/ 0 h 1017"/>
                <a:gd name="T82" fmla="*/ 0 w 873"/>
                <a:gd name="T83" fmla="*/ 0 h 1017"/>
                <a:gd name="T84" fmla="*/ 0 w 873"/>
                <a:gd name="T85" fmla="*/ 0 h 1017"/>
                <a:gd name="T86" fmla="*/ 0 w 873"/>
                <a:gd name="T87" fmla="*/ 0 h 1017"/>
                <a:gd name="T88" fmla="*/ 0 w 873"/>
                <a:gd name="T89" fmla="*/ 0 h 1017"/>
                <a:gd name="T90" fmla="*/ 0 w 873"/>
                <a:gd name="T91" fmla="*/ 0 h 1017"/>
                <a:gd name="T92" fmla="*/ 0 w 873"/>
                <a:gd name="T93" fmla="*/ 0 h 1017"/>
                <a:gd name="T94" fmla="*/ 0 w 873"/>
                <a:gd name="T95" fmla="*/ 0 h 1017"/>
                <a:gd name="T96" fmla="*/ 0 w 873"/>
                <a:gd name="T97" fmla="*/ 0 h 1017"/>
                <a:gd name="T98" fmla="*/ 0 w 873"/>
                <a:gd name="T99" fmla="*/ 0 h 1017"/>
                <a:gd name="T100" fmla="*/ 0 w 873"/>
                <a:gd name="T101" fmla="*/ 0 h 1017"/>
                <a:gd name="T102" fmla="*/ 0 w 873"/>
                <a:gd name="T103" fmla="*/ 0 h 1017"/>
                <a:gd name="T104" fmla="*/ 0 w 873"/>
                <a:gd name="T105" fmla="*/ 0 h 1017"/>
                <a:gd name="T106" fmla="*/ 0 w 873"/>
                <a:gd name="T107" fmla="*/ 0 h 1017"/>
                <a:gd name="T108" fmla="*/ 0 w 873"/>
                <a:gd name="T109" fmla="*/ 0 h 1017"/>
                <a:gd name="T110" fmla="*/ 0 w 873"/>
                <a:gd name="T111" fmla="*/ 0 h 1017"/>
                <a:gd name="T112" fmla="*/ 0 w 873"/>
                <a:gd name="T113" fmla="*/ 0 h 1017"/>
                <a:gd name="T114" fmla="*/ 0 w 873"/>
                <a:gd name="T115" fmla="*/ 0 h 1017"/>
                <a:gd name="T116" fmla="*/ 0 w 873"/>
                <a:gd name="T117" fmla="*/ 0 h 1017"/>
                <a:gd name="T118" fmla="*/ 0 w 873"/>
                <a:gd name="T119" fmla="*/ 0 h 1017"/>
                <a:gd name="T120" fmla="*/ 0 w 873"/>
                <a:gd name="T121" fmla="*/ 0 h 1017"/>
                <a:gd name="T122" fmla="*/ 0 w 873"/>
                <a:gd name="T123" fmla="*/ 0 h 1017"/>
                <a:gd name="T124" fmla="*/ 0 w 873"/>
                <a:gd name="T125" fmla="*/ 0 h 101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873" h="1017">
                  <a:moveTo>
                    <a:pt x="873" y="537"/>
                  </a:moveTo>
                  <a:lnTo>
                    <a:pt x="873" y="509"/>
                  </a:lnTo>
                  <a:lnTo>
                    <a:pt x="872" y="481"/>
                  </a:lnTo>
                  <a:lnTo>
                    <a:pt x="871" y="451"/>
                  </a:lnTo>
                  <a:lnTo>
                    <a:pt x="869" y="423"/>
                  </a:lnTo>
                  <a:lnTo>
                    <a:pt x="867" y="394"/>
                  </a:lnTo>
                  <a:lnTo>
                    <a:pt x="862" y="366"/>
                  </a:lnTo>
                  <a:lnTo>
                    <a:pt x="858" y="338"/>
                  </a:lnTo>
                  <a:lnTo>
                    <a:pt x="851" y="311"/>
                  </a:lnTo>
                  <a:lnTo>
                    <a:pt x="848" y="301"/>
                  </a:lnTo>
                  <a:lnTo>
                    <a:pt x="844" y="287"/>
                  </a:lnTo>
                  <a:lnTo>
                    <a:pt x="839" y="273"/>
                  </a:lnTo>
                  <a:lnTo>
                    <a:pt x="833" y="256"/>
                  </a:lnTo>
                  <a:lnTo>
                    <a:pt x="825" y="238"/>
                  </a:lnTo>
                  <a:lnTo>
                    <a:pt x="816" y="219"/>
                  </a:lnTo>
                  <a:lnTo>
                    <a:pt x="803" y="199"/>
                  </a:lnTo>
                  <a:lnTo>
                    <a:pt x="790" y="178"/>
                  </a:lnTo>
                  <a:lnTo>
                    <a:pt x="779" y="163"/>
                  </a:lnTo>
                  <a:lnTo>
                    <a:pt x="769" y="150"/>
                  </a:lnTo>
                  <a:lnTo>
                    <a:pt x="757" y="137"/>
                  </a:lnTo>
                  <a:lnTo>
                    <a:pt x="746" y="124"/>
                  </a:lnTo>
                  <a:lnTo>
                    <a:pt x="734" y="112"/>
                  </a:lnTo>
                  <a:lnTo>
                    <a:pt x="723" y="102"/>
                  </a:lnTo>
                  <a:lnTo>
                    <a:pt x="710" y="92"/>
                  </a:lnTo>
                  <a:lnTo>
                    <a:pt x="699" y="82"/>
                  </a:lnTo>
                  <a:lnTo>
                    <a:pt x="687" y="74"/>
                  </a:lnTo>
                  <a:lnTo>
                    <a:pt x="675" y="65"/>
                  </a:lnTo>
                  <a:lnTo>
                    <a:pt x="663" y="57"/>
                  </a:lnTo>
                  <a:lnTo>
                    <a:pt x="650" y="51"/>
                  </a:lnTo>
                  <a:lnTo>
                    <a:pt x="626" y="39"/>
                  </a:lnTo>
                  <a:lnTo>
                    <a:pt x="601" y="29"/>
                  </a:lnTo>
                  <a:lnTo>
                    <a:pt x="578" y="21"/>
                  </a:lnTo>
                  <a:lnTo>
                    <a:pt x="555" y="13"/>
                  </a:lnTo>
                  <a:lnTo>
                    <a:pt x="533" y="8"/>
                  </a:lnTo>
                  <a:lnTo>
                    <a:pt x="513" y="5"/>
                  </a:lnTo>
                  <a:lnTo>
                    <a:pt x="492" y="2"/>
                  </a:lnTo>
                  <a:lnTo>
                    <a:pt x="475" y="1"/>
                  </a:lnTo>
                  <a:lnTo>
                    <a:pt x="459" y="0"/>
                  </a:lnTo>
                  <a:lnTo>
                    <a:pt x="444" y="0"/>
                  </a:lnTo>
                  <a:lnTo>
                    <a:pt x="426" y="0"/>
                  </a:lnTo>
                  <a:lnTo>
                    <a:pt x="408" y="1"/>
                  </a:lnTo>
                  <a:lnTo>
                    <a:pt x="389" y="3"/>
                  </a:lnTo>
                  <a:lnTo>
                    <a:pt x="372" y="5"/>
                  </a:lnTo>
                  <a:lnTo>
                    <a:pt x="353" y="8"/>
                  </a:lnTo>
                  <a:lnTo>
                    <a:pt x="336" y="12"/>
                  </a:lnTo>
                  <a:lnTo>
                    <a:pt x="320" y="17"/>
                  </a:lnTo>
                  <a:lnTo>
                    <a:pt x="303" y="22"/>
                  </a:lnTo>
                  <a:lnTo>
                    <a:pt x="287" y="28"/>
                  </a:lnTo>
                  <a:lnTo>
                    <a:pt x="271" y="34"/>
                  </a:lnTo>
                  <a:lnTo>
                    <a:pt x="256" y="41"/>
                  </a:lnTo>
                  <a:lnTo>
                    <a:pt x="240" y="48"/>
                  </a:lnTo>
                  <a:lnTo>
                    <a:pt x="225" y="56"/>
                  </a:lnTo>
                  <a:lnTo>
                    <a:pt x="211" y="65"/>
                  </a:lnTo>
                  <a:lnTo>
                    <a:pt x="197" y="75"/>
                  </a:lnTo>
                  <a:lnTo>
                    <a:pt x="183" y="84"/>
                  </a:lnTo>
                  <a:lnTo>
                    <a:pt x="170" y="95"/>
                  </a:lnTo>
                  <a:lnTo>
                    <a:pt x="158" y="105"/>
                  </a:lnTo>
                  <a:lnTo>
                    <a:pt x="145" y="117"/>
                  </a:lnTo>
                  <a:lnTo>
                    <a:pt x="133" y="129"/>
                  </a:lnTo>
                  <a:lnTo>
                    <a:pt x="122" y="142"/>
                  </a:lnTo>
                  <a:lnTo>
                    <a:pt x="111" y="154"/>
                  </a:lnTo>
                  <a:lnTo>
                    <a:pt x="100" y="168"/>
                  </a:lnTo>
                  <a:lnTo>
                    <a:pt x="90" y="181"/>
                  </a:lnTo>
                  <a:lnTo>
                    <a:pt x="80" y="196"/>
                  </a:lnTo>
                  <a:lnTo>
                    <a:pt x="71" y="211"/>
                  </a:lnTo>
                  <a:lnTo>
                    <a:pt x="63" y="226"/>
                  </a:lnTo>
                  <a:lnTo>
                    <a:pt x="55" y="242"/>
                  </a:lnTo>
                  <a:lnTo>
                    <a:pt x="47" y="258"/>
                  </a:lnTo>
                  <a:lnTo>
                    <a:pt x="40" y="275"/>
                  </a:lnTo>
                  <a:lnTo>
                    <a:pt x="33" y="291"/>
                  </a:lnTo>
                  <a:lnTo>
                    <a:pt x="28" y="309"/>
                  </a:lnTo>
                  <a:lnTo>
                    <a:pt x="19" y="341"/>
                  </a:lnTo>
                  <a:lnTo>
                    <a:pt x="13" y="373"/>
                  </a:lnTo>
                  <a:lnTo>
                    <a:pt x="8" y="402"/>
                  </a:lnTo>
                  <a:lnTo>
                    <a:pt x="4" y="431"/>
                  </a:lnTo>
                  <a:lnTo>
                    <a:pt x="2" y="456"/>
                  </a:lnTo>
                  <a:lnTo>
                    <a:pt x="1" y="478"/>
                  </a:lnTo>
                  <a:lnTo>
                    <a:pt x="0" y="497"/>
                  </a:lnTo>
                  <a:lnTo>
                    <a:pt x="0" y="511"/>
                  </a:lnTo>
                  <a:lnTo>
                    <a:pt x="0" y="536"/>
                  </a:lnTo>
                  <a:lnTo>
                    <a:pt x="1" y="560"/>
                  </a:lnTo>
                  <a:lnTo>
                    <a:pt x="3" y="584"/>
                  </a:lnTo>
                  <a:lnTo>
                    <a:pt x="5" y="606"/>
                  </a:lnTo>
                  <a:lnTo>
                    <a:pt x="8" y="627"/>
                  </a:lnTo>
                  <a:lnTo>
                    <a:pt x="11" y="648"/>
                  </a:lnTo>
                  <a:lnTo>
                    <a:pt x="14" y="668"/>
                  </a:lnTo>
                  <a:lnTo>
                    <a:pt x="18" y="688"/>
                  </a:lnTo>
                  <a:lnTo>
                    <a:pt x="23" y="706"/>
                  </a:lnTo>
                  <a:lnTo>
                    <a:pt x="28" y="723"/>
                  </a:lnTo>
                  <a:lnTo>
                    <a:pt x="33" y="739"/>
                  </a:lnTo>
                  <a:lnTo>
                    <a:pt x="39" y="756"/>
                  </a:lnTo>
                  <a:lnTo>
                    <a:pt x="45" y="771"/>
                  </a:lnTo>
                  <a:lnTo>
                    <a:pt x="53" y="786"/>
                  </a:lnTo>
                  <a:lnTo>
                    <a:pt x="60" y="801"/>
                  </a:lnTo>
                  <a:lnTo>
                    <a:pt x="67" y="814"/>
                  </a:lnTo>
                  <a:lnTo>
                    <a:pt x="75" y="827"/>
                  </a:lnTo>
                  <a:lnTo>
                    <a:pt x="82" y="839"/>
                  </a:lnTo>
                  <a:lnTo>
                    <a:pt x="90" y="850"/>
                  </a:lnTo>
                  <a:lnTo>
                    <a:pt x="99" y="862"/>
                  </a:lnTo>
                  <a:lnTo>
                    <a:pt x="117" y="882"/>
                  </a:lnTo>
                  <a:lnTo>
                    <a:pt x="135" y="900"/>
                  </a:lnTo>
                  <a:lnTo>
                    <a:pt x="154" y="918"/>
                  </a:lnTo>
                  <a:lnTo>
                    <a:pt x="173" y="932"/>
                  </a:lnTo>
                  <a:lnTo>
                    <a:pt x="192" y="945"/>
                  </a:lnTo>
                  <a:lnTo>
                    <a:pt x="212" y="957"/>
                  </a:lnTo>
                  <a:lnTo>
                    <a:pt x="229" y="967"/>
                  </a:lnTo>
                  <a:lnTo>
                    <a:pt x="246" y="976"/>
                  </a:lnTo>
                  <a:lnTo>
                    <a:pt x="264" y="983"/>
                  </a:lnTo>
                  <a:lnTo>
                    <a:pt x="281" y="990"/>
                  </a:lnTo>
                  <a:lnTo>
                    <a:pt x="297" y="995"/>
                  </a:lnTo>
                  <a:lnTo>
                    <a:pt x="314" y="1000"/>
                  </a:lnTo>
                  <a:lnTo>
                    <a:pt x="329" y="1004"/>
                  </a:lnTo>
                  <a:lnTo>
                    <a:pt x="344" y="1007"/>
                  </a:lnTo>
                  <a:lnTo>
                    <a:pt x="372" y="1012"/>
                  </a:lnTo>
                  <a:lnTo>
                    <a:pt x="397" y="1015"/>
                  </a:lnTo>
                  <a:lnTo>
                    <a:pt x="420" y="1016"/>
                  </a:lnTo>
                  <a:lnTo>
                    <a:pt x="437" y="1017"/>
                  </a:lnTo>
                  <a:lnTo>
                    <a:pt x="464" y="1016"/>
                  </a:lnTo>
                  <a:lnTo>
                    <a:pt x="490" y="1014"/>
                  </a:lnTo>
                  <a:lnTo>
                    <a:pt x="517" y="1010"/>
                  </a:lnTo>
                  <a:lnTo>
                    <a:pt x="542" y="1005"/>
                  </a:lnTo>
                  <a:lnTo>
                    <a:pt x="568" y="999"/>
                  </a:lnTo>
                  <a:lnTo>
                    <a:pt x="592" y="991"/>
                  </a:lnTo>
                  <a:lnTo>
                    <a:pt x="617" y="982"/>
                  </a:lnTo>
                  <a:lnTo>
                    <a:pt x="640" y="972"/>
                  </a:lnTo>
                  <a:lnTo>
                    <a:pt x="664" y="959"/>
                  </a:lnTo>
                  <a:lnTo>
                    <a:pt x="685" y="946"/>
                  </a:lnTo>
                  <a:lnTo>
                    <a:pt x="706" y="932"/>
                  </a:lnTo>
                  <a:lnTo>
                    <a:pt x="727" y="916"/>
                  </a:lnTo>
                  <a:lnTo>
                    <a:pt x="746" y="898"/>
                  </a:lnTo>
                  <a:lnTo>
                    <a:pt x="765" y="880"/>
                  </a:lnTo>
                  <a:lnTo>
                    <a:pt x="782" y="861"/>
                  </a:lnTo>
                  <a:lnTo>
                    <a:pt x="797" y="839"/>
                  </a:lnTo>
                  <a:lnTo>
                    <a:pt x="809" y="821"/>
                  </a:lnTo>
                  <a:lnTo>
                    <a:pt x="820" y="802"/>
                  </a:lnTo>
                  <a:lnTo>
                    <a:pt x="830" y="783"/>
                  </a:lnTo>
                  <a:lnTo>
                    <a:pt x="839" y="765"/>
                  </a:lnTo>
                  <a:lnTo>
                    <a:pt x="847" y="748"/>
                  </a:lnTo>
                  <a:lnTo>
                    <a:pt x="853" y="733"/>
                  </a:lnTo>
                  <a:lnTo>
                    <a:pt x="858" y="722"/>
                  </a:lnTo>
                  <a:lnTo>
                    <a:pt x="861" y="715"/>
                  </a:lnTo>
                  <a:lnTo>
                    <a:pt x="660" y="683"/>
                  </a:lnTo>
                  <a:lnTo>
                    <a:pt x="657" y="692"/>
                  </a:lnTo>
                  <a:lnTo>
                    <a:pt x="654" y="700"/>
                  </a:lnTo>
                  <a:lnTo>
                    <a:pt x="651" y="708"/>
                  </a:lnTo>
                  <a:lnTo>
                    <a:pt x="648" y="715"/>
                  </a:lnTo>
                  <a:lnTo>
                    <a:pt x="645" y="723"/>
                  </a:lnTo>
                  <a:lnTo>
                    <a:pt x="641" y="730"/>
                  </a:lnTo>
                  <a:lnTo>
                    <a:pt x="637" y="737"/>
                  </a:lnTo>
                  <a:lnTo>
                    <a:pt x="632" y="746"/>
                  </a:lnTo>
                  <a:lnTo>
                    <a:pt x="624" y="757"/>
                  </a:lnTo>
                  <a:lnTo>
                    <a:pt x="616" y="767"/>
                  </a:lnTo>
                  <a:lnTo>
                    <a:pt x="606" y="776"/>
                  </a:lnTo>
                  <a:lnTo>
                    <a:pt x="596" y="786"/>
                  </a:lnTo>
                  <a:lnTo>
                    <a:pt x="586" y="794"/>
                  </a:lnTo>
                  <a:lnTo>
                    <a:pt x="575" y="803"/>
                  </a:lnTo>
                  <a:lnTo>
                    <a:pt x="564" y="810"/>
                  </a:lnTo>
                  <a:lnTo>
                    <a:pt x="552" y="817"/>
                  </a:lnTo>
                  <a:lnTo>
                    <a:pt x="540" y="823"/>
                  </a:lnTo>
                  <a:lnTo>
                    <a:pt x="528" y="828"/>
                  </a:lnTo>
                  <a:lnTo>
                    <a:pt x="516" y="832"/>
                  </a:lnTo>
                  <a:lnTo>
                    <a:pt x="502" y="836"/>
                  </a:lnTo>
                  <a:lnTo>
                    <a:pt x="490" y="839"/>
                  </a:lnTo>
                  <a:lnTo>
                    <a:pt x="477" y="841"/>
                  </a:lnTo>
                  <a:lnTo>
                    <a:pt x="464" y="842"/>
                  </a:lnTo>
                  <a:lnTo>
                    <a:pt x="450" y="842"/>
                  </a:lnTo>
                  <a:lnTo>
                    <a:pt x="439" y="842"/>
                  </a:lnTo>
                  <a:lnTo>
                    <a:pt x="426" y="841"/>
                  </a:lnTo>
                  <a:lnTo>
                    <a:pt x="412" y="839"/>
                  </a:lnTo>
                  <a:lnTo>
                    <a:pt x="395" y="835"/>
                  </a:lnTo>
                  <a:lnTo>
                    <a:pt x="387" y="833"/>
                  </a:lnTo>
                  <a:lnTo>
                    <a:pt x="379" y="829"/>
                  </a:lnTo>
                  <a:lnTo>
                    <a:pt x="370" y="826"/>
                  </a:lnTo>
                  <a:lnTo>
                    <a:pt x="362" y="821"/>
                  </a:lnTo>
                  <a:lnTo>
                    <a:pt x="352" y="816"/>
                  </a:lnTo>
                  <a:lnTo>
                    <a:pt x="343" y="810"/>
                  </a:lnTo>
                  <a:lnTo>
                    <a:pt x="334" y="803"/>
                  </a:lnTo>
                  <a:lnTo>
                    <a:pt x="324" y="794"/>
                  </a:lnTo>
                  <a:lnTo>
                    <a:pt x="310" y="781"/>
                  </a:lnTo>
                  <a:lnTo>
                    <a:pt x="297" y="767"/>
                  </a:lnTo>
                  <a:lnTo>
                    <a:pt x="286" y="753"/>
                  </a:lnTo>
                  <a:lnTo>
                    <a:pt x="277" y="737"/>
                  </a:lnTo>
                  <a:lnTo>
                    <a:pt x="269" y="723"/>
                  </a:lnTo>
                  <a:lnTo>
                    <a:pt x="262" y="708"/>
                  </a:lnTo>
                  <a:lnTo>
                    <a:pt x="256" y="694"/>
                  </a:lnTo>
                  <a:lnTo>
                    <a:pt x="250" y="679"/>
                  </a:lnTo>
                  <a:lnTo>
                    <a:pt x="246" y="666"/>
                  </a:lnTo>
                  <a:lnTo>
                    <a:pt x="243" y="653"/>
                  </a:lnTo>
                  <a:lnTo>
                    <a:pt x="240" y="641"/>
                  </a:lnTo>
                  <a:lnTo>
                    <a:pt x="238" y="629"/>
                  </a:lnTo>
                  <a:lnTo>
                    <a:pt x="236" y="609"/>
                  </a:lnTo>
                  <a:lnTo>
                    <a:pt x="234" y="594"/>
                  </a:lnTo>
                  <a:lnTo>
                    <a:pt x="234" y="587"/>
                  </a:lnTo>
                  <a:lnTo>
                    <a:pt x="233" y="580"/>
                  </a:lnTo>
                  <a:lnTo>
                    <a:pt x="232" y="572"/>
                  </a:lnTo>
                  <a:lnTo>
                    <a:pt x="232" y="565"/>
                  </a:lnTo>
                  <a:lnTo>
                    <a:pt x="231" y="559"/>
                  </a:lnTo>
                  <a:lnTo>
                    <a:pt x="231" y="552"/>
                  </a:lnTo>
                  <a:lnTo>
                    <a:pt x="231" y="546"/>
                  </a:lnTo>
                  <a:lnTo>
                    <a:pt x="231" y="540"/>
                  </a:lnTo>
                  <a:lnTo>
                    <a:pt x="873" y="537"/>
                  </a:lnTo>
                  <a:close/>
                  <a:moveTo>
                    <a:pt x="225" y="397"/>
                  </a:moveTo>
                  <a:lnTo>
                    <a:pt x="227" y="380"/>
                  </a:lnTo>
                  <a:lnTo>
                    <a:pt x="229" y="365"/>
                  </a:lnTo>
                  <a:lnTo>
                    <a:pt x="231" y="353"/>
                  </a:lnTo>
                  <a:lnTo>
                    <a:pt x="233" y="342"/>
                  </a:lnTo>
                  <a:lnTo>
                    <a:pt x="235" y="332"/>
                  </a:lnTo>
                  <a:lnTo>
                    <a:pt x="238" y="323"/>
                  </a:lnTo>
                  <a:lnTo>
                    <a:pt x="241" y="315"/>
                  </a:lnTo>
                  <a:lnTo>
                    <a:pt x="245" y="306"/>
                  </a:lnTo>
                  <a:lnTo>
                    <a:pt x="251" y="290"/>
                  </a:lnTo>
                  <a:lnTo>
                    <a:pt x="258" y="277"/>
                  </a:lnTo>
                  <a:lnTo>
                    <a:pt x="265" y="265"/>
                  </a:lnTo>
                  <a:lnTo>
                    <a:pt x="273" y="253"/>
                  </a:lnTo>
                  <a:lnTo>
                    <a:pt x="280" y="243"/>
                  </a:lnTo>
                  <a:lnTo>
                    <a:pt x="288" y="232"/>
                  </a:lnTo>
                  <a:lnTo>
                    <a:pt x="296" y="223"/>
                  </a:lnTo>
                  <a:lnTo>
                    <a:pt x="304" y="215"/>
                  </a:lnTo>
                  <a:lnTo>
                    <a:pt x="321" y="201"/>
                  </a:lnTo>
                  <a:lnTo>
                    <a:pt x="337" y="190"/>
                  </a:lnTo>
                  <a:lnTo>
                    <a:pt x="351" y="180"/>
                  </a:lnTo>
                  <a:lnTo>
                    <a:pt x="364" y="174"/>
                  </a:lnTo>
                  <a:lnTo>
                    <a:pt x="369" y="171"/>
                  </a:lnTo>
                  <a:lnTo>
                    <a:pt x="376" y="168"/>
                  </a:lnTo>
                  <a:lnTo>
                    <a:pt x="384" y="165"/>
                  </a:lnTo>
                  <a:lnTo>
                    <a:pt x="393" y="162"/>
                  </a:lnTo>
                  <a:lnTo>
                    <a:pt x="403" y="160"/>
                  </a:lnTo>
                  <a:lnTo>
                    <a:pt x="416" y="157"/>
                  </a:lnTo>
                  <a:lnTo>
                    <a:pt x="428" y="156"/>
                  </a:lnTo>
                  <a:lnTo>
                    <a:pt x="441" y="155"/>
                  </a:lnTo>
                  <a:lnTo>
                    <a:pt x="450" y="155"/>
                  </a:lnTo>
                  <a:lnTo>
                    <a:pt x="462" y="156"/>
                  </a:lnTo>
                  <a:lnTo>
                    <a:pt x="474" y="158"/>
                  </a:lnTo>
                  <a:lnTo>
                    <a:pt x="488" y="162"/>
                  </a:lnTo>
                  <a:lnTo>
                    <a:pt x="503" y="167"/>
                  </a:lnTo>
                  <a:lnTo>
                    <a:pt x="520" y="174"/>
                  </a:lnTo>
                  <a:lnTo>
                    <a:pt x="537" y="185"/>
                  </a:lnTo>
                  <a:lnTo>
                    <a:pt x="555" y="197"/>
                  </a:lnTo>
                  <a:lnTo>
                    <a:pt x="568" y="207"/>
                  </a:lnTo>
                  <a:lnTo>
                    <a:pt x="579" y="217"/>
                  </a:lnTo>
                  <a:lnTo>
                    <a:pt x="589" y="227"/>
                  </a:lnTo>
                  <a:lnTo>
                    <a:pt x="598" y="238"/>
                  </a:lnTo>
                  <a:lnTo>
                    <a:pt x="606" y="250"/>
                  </a:lnTo>
                  <a:lnTo>
                    <a:pt x="614" y="261"/>
                  </a:lnTo>
                  <a:lnTo>
                    <a:pt x="621" y="273"/>
                  </a:lnTo>
                  <a:lnTo>
                    <a:pt x="626" y="285"/>
                  </a:lnTo>
                  <a:lnTo>
                    <a:pt x="631" y="299"/>
                  </a:lnTo>
                  <a:lnTo>
                    <a:pt x="635" y="311"/>
                  </a:lnTo>
                  <a:lnTo>
                    <a:pt x="639" y="324"/>
                  </a:lnTo>
                  <a:lnTo>
                    <a:pt x="642" y="338"/>
                  </a:lnTo>
                  <a:lnTo>
                    <a:pt x="647" y="367"/>
                  </a:lnTo>
                  <a:lnTo>
                    <a:pt x="652" y="397"/>
                  </a:lnTo>
                  <a:lnTo>
                    <a:pt x="225" y="397"/>
                  </a:lnTo>
                  <a:close/>
                </a:path>
              </a:pathLst>
            </a:custGeom>
            <a:solidFill>
              <a:srgbClr val="5E737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276" u="sng">
                <a:solidFill>
                  <a:srgbClr val="000000"/>
                </a:solidFill>
                <a:latin typeface="Arial" charset="0"/>
                <a:cs typeface="Arial"/>
              </a:endParaRPr>
            </a:p>
          </p:txBody>
        </p:sp>
        <p:sp>
          <p:nvSpPr>
            <p:cNvPr id="15" name="Freeform 61"/>
            <p:cNvSpPr>
              <a:spLocks/>
            </p:cNvSpPr>
            <p:nvPr userDrawn="1"/>
          </p:nvSpPr>
          <p:spPr bwMode="auto">
            <a:xfrm>
              <a:off x="5320" y="361"/>
              <a:ext cx="40" cy="50"/>
            </a:xfrm>
            <a:custGeom>
              <a:avLst/>
              <a:gdLst>
                <a:gd name="T0" fmla="*/ 0 w 798"/>
                <a:gd name="T1" fmla="*/ 0 h 1000"/>
                <a:gd name="T2" fmla="*/ 0 w 798"/>
                <a:gd name="T3" fmla="*/ 0 h 1000"/>
                <a:gd name="T4" fmla="*/ 0 w 798"/>
                <a:gd name="T5" fmla="*/ 0 h 1000"/>
                <a:gd name="T6" fmla="*/ 0 w 798"/>
                <a:gd name="T7" fmla="*/ 0 h 1000"/>
                <a:gd name="T8" fmla="*/ 0 w 798"/>
                <a:gd name="T9" fmla="*/ 0 h 1000"/>
                <a:gd name="T10" fmla="*/ 0 w 798"/>
                <a:gd name="T11" fmla="*/ 0 h 1000"/>
                <a:gd name="T12" fmla="*/ 0 w 798"/>
                <a:gd name="T13" fmla="*/ 0 h 1000"/>
                <a:gd name="T14" fmla="*/ 0 w 798"/>
                <a:gd name="T15" fmla="*/ 0 h 1000"/>
                <a:gd name="T16" fmla="*/ 0 w 798"/>
                <a:gd name="T17" fmla="*/ 0 h 1000"/>
                <a:gd name="T18" fmla="*/ 0 w 798"/>
                <a:gd name="T19" fmla="*/ 0 h 1000"/>
                <a:gd name="T20" fmla="*/ 0 w 798"/>
                <a:gd name="T21" fmla="*/ 0 h 1000"/>
                <a:gd name="T22" fmla="*/ 0 w 798"/>
                <a:gd name="T23" fmla="*/ 0 h 1000"/>
                <a:gd name="T24" fmla="*/ 0 w 798"/>
                <a:gd name="T25" fmla="*/ 0 h 1000"/>
                <a:gd name="T26" fmla="*/ 0 w 798"/>
                <a:gd name="T27" fmla="*/ 0 h 1000"/>
                <a:gd name="T28" fmla="*/ 0 w 798"/>
                <a:gd name="T29" fmla="*/ 0 h 1000"/>
                <a:gd name="T30" fmla="*/ 0 w 798"/>
                <a:gd name="T31" fmla="*/ 0 h 1000"/>
                <a:gd name="T32" fmla="*/ 0 w 798"/>
                <a:gd name="T33" fmla="*/ 0 h 1000"/>
                <a:gd name="T34" fmla="*/ 0 w 798"/>
                <a:gd name="T35" fmla="*/ 0 h 1000"/>
                <a:gd name="T36" fmla="*/ 0 w 798"/>
                <a:gd name="T37" fmla="*/ 0 h 1000"/>
                <a:gd name="T38" fmla="*/ 0 w 798"/>
                <a:gd name="T39" fmla="*/ 0 h 1000"/>
                <a:gd name="T40" fmla="*/ 0 w 798"/>
                <a:gd name="T41" fmla="*/ 0 h 1000"/>
                <a:gd name="T42" fmla="*/ 0 w 798"/>
                <a:gd name="T43" fmla="*/ 0 h 1000"/>
                <a:gd name="T44" fmla="*/ 0 w 798"/>
                <a:gd name="T45" fmla="*/ 0 h 1000"/>
                <a:gd name="T46" fmla="*/ 0 w 798"/>
                <a:gd name="T47" fmla="*/ 0 h 1000"/>
                <a:gd name="T48" fmla="*/ 0 w 798"/>
                <a:gd name="T49" fmla="*/ 0 h 1000"/>
                <a:gd name="T50" fmla="*/ 0 w 798"/>
                <a:gd name="T51" fmla="*/ 0 h 1000"/>
                <a:gd name="T52" fmla="*/ 0 w 798"/>
                <a:gd name="T53" fmla="*/ 0 h 1000"/>
                <a:gd name="T54" fmla="*/ 0 w 798"/>
                <a:gd name="T55" fmla="*/ 0 h 1000"/>
                <a:gd name="T56" fmla="*/ 0 w 798"/>
                <a:gd name="T57" fmla="*/ 0 h 1000"/>
                <a:gd name="T58" fmla="*/ 0 w 798"/>
                <a:gd name="T59" fmla="*/ 0 h 1000"/>
                <a:gd name="T60" fmla="*/ 0 w 798"/>
                <a:gd name="T61" fmla="*/ 0 h 1000"/>
                <a:gd name="T62" fmla="*/ 0 w 798"/>
                <a:gd name="T63" fmla="*/ 0 h 1000"/>
                <a:gd name="T64" fmla="*/ 0 w 798"/>
                <a:gd name="T65" fmla="*/ 0 h 1000"/>
                <a:gd name="T66" fmla="*/ 0 w 798"/>
                <a:gd name="T67" fmla="*/ 0 h 1000"/>
                <a:gd name="T68" fmla="*/ 0 w 798"/>
                <a:gd name="T69" fmla="*/ 0 h 1000"/>
                <a:gd name="T70" fmla="*/ 0 w 798"/>
                <a:gd name="T71" fmla="*/ 0 h 1000"/>
                <a:gd name="T72" fmla="*/ 0 w 798"/>
                <a:gd name="T73" fmla="*/ 0 h 1000"/>
                <a:gd name="T74" fmla="*/ 0 w 798"/>
                <a:gd name="T75" fmla="*/ 0 h 1000"/>
                <a:gd name="T76" fmla="*/ 0 w 798"/>
                <a:gd name="T77" fmla="*/ 0 h 1000"/>
                <a:gd name="T78" fmla="*/ 0 w 798"/>
                <a:gd name="T79" fmla="*/ 0 h 1000"/>
                <a:gd name="T80" fmla="*/ 0 w 798"/>
                <a:gd name="T81" fmla="*/ 0 h 1000"/>
                <a:gd name="T82" fmla="*/ 0 w 798"/>
                <a:gd name="T83" fmla="*/ 0 h 1000"/>
                <a:gd name="T84" fmla="*/ 0 w 798"/>
                <a:gd name="T85" fmla="*/ 0 h 1000"/>
                <a:gd name="T86" fmla="*/ 0 w 798"/>
                <a:gd name="T87" fmla="*/ 0 h 1000"/>
                <a:gd name="T88" fmla="*/ 0 w 798"/>
                <a:gd name="T89" fmla="*/ 0 h 1000"/>
                <a:gd name="T90" fmla="*/ 0 w 798"/>
                <a:gd name="T91" fmla="*/ 0 h 1000"/>
                <a:gd name="T92" fmla="*/ 0 w 798"/>
                <a:gd name="T93" fmla="*/ 0 h 1000"/>
                <a:gd name="T94" fmla="*/ 0 w 798"/>
                <a:gd name="T95" fmla="*/ 0 h 1000"/>
                <a:gd name="T96" fmla="*/ 0 w 798"/>
                <a:gd name="T97" fmla="*/ 0 h 1000"/>
                <a:gd name="T98" fmla="*/ 0 w 798"/>
                <a:gd name="T99" fmla="*/ 0 h 1000"/>
                <a:gd name="T100" fmla="*/ 0 w 798"/>
                <a:gd name="T101" fmla="*/ 0 h 1000"/>
                <a:gd name="T102" fmla="*/ 0 w 798"/>
                <a:gd name="T103" fmla="*/ 0 h 1000"/>
                <a:gd name="T104" fmla="*/ 0 w 798"/>
                <a:gd name="T105" fmla="*/ 0 h 1000"/>
                <a:gd name="T106" fmla="*/ 0 w 798"/>
                <a:gd name="T107" fmla="*/ 0 h 100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98" h="1000">
                  <a:moveTo>
                    <a:pt x="0" y="23"/>
                  </a:moveTo>
                  <a:lnTo>
                    <a:pt x="0" y="993"/>
                  </a:lnTo>
                  <a:lnTo>
                    <a:pt x="220" y="1000"/>
                  </a:lnTo>
                  <a:lnTo>
                    <a:pt x="220" y="483"/>
                  </a:lnTo>
                  <a:lnTo>
                    <a:pt x="222" y="446"/>
                  </a:lnTo>
                  <a:lnTo>
                    <a:pt x="226" y="410"/>
                  </a:lnTo>
                  <a:lnTo>
                    <a:pt x="228" y="391"/>
                  </a:lnTo>
                  <a:lnTo>
                    <a:pt x="231" y="374"/>
                  </a:lnTo>
                  <a:lnTo>
                    <a:pt x="235" y="358"/>
                  </a:lnTo>
                  <a:lnTo>
                    <a:pt x="239" y="340"/>
                  </a:lnTo>
                  <a:lnTo>
                    <a:pt x="244" y="324"/>
                  </a:lnTo>
                  <a:lnTo>
                    <a:pt x="251" y="309"/>
                  </a:lnTo>
                  <a:lnTo>
                    <a:pt x="258" y="293"/>
                  </a:lnTo>
                  <a:lnTo>
                    <a:pt x="268" y="278"/>
                  </a:lnTo>
                  <a:lnTo>
                    <a:pt x="278" y="264"/>
                  </a:lnTo>
                  <a:lnTo>
                    <a:pt x="290" y="251"/>
                  </a:lnTo>
                  <a:lnTo>
                    <a:pt x="303" y="237"/>
                  </a:lnTo>
                  <a:lnTo>
                    <a:pt x="319" y="225"/>
                  </a:lnTo>
                  <a:lnTo>
                    <a:pt x="336" y="212"/>
                  </a:lnTo>
                  <a:lnTo>
                    <a:pt x="352" y="202"/>
                  </a:lnTo>
                  <a:lnTo>
                    <a:pt x="369" y="195"/>
                  </a:lnTo>
                  <a:lnTo>
                    <a:pt x="384" y="190"/>
                  </a:lnTo>
                  <a:lnTo>
                    <a:pt x="397" y="186"/>
                  </a:lnTo>
                  <a:lnTo>
                    <a:pt x="410" y="183"/>
                  </a:lnTo>
                  <a:lnTo>
                    <a:pt x="421" y="182"/>
                  </a:lnTo>
                  <a:lnTo>
                    <a:pt x="430" y="181"/>
                  </a:lnTo>
                  <a:lnTo>
                    <a:pt x="448" y="182"/>
                  </a:lnTo>
                  <a:lnTo>
                    <a:pt x="464" y="186"/>
                  </a:lnTo>
                  <a:lnTo>
                    <a:pt x="479" y="190"/>
                  </a:lnTo>
                  <a:lnTo>
                    <a:pt x="492" y="195"/>
                  </a:lnTo>
                  <a:lnTo>
                    <a:pt x="503" y="201"/>
                  </a:lnTo>
                  <a:lnTo>
                    <a:pt x="512" y="206"/>
                  </a:lnTo>
                  <a:lnTo>
                    <a:pt x="521" y="212"/>
                  </a:lnTo>
                  <a:lnTo>
                    <a:pt x="528" y="217"/>
                  </a:lnTo>
                  <a:lnTo>
                    <a:pt x="538" y="227"/>
                  </a:lnTo>
                  <a:lnTo>
                    <a:pt x="546" y="237"/>
                  </a:lnTo>
                  <a:lnTo>
                    <a:pt x="554" y="248"/>
                  </a:lnTo>
                  <a:lnTo>
                    <a:pt x="561" y="259"/>
                  </a:lnTo>
                  <a:lnTo>
                    <a:pt x="566" y="270"/>
                  </a:lnTo>
                  <a:lnTo>
                    <a:pt x="572" y="281"/>
                  </a:lnTo>
                  <a:lnTo>
                    <a:pt x="576" y="293"/>
                  </a:lnTo>
                  <a:lnTo>
                    <a:pt x="579" y="306"/>
                  </a:lnTo>
                  <a:lnTo>
                    <a:pt x="583" y="331"/>
                  </a:lnTo>
                  <a:lnTo>
                    <a:pt x="586" y="358"/>
                  </a:lnTo>
                  <a:lnTo>
                    <a:pt x="587" y="384"/>
                  </a:lnTo>
                  <a:lnTo>
                    <a:pt x="588" y="412"/>
                  </a:lnTo>
                  <a:lnTo>
                    <a:pt x="588" y="1000"/>
                  </a:lnTo>
                  <a:lnTo>
                    <a:pt x="798" y="1000"/>
                  </a:lnTo>
                  <a:lnTo>
                    <a:pt x="798" y="339"/>
                  </a:lnTo>
                  <a:lnTo>
                    <a:pt x="797" y="333"/>
                  </a:lnTo>
                  <a:lnTo>
                    <a:pt x="796" y="323"/>
                  </a:lnTo>
                  <a:lnTo>
                    <a:pt x="796" y="311"/>
                  </a:lnTo>
                  <a:lnTo>
                    <a:pt x="795" y="296"/>
                  </a:lnTo>
                  <a:lnTo>
                    <a:pt x="793" y="281"/>
                  </a:lnTo>
                  <a:lnTo>
                    <a:pt x="791" y="264"/>
                  </a:lnTo>
                  <a:lnTo>
                    <a:pt x="788" y="247"/>
                  </a:lnTo>
                  <a:lnTo>
                    <a:pt x="785" y="230"/>
                  </a:lnTo>
                  <a:lnTo>
                    <a:pt x="780" y="213"/>
                  </a:lnTo>
                  <a:lnTo>
                    <a:pt x="776" y="198"/>
                  </a:lnTo>
                  <a:lnTo>
                    <a:pt x="770" y="184"/>
                  </a:lnTo>
                  <a:lnTo>
                    <a:pt x="765" y="171"/>
                  </a:lnTo>
                  <a:lnTo>
                    <a:pt x="760" y="161"/>
                  </a:lnTo>
                  <a:lnTo>
                    <a:pt x="756" y="151"/>
                  </a:lnTo>
                  <a:lnTo>
                    <a:pt x="752" y="143"/>
                  </a:lnTo>
                  <a:lnTo>
                    <a:pt x="749" y="137"/>
                  </a:lnTo>
                  <a:lnTo>
                    <a:pt x="742" y="125"/>
                  </a:lnTo>
                  <a:lnTo>
                    <a:pt x="734" y="113"/>
                  </a:lnTo>
                  <a:lnTo>
                    <a:pt x="726" y="102"/>
                  </a:lnTo>
                  <a:lnTo>
                    <a:pt x="716" y="91"/>
                  </a:lnTo>
                  <a:lnTo>
                    <a:pt x="707" y="81"/>
                  </a:lnTo>
                  <a:lnTo>
                    <a:pt x="698" y="71"/>
                  </a:lnTo>
                  <a:lnTo>
                    <a:pt x="688" y="62"/>
                  </a:lnTo>
                  <a:lnTo>
                    <a:pt x="678" y="54"/>
                  </a:lnTo>
                  <a:lnTo>
                    <a:pt x="666" y="47"/>
                  </a:lnTo>
                  <a:lnTo>
                    <a:pt x="652" y="38"/>
                  </a:lnTo>
                  <a:lnTo>
                    <a:pt x="635" y="30"/>
                  </a:lnTo>
                  <a:lnTo>
                    <a:pt x="614" y="21"/>
                  </a:lnTo>
                  <a:lnTo>
                    <a:pt x="591" y="13"/>
                  </a:lnTo>
                  <a:lnTo>
                    <a:pt x="564" y="6"/>
                  </a:lnTo>
                  <a:lnTo>
                    <a:pt x="550" y="4"/>
                  </a:lnTo>
                  <a:lnTo>
                    <a:pt x="535" y="2"/>
                  </a:lnTo>
                  <a:lnTo>
                    <a:pt x="520" y="0"/>
                  </a:lnTo>
                  <a:lnTo>
                    <a:pt x="503" y="0"/>
                  </a:lnTo>
                  <a:lnTo>
                    <a:pt x="489" y="0"/>
                  </a:lnTo>
                  <a:lnTo>
                    <a:pt x="475" y="1"/>
                  </a:lnTo>
                  <a:lnTo>
                    <a:pt x="461" y="2"/>
                  </a:lnTo>
                  <a:lnTo>
                    <a:pt x="449" y="4"/>
                  </a:lnTo>
                  <a:lnTo>
                    <a:pt x="425" y="9"/>
                  </a:lnTo>
                  <a:lnTo>
                    <a:pt x="402" y="15"/>
                  </a:lnTo>
                  <a:lnTo>
                    <a:pt x="382" y="24"/>
                  </a:lnTo>
                  <a:lnTo>
                    <a:pt x="362" y="33"/>
                  </a:lnTo>
                  <a:lnTo>
                    <a:pt x="345" y="43"/>
                  </a:lnTo>
                  <a:lnTo>
                    <a:pt x="329" y="54"/>
                  </a:lnTo>
                  <a:lnTo>
                    <a:pt x="315" y="65"/>
                  </a:lnTo>
                  <a:lnTo>
                    <a:pt x="301" y="78"/>
                  </a:lnTo>
                  <a:lnTo>
                    <a:pt x="289" y="89"/>
                  </a:lnTo>
                  <a:lnTo>
                    <a:pt x="279" y="101"/>
                  </a:lnTo>
                  <a:lnTo>
                    <a:pt x="262" y="124"/>
                  </a:lnTo>
                  <a:lnTo>
                    <a:pt x="248" y="144"/>
                  </a:lnTo>
                  <a:lnTo>
                    <a:pt x="241" y="154"/>
                  </a:lnTo>
                  <a:lnTo>
                    <a:pt x="235" y="165"/>
                  </a:lnTo>
                  <a:lnTo>
                    <a:pt x="229" y="176"/>
                  </a:lnTo>
                  <a:lnTo>
                    <a:pt x="222" y="189"/>
                  </a:lnTo>
                  <a:lnTo>
                    <a:pt x="217" y="200"/>
                  </a:lnTo>
                  <a:lnTo>
                    <a:pt x="211" y="211"/>
                  </a:lnTo>
                  <a:lnTo>
                    <a:pt x="205" y="222"/>
                  </a:lnTo>
                  <a:lnTo>
                    <a:pt x="201" y="232"/>
                  </a:lnTo>
                  <a:lnTo>
                    <a:pt x="201" y="23"/>
                  </a:lnTo>
                  <a:lnTo>
                    <a:pt x="0" y="23"/>
                  </a:lnTo>
                  <a:close/>
                </a:path>
              </a:pathLst>
            </a:custGeom>
            <a:solidFill>
              <a:srgbClr val="5E737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276" u="sng">
                <a:solidFill>
                  <a:srgbClr val="000000"/>
                </a:solidFill>
                <a:latin typeface="Arial" charset="0"/>
                <a:cs typeface="Arial"/>
              </a:endParaRPr>
            </a:p>
          </p:txBody>
        </p:sp>
        <p:sp>
          <p:nvSpPr>
            <p:cNvPr id="16" name="Freeform 62"/>
            <p:cNvSpPr>
              <a:spLocks/>
            </p:cNvSpPr>
            <p:nvPr userDrawn="1"/>
          </p:nvSpPr>
          <p:spPr bwMode="auto">
            <a:xfrm>
              <a:off x="5369" y="361"/>
              <a:ext cx="42" cy="51"/>
            </a:xfrm>
            <a:custGeom>
              <a:avLst/>
              <a:gdLst>
                <a:gd name="T0" fmla="*/ 0 w 843"/>
                <a:gd name="T1" fmla="*/ 0 h 1019"/>
                <a:gd name="T2" fmla="*/ 0 w 843"/>
                <a:gd name="T3" fmla="*/ 0 h 1019"/>
                <a:gd name="T4" fmla="*/ 0 w 843"/>
                <a:gd name="T5" fmla="*/ 0 h 1019"/>
                <a:gd name="T6" fmla="*/ 0 w 843"/>
                <a:gd name="T7" fmla="*/ 0 h 1019"/>
                <a:gd name="T8" fmla="*/ 0 w 843"/>
                <a:gd name="T9" fmla="*/ 0 h 1019"/>
                <a:gd name="T10" fmla="*/ 0 w 843"/>
                <a:gd name="T11" fmla="*/ 0 h 1019"/>
                <a:gd name="T12" fmla="*/ 0 w 843"/>
                <a:gd name="T13" fmla="*/ 0 h 1019"/>
                <a:gd name="T14" fmla="*/ 0 w 843"/>
                <a:gd name="T15" fmla="*/ 0 h 1019"/>
                <a:gd name="T16" fmla="*/ 0 w 843"/>
                <a:gd name="T17" fmla="*/ 0 h 1019"/>
                <a:gd name="T18" fmla="*/ 0 w 843"/>
                <a:gd name="T19" fmla="*/ 0 h 1019"/>
                <a:gd name="T20" fmla="*/ 0 w 843"/>
                <a:gd name="T21" fmla="*/ 0 h 1019"/>
                <a:gd name="T22" fmla="*/ 0 w 843"/>
                <a:gd name="T23" fmla="*/ 0 h 1019"/>
                <a:gd name="T24" fmla="*/ 0 w 843"/>
                <a:gd name="T25" fmla="*/ 0 h 1019"/>
                <a:gd name="T26" fmla="*/ 0 w 843"/>
                <a:gd name="T27" fmla="*/ 0 h 1019"/>
                <a:gd name="T28" fmla="*/ 0 w 843"/>
                <a:gd name="T29" fmla="*/ 0 h 1019"/>
                <a:gd name="T30" fmla="*/ 0 w 843"/>
                <a:gd name="T31" fmla="*/ 0 h 1019"/>
                <a:gd name="T32" fmla="*/ 0 w 843"/>
                <a:gd name="T33" fmla="*/ 0 h 1019"/>
                <a:gd name="T34" fmla="*/ 0 w 843"/>
                <a:gd name="T35" fmla="*/ 0 h 1019"/>
                <a:gd name="T36" fmla="*/ 0 w 843"/>
                <a:gd name="T37" fmla="*/ 0 h 1019"/>
                <a:gd name="T38" fmla="*/ 0 w 843"/>
                <a:gd name="T39" fmla="*/ 0 h 1019"/>
                <a:gd name="T40" fmla="*/ 0 w 843"/>
                <a:gd name="T41" fmla="*/ 0 h 1019"/>
                <a:gd name="T42" fmla="*/ 0 w 843"/>
                <a:gd name="T43" fmla="*/ 0 h 1019"/>
                <a:gd name="T44" fmla="*/ 0 w 843"/>
                <a:gd name="T45" fmla="*/ 0 h 1019"/>
                <a:gd name="T46" fmla="*/ 0 w 843"/>
                <a:gd name="T47" fmla="*/ 0 h 1019"/>
                <a:gd name="T48" fmla="*/ 0 w 843"/>
                <a:gd name="T49" fmla="*/ 0 h 1019"/>
                <a:gd name="T50" fmla="*/ 0 w 843"/>
                <a:gd name="T51" fmla="*/ 0 h 1019"/>
                <a:gd name="T52" fmla="*/ 0 w 843"/>
                <a:gd name="T53" fmla="*/ 0 h 1019"/>
                <a:gd name="T54" fmla="*/ 0 w 843"/>
                <a:gd name="T55" fmla="*/ 0 h 1019"/>
                <a:gd name="T56" fmla="*/ 0 w 843"/>
                <a:gd name="T57" fmla="*/ 0 h 1019"/>
                <a:gd name="T58" fmla="*/ 0 w 843"/>
                <a:gd name="T59" fmla="*/ 0 h 1019"/>
                <a:gd name="T60" fmla="*/ 0 w 843"/>
                <a:gd name="T61" fmla="*/ 0 h 1019"/>
                <a:gd name="T62" fmla="*/ 0 w 843"/>
                <a:gd name="T63" fmla="*/ 0 h 1019"/>
                <a:gd name="T64" fmla="*/ 0 w 843"/>
                <a:gd name="T65" fmla="*/ 0 h 1019"/>
                <a:gd name="T66" fmla="*/ 0 w 843"/>
                <a:gd name="T67" fmla="*/ 0 h 1019"/>
                <a:gd name="T68" fmla="*/ 0 w 843"/>
                <a:gd name="T69" fmla="*/ 0 h 1019"/>
                <a:gd name="T70" fmla="*/ 0 w 843"/>
                <a:gd name="T71" fmla="*/ 0 h 1019"/>
                <a:gd name="T72" fmla="*/ 0 w 843"/>
                <a:gd name="T73" fmla="*/ 0 h 1019"/>
                <a:gd name="T74" fmla="*/ 0 w 843"/>
                <a:gd name="T75" fmla="*/ 0 h 1019"/>
                <a:gd name="T76" fmla="*/ 0 w 843"/>
                <a:gd name="T77" fmla="*/ 0 h 1019"/>
                <a:gd name="T78" fmla="*/ 0 w 843"/>
                <a:gd name="T79" fmla="*/ 0 h 1019"/>
                <a:gd name="T80" fmla="*/ 0 w 843"/>
                <a:gd name="T81" fmla="*/ 0 h 1019"/>
                <a:gd name="T82" fmla="*/ 0 w 843"/>
                <a:gd name="T83" fmla="*/ 0 h 1019"/>
                <a:gd name="T84" fmla="*/ 0 w 843"/>
                <a:gd name="T85" fmla="*/ 0 h 1019"/>
                <a:gd name="T86" fmla="*/ 0 w 843"/>
                <a:gd name="T87" fmla="*/ 0 h 1019"/>
                <a:gd name="T88" fmla="*/ 0 w 843"/>
                <a:gd name="T89" fmla="*/ 0 h 1019"/>
                <a:gd name="T90" fmla="*/ 0 w 843"/>
                <a:gd name="T91" fmla="*/ 0 h 1019"/>
                <a:gd name="T92" fmla="*/ 0 w 843"/>
                <a:gd name="T93" fmla="*/ 0 h 1019"/>
                <a:gd name="T94" fmla="*/ 0 w 843"/>
                <a:gd name="T95" fmla="*/ 0 h 1019"/>
                <a:gd name="T96" fmla="*/ 0 w 843"/>
                <a:gd name="T97" fmla="*/ 0 h 1019"/>
                <a:gd name="T98" fmla="*/ 0 w 843"/>
                <a:gd name="T99" fmla="*/ 0 h 1019"/>
                <a:gd name="T100" fmla="*/ 0 w 843"/>
                <a:gd name="T101" fmla="*/ 0 h 1019"/>
                <a:gd name="T102" fmla="*/ 0 w 843"/>
                <a:gd name="T103" fmla="*/ 0 h 1019"/>
                <a:gd name="T104" fmla="*/ 0 w 843"/>
                <a:gd name="T105" fmla="*/ 0 h 1019"/>
                <a:gd name="T106" fmla="*/ 0 w 843"/>
                <a:gd name="T107" fmla="*/ 0 h 1019"/>
                <a:gd name="T108" fmla="*/ 0 w 843"/>
                <a:gd name="T109" fmla="*/ 0 h 1019"/>
                <a:gd name="T110" fmla="*/ 0 w 843"/>
                <a:gd name="T111" fmla="*/ 0 h 1019"/>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843" h="1019">
                  <a:moveTo>
                    <a:pt x="498" y="635"/>
                  </a:moveTo>
                  <a:lnTo>
                    <a:pt x="515" y="639"/>
                  </a:lnTo>
                  <a:lnTo>
                    <a:pt x="531" y="643"/>
                  </a:lnTo>
                  <a:lnTo>
                    <a:pt x="546" y="648"/>
                  </a:lnTo>
                  <a:lnTo>
                    <a:pt x="561" y="654"/>
                  </a:lnTo>
                  <a:lnTo>
                    <a:pt x="575" y="661"/>
                  </a:lnTo>
                  <a:lnTo>
                    <a:pt x="587" y="669"/>
                  </a:lnTo>
                  <a:lnTo>
                    <a:pt x="593" y="674"/>
                  </a:lnTo>
                  <a:lnTo>
                    <a:pt x="598" y="679"/>
                  </a:lnTo>
                  <a:lnTo>
                    <a:pt x="602" y="685"/>
                  </a:lnTo>
                  <a:lnTo>
                    <a:pt x="606" y="691"/>
                  </a:lnTo>
                  <a:lnTo>
                    <a:pt x="609" y="699"/>
                  </a:lnTo>
                  <a:lnTo>
                    <a:pt x="612" y="705"/>
                  </a:lnTo>
                  <a:lnTo>
                    <a:pt x="614" y="712"/>
                  </a:lnTo>
                  <a:lnTo>
                    <a:pt x="616" y="718"/>
                  </a:lnTo>
                  <a:lnTo>
                    <a:pt x="617" y="723"/>
                  </a:lnTo>
                  <a:lnTo>
                    <a:pt x="618" y="728"/>
                  </a:lnTo>
                  <a:lnTo>
                    <a:pt x="618" y="732"/>
                  </a:lnTo>
                  <a:lnTo>
                    <a:pt x="618" y="736"/>
                  </a:lnTo>
                  <a:lnTo>
                    <a:pt x="618" y="746"/>
                  </a:lnTo>
                  <a:lnTo>
                    <a:pt x="616" y="756"/>
                  </a:lnTo>
                  <a:lnTo>
                    <a:pt x="613" y="765"/>
                  </a:lnTo>
                  <a:lnTo>
                    <a:pt x="610" y="773"/>
                  </a:lnTo>
                  <a:lnTo>
                    <a:pt x="607" y="780"/>
                  </a:lnTo>
                  <a:lnTo>
                    <a:pt x="603" y="787"/>
                  </a:lnTo>
                  <a:lnTo>
                    <a:pt x="598" y="794"/>
                  </a:lnTo>
                  <a:lnTo>
                    <a:pt x="593" y="799"/>
                  </a:lnTo>
                  <a:lnTo>
                    <a:pt x="584" y="811"/>
                  </a:lnTo>
                  <a:lnTo>
                    <a:pt x="574" y="819"/>
                  </a:lnTo>
                  <a:lnTo>
                    <a:pt x="565" y="825"/>
                  </a:lnTo>
                  <a:lnTo>
                    <a:pt x="558" y="828"/>
                  </a:lnTo>
                  <a:lnTo>
                    <a:pt x="549" y="833"/>
                  </a:lnTo>
                  <a:lnTo>
                    <a:pt x="538" y="837"/>
                  </a:lnTo>
                  <a:lnTo>
                    <a:pt x="524" y="842"/>
                  </a:lnTo>
                  <a:lnTo>
                    <a:pt x="507" y="846"/>
                  </a:lnTo>
                  <a:lnTo>
                    <a:pt x="489" y="850"/>
                  </a:lnTo>
                  <a:lnTo>
                    <a:pt x="469" y="853"/>
                  </a:lnTo>
                  <a:lnTo>
                    <a:pt x="446" y="855"/>
                  </a:lnTo>
                  <a:lnTo>
                    <a:pt x="423" y="856"/>
                  </a:lnTo>
                  <a:lnTo>
                    <a:pt x="414" y="856"/>
                  </a:lnTo>
                  <a:lnTo>
                    <a:pt x="398" y="855"/>
                  </a:lnTo>
                  <a:lnTo>
                    <a:pt x="378" y="853"/>
                  </a:lnTo>
                  <a:lnTo>
                    <a:pt x="353" y="849"/>
                  </a:lnTo>
                  <a:lnTo>
                    <a:pt x="341" y="846"/>
                  </a:lnTo>
                  <a:lnTo>
                    <a:pt x="328" y="843"/>
                  </a:lnTo>
                  <a:lnTo>
                    <a:pt x="315" y="839"/>
                  </a:lnTo>
                  <a:lnTo>
                    <a:pt x="302" y="834"/>
                  </a:lnTo>
                  <a:lnTo>
                    <a:pt x="289" y="829"/>
                  </a:lnTo>
                  <a:lnTo>
                    <a:pt x="277" y="822"/>
                  </a:lnTo>
                  <a:lnTo>
                    <a:pt x="265" y="815"/>
                  </a:lnTo>
                  <a:lnTo>
                    <a:pt x="254" y="806"/>
                  </a:lnTo>
                  <a:lnTo>
                    <a:pt x="247" y="800"/>
                  </a:lnTo>
                  <a:lnTo>
                    <a:pt x="242" y="794"/>
                  </a:lnTo>
                  <a:lnTo>
                    <a:pt x="236" y="788"/>
                  </a:lnTo>
                  <a:lnTo>
                    <a:pt x="231" y="781"/>
                  </a:lnTo>
                  <a:lnTo>
                    <a:pt x="225" y="772"/>
                  </a:lnTo>
                  <a:lnTo>
                    <a:pt x="219" y="762"/>
                  </a:lnTo>
                  <a:lnTo>
                    <a:pt x="213" y="750"/>
                  </a:lnTo>
                  <a:lnTo>
                    <a:pt x="205" y="734"/>
                  </a:lnTo>
                  <a:lnTo>
                    <a:pt x="0" y="778"/>
                  </a:lnTo>
                  <a:lnTo>
                    <a:pt x="14" y="803"/>
                  </a:lnTo>
                  <a:lnTo>
                    <a:pt x="26" y="827"/>
                  </a:lnTo>
                  <a:lnTo>
                    <a:pt x="37" y="846"/>
                  </a:lnTo>
                  <a:lnTo>
                    <a:pt x="47" y="864"/>
                  </a:lnTo>
                  <a:lnTo>
                    <a:pt x="57" y="879"/>
                  </a:lnTo>
                  <a:lnTo>
                    <a:pt x="66" y="892"/>
                  </a:lnTo>
                  <a:lnTo>
                    <a:pt x="75" y="903"/>
                  </a:lnTo>
                  <a:lnTo>
                    <a:pt x="85" y="914"/>
                  </a:lnTo>
                  <a:lnTo>
                    <a:pt x="100" y="928"/>
                  </a:lnTo>
                  <a:lnTo>
                    <a:pt x="117" y="940"/>
                  </a:lnTo>
                  <a:lnTo>
                    <a:pt x="134" y="952"/>
                  </a:lnTo>
                  <a:lnTo>
                    <a:pt x="153" y="962"/>
                  </a:lnTo>
                  <a:lnTo>
                    <a:pt x="173" y="973"/>
                  </a:lnTo>
                  <a:lnTo>
                    <a:pt x="194" y="981"/>
                  </a:lnTo>
                  <a:lnTo>
                    <a:pt x="215" y="989"/>
                  </a:lnTo>
                  <a:lnTo>
                    <a:pt x="237" y="995"/>
                  </a:lnTo>
                  <a:lnTo>
                    <a:pt x="260" y="1001"/>
                  </a:lnTo>
                  <a:lnTo>
                    <a:pt x="281" y="1006"/>
                  </a:lnTo>
                  <a:lnTo>
                    <a:pt x="303" y="1010"/>
                  </a:lnTo>
                  <a:lnTo>
                    <a:pt x="326" y="1013"/>
                  </a:lnTo>
                  <a:lnTo>
                    <a:pt x="348" y="1016"/>
                  </a:lnTo>
                  <a:lnTo>
                    <a:pt x="370" y="1018"/>
                  </a:lnTo>
                  <a:lnTo>
                    <a:pt x="391" y="1019"/>
                  </a:lnTo>
                  <a:lnTo>
                    <a:pt x="412" y="1019"/>
                  </a:lnTo>
                  <a:lnTo>
                    <a:pt x="431" y="1019"/>
                  </a:lnTo>
                  <a:lnTo>
                    <a:pt x="460" y="1017"/>
                  </a:lnTo>
                  <a:lnTo>
                    <a:pt x="478" y="1016"/>
                  </a:lnTo>
                  <a:lnTo>
                    <a:pt x="497" y="1014"/>
                  </a:lnTo>
                  <a:lnTo>
                    <a:pt x="519" y="1011"/>
                  </a:lnTo>
                  <a:lnTo>
                    <a:pt x="540" y="1007"/>
                  </a:lnTo>
                  <a:lnTo>
                    <a:pt x="563" y="1003"/>
                  </a:lnTo>
                  <a:lnTo>
                    <a:pt x="587" y="997"/>
                  </a:lnTo>
                  <a:lnTo>
                    <a:pt x="611" y="990"/>
                  </a:lnTo>
                  <a:lnTo>
                    <a:pt x="635" y="982"/>
                  </a:lnTo>
                  <a:lnTo>
                    <a:pt x="659" y="971"/>
                  </a:lnTo>
                  <a:lnTo>
                    <a:pt x="683" y="960"/>
                  </a:lnTo>
                  <a:lnTo>
                    <a:pt x="694" y="954"/>
                  </a:lnTo>
                  <a:lnTo>
                    <a:pt x="705" y="948"/>
                  </a:lnTo>
                  <a:lnTo>
                    <a:pt x="716" y="941"/>
                  </a:lnTo>
                  <a:lnTo>
                    <a:pt x="727" y="933"/>
                  </a:lnTo>
                  <a:lnTo>
                    <a:pt x="745" y="919"/>
                  </a:lnTo>
                  <a:lnTo>
                    <a:pt x="761" y="903"/>
                  </a:lnTo>
                  <a:lnTo>
                    <a:pt x="776" y="887"/>
                  </a:lnTo>
                  <a:lnTo>
                    <a:pt x="789" y="872"/>
                  </a:lnTo>
                  <a:lnTo>
                    <a:pt x="799" y="855"/>
                  </a:lnTo>
                  <a:lnTo>
                    <a:pt x="809" y="839"/>
                  </a:lnTo>
                  <a:lnTo>
                    <a:pt x="817" y="823"/>
                  </a:lnTo>
                  <a:lnTo>
                    <a:pt x="824" y="807"/>
                  </a:lnTo>
                  <a:lnTo>
                    <a:pt x="829" y="791"/>
                  </a:lnTo>
                  <a:lnTo>
                    <a:pt x="834" y="776"/>
                  </a:lnTo>
                  <a:lnTo>
                    <a:pt x="837" y="761"/>
                  </a:lnTo>
                  <a:lnTo>
                    <a:pt x="840" y="747"/>
                  </a:lnTo>
                  <a:lnTo>
                    <a:pt x="842" y="722"/>
                  </a:lnTo>
                  <a:lnTo>
                    <a:pt x="843" y="701"/>
                  </a:lnTo>
                  <a:lnTo>
                    <a:pt x="843" y="683"/>
                  </a:lnTo>
                  <a:lnTo>
                    <a:pt x="841" y="665"/>
                  </a:lnTo>
                  <a:lnTo>
                    <a:pt x="838" y="648"/>
                  </a:lnTo>
                  <a:lnTo>
                    <a:pt x="835" y="630"/>
                  </a:lnTo>
                  <a:lnTo>
                    <a:pt x="830" y="613"/>
                  </a:lnTo>
                  <a:lnTo>
                    <a:pt x="824" y="597"/>
                  </a:lnTo>
                  <a:lnTo>
                    <a:pt x="817" y="581"/>
                  </a:lnTo>
                  <a:lnTo>
                    <a:pt x="809" y="564"/>
                  </a:lnTo>
                  <a:lnTo>
                    <a:pt x="800" y="549"/>
                  </a:lnTo>
                  <a:lnTo>
                    <a:pt x="791" y="535"/>
                  </a:lnTo>
                  <a:lnTo>
                    <a:pt x="780" y="520"/>
                  </a:lnTo>
                  <a:lnTo>
                    <a:pt x="767" y="507"/>
                  </a:lnTo>
                  <a:lnTo>
                    <a:pt x="755" y="495"/>
                  </a:lnTo>
                  <a:lnTo>
                    <a:pt x="742" y="484"/>
                  </a:lnTo>
                  <a:lnTo>
                    <a:pt x="728" y="473"/>
                  </a:lnTo>
                  <a:lnTo>
                    <a:pt x="711" y="463"/>
                  </a:lnTo>
                  <a:lnTo>
                    <a:pt x="702" y="457"/>
                  </a:lnTo>
                  <a:lnTo>
                    <a:pt x="692" y="452"/>
                  </a:lnTo>
                  <a:lnTo>
                    <a:pt x="682" y="448"/>
                  </a:lnTo>
                  <a:lnTo>
                    <a:pt x="670" y="443"/>
                  </a:lnTo>
                  <a:lnTo>
                    <a:pt x="656" y="438"/>
                  </a:lnTo>
                  <a:lnTo>
                    <a:pt x="642" y="433"/>
                  </a:lnTo>
                  <a:lnTo>
                    <a:pt x="624" y="427"/>
                  </a:lnTo>
                  <a:lnTo>
                    <a:pt x="603" y="420"/>
                  </a:lnTo>
                  <a:lnTo>
                    <a:pt x="382" y="379"/>
                  </a:lnTo>
                  <a:lnTo>
                    <a:pt x="362" y="374"/>
                  </a:lnTo>
                  <a:lnTo>
                    <a:pt x="343" y="369"/>
                  </a:lnTo>
                  <a:lnTo>
                    <a:pt x="325" y="364"/>
                  </a:lnTo>
                  <a:lnTo>
                    <a:pt x="308" y="356"/>
                  </a:lnTo>
                  <a:lnTo>
                    <a:pt x="300" y="352"/>
                  </a:lnTo>
                  <a:lnTo>
                    <a:pt x="292" y="348"/>
                  </a:lnTo>
                  <a:lnTo>
                    <a:pt x="285" y="343"/>
                  </a:lnTo>
                  <a:lnTo>
                    <a:pt x="278" y="338"/>
                  </a:lnTo>
                  <a:lnTo>
                    <a:pt x="272" y="332"/>
                  </a:lnTo>
                  <a:lnTo>
                    <a:pt x="266" y="325"/>
                  </a:lnTo>
                  <a:lnTo>
                    <a:pt x="261" y="318"/>
                  </a:lnTo>
                  <a:lnTo>
                    <a:pt x="255" y="309"/>
                  </a:lnTo>
                  <a:lnTo>
                    <a:pt x="252" y="303"/>
                  </a:lnTo>
                  <a:lnTo>
                    <a:pt x="250" y="296"/>
                  </a:lnTo>
                  <a:lnTo>
                    <a:pt x="248" y="291"/>
                  </a:lnTo>
                  <a:lnTo>
                    <a:pt x="246" y="285"/>
                  </a:lnTo>
                  <a:lnTo>
                    <a:pt x="245" y="280"/>
                  </a:lnTo>
                  <a:lnTo>
                    <a:pt x="245" y="276"/>
                  </a:lnTo>
                  <a:lnTo>
                    <a:pt x="244" y="273"/>
                  </a:lnTo>
                  <a:lnTo>
                    <a:pt x="244" y="270"/>
                  </a:lnTo>
                  <a:lnTo>
                    <a:pt x="245" y="262"/>
                  </a:lnTo>
                  <a:lnTo>
                    <a:pt x="245" y="255"/>
                  </a:lnTo>
                  <a:lnTo>
                    <a:pt x="247" y="249"/>
                  </a:lnTo>
                  <a:lnTo>
                    <a:pt x="248" y="241"/>
                  </a:lnTo>
                  <a:lnTo>
                    <a:pt x="250" y="236"/>
                  </a:lnTo>
                  <a:lnTo>
                    <a:pt x="252" y="231"/>
                  </a:lnTo>
                  <a:lnTo>
                    <a:pt x="254" y="227"/>
                  </a:lnTo>
                  <a:lnTo>
                    <a:pt x="255" y="225"/>
                  </a:lnTo>
                  <a:lnTo>
                    <a:pt x="262" y="216"/>
                  </a:lnTo>
                  <a:lnTo>
                    <a:pt x="268" y="209"/>
                  </a:lnTo>
                  <a:lnTo>
                    <a:pt x="275" y="202"/>
                  </a:lnTo>
                  <a:lnTo>
                    <a:pt x="283" y="196"/>
                  </a:lnTo>
                  <a:lnTo>
                    <a:pt x="290" y="191"/>
                  </a:lnTo>
                  <a:lnTo>
                    <a:pt x="298" y="185"/>
                  </a:lnTo>
                  <a:lnTo>
                    <a:pt x="307" y="181"/>
                  </a:lnTo>
                  <a:lnTo>
                    <a:pt x="316" y="178"/>
                  </a:lnTo>
                  <a:lnTo>
                    <a:pt x="331" y="173"/>
                  </a:lnTo>
                  <a:lnTo>
                    <a:pt x="346" y="170"/>
                  </a:lnTo>
                  <a:lnTo>
                    <a:pt x="358" y="168"/>
                  </a:lnTo>
                  <a:lnTo>
                    <a:pt x="367" y="167"/>
                  </a:lnTo>
                  <a:lnTo>
                    <a:pt x="375" y="165"/>
                  </a:lnTo>
                  <a:lnTo>
                    <a:pt x="383" y="165"/>
                  </a:lnTo>
                  <a:lnTo>
                    <a:pt x="390" y="164"/>
                  </a:lnTo>
                  <a:lnTo>
                    <a:pt x="397" y="163"/>
                  </a:lnTo>
                  <a:lnTo>
                    <a:pt x="403" y="163"/>
                  </a:lnTo>
                  <a:lnTo>
                    <a:pt x="409" y="163"/>
                  </a:lnTo>
                  <a:lnTo>
                    <a:pt x="414" y="163"/>
                  </a:lnTo>
                  <a:lnTo>
                    <a:pt x="418" y="163"/>
                  </a:lnTo>
                  <a:lnTo>
                    <a:pt x="438" y="164"/>
                  </a:lnTo>
                  <a:lnTo>
                    <a:pt x="457" y="166"/>
                  </a:lnTo>
                  <a:lnTo>
                    <a:pt x="476" y="169"/>
                  </a:lnTo>
                  <a:lnTo>
                    <a:pt x="492" y="174"/>
                  </a:lnTo>
                  <a:lnTo>
                    <a:pt x="506" y="179"/>
                  </a:lnTo>
                  <a:lnTo>
                    <a:pt x="520" y="186"/>
                  </a:lnTo>
                  <a:lnTo>
                    <a:pt x="532" y="194"/>
                  </a:lnTo>
                  <a:lnTo>
                    <a:pt x="543" y="201"/>
                  </a:lnTo>
                  <a:lnTo>
                    <a:pt x="552" y="210"/>
                  </a:lnTo>
                  <a:lnTo>
                    <a:pt x="561" y="218"/>
                  </a:lnTo>
                  <a:lnTo>
                    <a:pt x="569" y="227"/>
                  </a:lnTo>
                  <a:lnTo>
                    <a:pt x="577" y="236"/>
                  </a:lnTo>
                  <a:lnTo>
                    <a:pt x="589" y="254"/>
                  </a:lnTo>
                  <a:lnTo>
                    <a:pt x="599" y="270"/>
                  </a:lnTo>
                  <a:lnTo>
                    <a:pt x="792" y="229"/>
                  </a:lnTo>
                  <a:lnTo>
                    <a:pt x="781" y="205"/>
                  </a:lnTo>
                  <a:lnTo>
                    <a:pt x="771" y="184"/>
                  </a:lnTo>
                  <a:lnTo>
                    <a:pt x="761" y="168"/>
                  </a:lnTo>
                  <a:lnTo>
                    <a:pt x="753" y="153"/>
                  </a:lnTo>
                  <a:lnTo>
                    <a:pt x="745" y="141"/>
                  </a:lnTo>
                  <a:lnTo>
                    <a:pt x="737" y="129"/>
                  </a:lnTo>
                  <a:lnTo>
                    <a:pt x="729" y="119"/>
                  </a:lnTo>
                  <a:lnTo>
                    <a:pt x="720" y="109"/>
                  </a:lnTo>
                  <a:lnTo>
                    <a:pt x="705" y="95"/>
                  </a:lnTo>
                  <a:lnTo>
                    <a:pt x="690" y="83"/>
                  </a:lnTo>
                  <a:lnTo>
                    <a:pt x="674" y="70"/>
                  </a:lnTo>
                  <a:lnTo>
                    <a:pt x="656" y="59"/>
                  </a:lnTo>
                  <a:lnTo>
                    <a:pt x="638" y="50"/>
                  </a:lnTo>
                  <a:lnTo>
                    <a:pt x="620" y="41"/>
                  </a:lnTo>
                  <a:lnTo>
                    <a:pt x="600" y="33"/>
                  </a:lnTo>
                  <a:lnTo>
                    <a:pt x="581" y="26"/>
                  </a:lnTo>
                  <a:lnTo>
                    <a:pt x="560" y="19"/>
                  </a:lnTo>
                  <a:lnTo>
                    <a:pt x="540" y="14"/>
                  </a:lnTo>
                  <a:lnTo>
                    <a:pt x="520" y="9"/>
                  </a:lnTo>
                  <a:lnTo>
                    <a:pt x="498" y="6"/>
                  </a:lnTo>
                  <a:lnTo>
                    <a:pt x="478" y="3"/>
                  </a:lnTo>
                  <a:lnTo>
                    <a:pt x="458" y="1"/>
                  </a:lnTo>
                  <a:lnTo>
                    <a:pt x="438" y="0"/>
                  </a:lnTo>
                  <a:lnTo>
                    <a:pt x="419" y="0"/>
                  </a:lnTo>
                  <a:lnTo>
                    <a:pt x="400" y="0"/>
                  </a:lnTo>
                  <a:lnTo>
                    <a:pt x="382" y="1"/>
                  </a:lnTo>
                  <a:lnTo>
                    <a:pt x="364" y="2"/>
                  </a:lnTo>
                  <a:lnTo>
                    <a:pt x="344" y="5"/>
                  </a:lnTo>
                  <a:lnTo>
                    <a:pt x="325" y="7"/>
                  </a:lnTo>
                  <a:lnTo>
                    <a:pt x="306" y="11"/>
                  </a:lnTo>
                  <a:lnTo>
                    <a:pt x="288" y="15"/>
                  </a:lnTo>
                  <a:lnTo>
                    <a:pt x="269" y="19"/>
                  </a:lnTo>
                  <a:lnTo>
                    <a:pt x="250" y="26"/>
                  </a:lnTo>
                  <a:lnTo>
                    <a:pt x="233" y="32"/>
                  </a:lnTo>
                  <a:lnTo>
                    <a:pt x="216" y="39"/>
                  </a:lnTo>
                  <a:lnTo>
                    <a:pt x="198" y="47"/>
                  </a:lnTo>
                  <a:lnTo>
                    <a:pt x="182" y="55"/>
                  </a:lnTo>
                  <a:lnTo>
                    <a:pt x="167" y="65"/>
                  </a:lnTo>
                  <a:lnTo>
                    <a:pt x="151" y="75"/>
                  </a:lnTo>
                  <a:lnTo>
                    <a:pt x="137" y="87"/>
                  </a:lnTo>
                  <a:lnTo>
                    <a:pt x="126" y="97"/>
                  </a:lnTo>
                  <a:lnTo>
                    <a:pt x="116" y="108"/>
                  </a:lnTo>
                  <a:lnTo>
                    <a:pt x="106" y="120"/>
                  </a:lnTo>
                  <a:lnTo>
                    <a:pt x="95" y="134"/>
                  </a:lnTo>
                  <a:lnTo>
                    <a:pt x="86" y="147"/>
                  </a:lnTo>
                  <a:lnTo>
                    <a:pt x="78" y="161"/>
                  </a:lnTo>
                  <a:lnTo>
                    <a:pt x="71" y="175"/>
                  </a:lnTo>
                  <a:lnTo>
                    <a:pt x="64" y="191"/>
                  </a:lnTo>
                  <a:lnTo>
                    <a:pt x="58" y="206"/>
                  </a:lnTo>
                  <a:lnTo>
                    <a:pt x="51" y="222"/>
                  </a:lnTo>
                  <a:lnTo>
                    <a:pt x="47" y="237"/>
                  </a:lnTo>
                  <a:lnTo>
                    <a:pt x="43" y="254"/>
                  </a:lnTo>
                  <a:lnTo>
                    <a:pt x="40" y="270"/>
                  </a:lnTo>
                  <a:lnTo>
                    <a:pt x="38" y="286"/>
                  </a:lnTo>
                  <a:lnTo>
                    <a:pt x="36" y="303"/>
                  </a:lnTo>
                  <a:lnTo>
                    <a:pt x="36" y="319"/>
                  </a:lnTo>
                  <a:lnTo>
                    <a:pt x="37" y="343"/>
                  </a:lnTo>
                  <a:lnTo>
                    <a:pt x="40" y="366"/>
                  </a:lnTo>
                  <a:lnTo>
                    <a:pt x="44" y="387"/>
                  </a:lnTo>
                  <a:lnTo>
                    <a:pt x="49" y="406"/>
                  </a:lnTo>
                  <a:lnTo>
                    <a:pt x="57" y="425"/>
                  </a:lnTo>
                  <a:lnTo>
                    <a:pt x="65" y="441"/>
                  </a:lnTo>
                  <a:lnTo>
                    <a:pt x="73" y="456"/>
                  </a:lnTo>
                  <a:lnTo>
                    <a:pt x="83" y="471"/>
                  </a:lnTo>
                  <a:lnTo>
                    <a:pt x="92" y="484"/>
                  </a:lnTo>
                  <a:lnTo>
                    <a:pt x="102" y="495"/>
                  </a:lnTo>
                  <a:lnTo>
                    <a:pt x="113" y="506"/>
                  </a:lnTo>
                  <a:lnTo>
                    <a:pt x="123" y="515"/>
                  </a:lnTo>
                  <a:lnTo>
                    <a:pt x="133" y="523"/>
                  </a:lnTo>
                  <a:lnTo>
                    <a:pt x="143" y="531"/>
                  </a:lnTo>
                  <a:lnTo>
                    <a:pt x="151" y="537"/>
                  </a:lnTo>
                  <a:lnTo>
                    <a:pt x="160" y="542"/>
                  </a:lnTo>
                  <a:lnTo>
                    <a:pt x="174" y="550"/>
                  </a:lnTo>
                  <a:lnTo>
                    <a:pt x="188" y="557"/>
                  </a:lnTo>
                  <a:lnTo>
                    <a:pt x="201" y="564"/>
                  </a:lnTo>
                  <a:lnTo>
                    <a:pt x="216" y="569"/>
                  </a:lnTo>
                  <a:lnTo>
                    <a:pt x="230" y="574"/>
                  </a:lnTo>
                  <a:lnTo>
                    <a:pt x="244" y="578"/>
                  </a:lnTo>
                  <a:lnTo>
                    <a:pt x="260" y="584"/>
                  </a:lnTo>
                  <a:lnTo>
                    <a:pt x="275" y="589"/>
                  </a:lnTo>
                  <a:lnTo>
                    <a:pt x="498" y="635"/>
                  </a:lnTo>
                  <a:close/>
                </a:path>
              </a:pathLst>
            </a:custGeom>
            <a:solidFill>
              <a:srgbClr val="5E737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276" u="sng">
                <a:solidFill>
                  <a:srgbClr val="000000"/>
                </a:solidFill>
                <a:latin typeface="Arial" charset="0"/>
                <a:cs typeface="Arial"/>
              </a:endParaRPr>
            </a:p>
          </p:txBody>
        </p:sp>
        <p:sp>
          <p:nvSpPr>
            <p:cNvPr id="17" name="Freeform 63"/>
            <p:cNvSpPr>
              <a:spLocks noEditPoints="1"/>
            </p:cNvSpPr>
            <p:nvPr userDrawn="1"/>
          </p:nvSpPr>
          <p:spPr bwMode="auto">
            <a:xfrm>
              <a:off x="5416" y="362"/>
              <a:ext cx="45" cy="50"/>
            </a:xfrm>
            <a:custGeom>
              <a:avLst/>
              <a:gdLst>
                <a:gd name="T0" fmla="*/ 0 w 902"/>
                <a:gd name="T1" fmla="*/ 0 h 1017"/>
                <a:gd name="T2" fmla="*/ 0 w 902"/>
                <a:gd name="T3" fmla="*/ 0 h 1017"/>
                <a:gd name="T4" fmla="*/ 0 w 902"/>
                <a:gd name="T5" fmla="*/ 0 h 1017"/>
                <a:gd name="T6" fmla="*/ 0 w 902"/>
                <a:gd name="T7" fmla="*/ 0 h 1017"/>
                <a:gd name="T8" fmla="*/ 0 w 902"/>
                <a:gd name="T9" fmla="*/ 0 h 1017"/>
                <a:gd name="T10" fmla="*/ 0 w 902"/>
                <a:gd name="T11" fmla="*/ 0 h 1017"/>
                <a:gd name="T12" fmla="*/ 0 w 902"/>
                <a:gd name="T13" fmla="*/ 0 h 1017"/>
                <a:gd name="T14" fmla="*/ 0 w 902"/>
                <a:gd name="T15" fmla="*/ 0 h 1017"/>
                <a:gd name="T16" fmla="*/ 0 w 902"/>
                <a:gd name="T17" fmla="*/ 0 h 1017"/>
                <a:gd name="T18" fmla="*/ 0 w 902"/>
                <a:gd name="T19" fmla="*/ 0 h 1017"/>
                <a:gd name="T20" fmla="*/ 0 w 902"/>
                <a:gd name="T21" fmla="*/ 0 h 1017"/>
                <a:gd name="T22" fmla="*/ 0 w 902"/>
                <a:gd name="T23" fmla="*/ 0 h 1017"/>
                <a:gd name="T24" fmla="*/ 0 w 902"/>
                <a:gd name="T25" fmla="*/ 0 h 1017"/>
                <a:gd name="T26" fmla="*/ 0 w 902"/>
                <a:gd name="T27" fmla="*/ 0 h 1017"/>
                <a:gd name="T28" fmla="*/ 0 w 902"/>
                <a:gd name="T29" fmla="*/ 0 h 1017"/>
                <a:gd name="T30" fmla="*/ 0 w 902"/>
                <a:gd name="T31" fmla="*/ 0 h 1017"/>
                <a:gd name="T32" fmla="*/ 0 w 902"/>
                <a:gd name="T33" fmla="*/ 0 h 1017"/>
                <a:gd name="T34" fmla="*/ 0 w 902"/>
                <a:gd name="T35" fmla="*/ 0 h 1017"/>
                <a:gd name="T36" fmla="*/ 0 w 902"/>
                <a:gd name="T37" fmla="*/ 0 h 1017"/>
                <a:gd name="T38" fmla="*/ 0 w 902"/>
                <a:gd name="T39" fmla="*/ 0 h 1017"/>
                <a:gd name="T40" fmla="*/ 0 w 902"/>
                <a:gd name="T41" fmla="*/ 0 h 1017"/>
                <a:gd name="T42" fmla="*/ 0 w 902"/>
                <a:gd name="T43" fmla="*/ 0 h 1017"/>
                <a:gd name="T44" fmla="*/ 0 w 902"/>
                <a:gd name="T45" fmla="*/ 0 h 1017"/>
                <a:gd name="T46" fmla="*/ 0 w 902"/>
                <a:gd name="T47" fmla="*/ 0 h 1017"/>
                <a:gd name="T48" fmla="*/ 0 w 902"/>
                <a:gd name="T49" fmla="*/ 0 h 1017"/>
                <a:gd name="T50" fmla="*/ 0 w 902"/>
                <a:gd name="T51" fmla="*/ 0 h 1017"/>
                <a:gd name="T52" fmla="*/ 0 w 902"/>
                <a:gd name="T53" fmla="*/ 0 h 1017"/>
                <a:gd name="T54" fmla="*/ 0 w 902"/>
                <a:gd name="T55" fmla="*/ 0 h 1017"/>
                <a:gd name="T56" fmla="*/ 0 w 902"/>
                <a:gd name="T57" fmla="*/ 0 h 1017"/>
                <a:gd name="T58" fmla="*/ 0 w 902"/>
                <a:gd name="T59" fmla="*/ 0 h 1017"/>
                <a:gd name="T60" fmla="*/ 0 w 902"/>
                <a:gd name="T61" fmla="*/ 0 h 1017"/>
                <a:gd name="T62" fmla="*/ 0 w 902"/>
                <a:gd name="T63" fmla="*/ 0 h 1017"/>
                <a:gd name="T64" fmla="*/ 0 w 902"/>
                <a:gd name="T65" fmla="*/ 0 h 1017"/>
                <a:gd name="T66" fmla="*/ 0 w 902"/>
                <a:gd name="T67" fmla="*/ 0 h 1017"/>
                <a:gd name="T68" fmla="*/ 0 w 902"/>
                <a:gd name="T69" fmla="*/ 0 h 1017"/>
                <a:gd name="T70" fmla="*/ 0 w 902"/>
                <a:gd name="T71" fmla="*/ 0 h 1017"/>
                <a:gd name="T72" fmla="*/ 0 w 902"/>
                <a:gd name="T73" fmla="*/ 0 h 1017"/>
                <a:gd name="T74" fmla="*/ 0 w 902"/>
                <a:gd name="T75" fmla="*/ 0 h 1017"/>
                <a:gd name="T76" fmla="*/ 0 w 902"/>
                <a:gd name="T77" fmla="*/ 0 h 1017"/>
                <a:gd name="T78" fmla="*/ 0 w 902"/>
                <a:gd name="T79" fmla="*/ 0 h 1017"/>
                <a:gd name="T80" fmla="*/ 0 w 902"/>
                <a:gd name="T81" fmla="*/ 0 h 1017"/>
                <a:gd name="T82" fmla="*/ 0 w 902"/>
                <a:gd name="T83" fmla="*/ 0 h 1017"/>
                <a:gd name="T84" fmla="*/ 0 w 902"/>
                <a:gd name="T85" fmla="*/ 0 h 1017"/>
                <a:gd name="T86" fmla="*/ 0 w 902"/>
                <a:gd name="T87" fmla="*/ 0 h 1017"/>
                <a:gd name="T88" fmla="*/ 0 w 902"/>
                <a:gd name="T89" fmla="*/ 0 h 1017"/>
                <a:gd name="T90" fmla="*/ 0 w 902"/>
                <a:gd name="T91" fmla="*/ 0 h 1017"/>
                <a:gd name="T92" fmla="*/ 0 w 902"/>
                <a:gd name="T93" fmla="*/ 0 h 1017"/>
                <a:gd name="T94" fmla="*/ 0 w 902"/>
                <a:gd name="T95" fmla="*/ 0 h 1017"/>
                <a:gd name="T96" fmla="*/ 0 w 902"/>
                <a:gd name="T97" fmla="*/ 0 h 1017"/>
                <a:gd name="T98" fmla="*/ 0 w 902"/>
                <a:gd name="T99" fmla="*/ 0 h 1017"/>
                <a:gd name="T100" fmla="*/ 0 w 902"/>
                <a:gd name="T101" fmla="*/ 0 h 1017"/>
                <a:gd name="T102" fmla="*/ 0 w 902"/>
                <a:gd name="T103" fmla="*/ 0 h 1017"/>
                <a:gd name="T104" fmla="*/ 0 w 902"/>
                <a:gd name="T105" fmla="*/ 0 h 1017"/>
                <a:gd name="T106" fmla="*/ 0 w 902"/>
                <a:gd name="T107" fmla="*/ 0 h 1017"/>
                <a:gd name="T108" fmla="*/ 0 w 902"/>
                <a:gd name="T109" fmla="*/ 0 h 1017"/>
                <a:gd name="T110" fmla="*/ 0 w 902"/>
                <a:gd name="T111" fmla="*/ 0 h 1017"/>
                <a:gd name="T112" fmla="*/ 0 w 902"/>
                <a:gd name="T113" fmla="*/ 0 h 1017"/>
                <a:gd name="T114" fmla="*/ 0 w 902"/>
                <a:gd name="T115" fmla="*/ 0 h 1017"/>
                <a:gd name="T116" fmla="*/ 0 w 902"/>
                <a:gd name="T117" fmla="*/ 0 h 1017"/>
                <a:gd name="T118" fmla="*/ 0 w 902"/>
                <a:gd name="T119" fmla="*/ 0 h 1017"/>
                <a:gd name="T120" fmla="*/ 0 w 902"/>
                <a:gd name="T121" fmla="*/ 0 h 1017"/>
                <a:gd name="T122" fmla="*/ 0 w 902"/>
                <a:gd name="T123" fmla="*/ 0 h 1017"/>
                <a:gd name="T124" fmla="*/ 0 w 902"/>
                <a:gd name="T125" fmla="*/ 0 h 101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902" h="1017">
                  <a:moveTo>
                    <a:pt x="1" y="483"/>
                  </a:moveTo>
                  <a:lnTo>
                    <a:pt x="0" y="507"/>
                  </a:lnTo>
                  <a:lnTo>
                    <a:pt x="0" y="532"/>
                  </a:lnTo>
                  <a:lnTo>
                    <a:pt x="1" y="554"/>
                  </a:lnTo>
                  <a:lnTo>
                    <a:pt x="2" y="577"/>
                  </a:lnTo>
                  <a:lnTo>
                    <a:pt x="4" y="599"/>
                  </a:lnTo>
                  <a:lnTo>
                    <a:pt x="7" y="620"/>
                  </a:lnTo>
                  <a:lnTo>
                    <a:pt x="10" y="641"/>
                  </a:lnTo>
                  <a:lnTo>
                    <a:pt x="15" y="660"/>
                  </a:lnTo>
                  <a:lnTo>
                    <a:pt x="19" y="679"/>
                  </a:lnTo>
                  <a:lnTo>
                    <a:pt x="25" y="699"/>
                  </a:lnTo>
                  <a:lnTo>
                    <a:pt x="31" y="716"/>
                  </a:lnTo>
                  <a:lnTo>
                    <a:pt x="38" y="734"/>
                  </a:lnTo>
                  <a:lnTo>
                    <a:pt x="44" y="751"/>
                  </a:lnTo>
                  <a:lnTo>
                    <a:pt x="51" y="767"/>
                  </a:lnTo>
                  <a:lnTo>
                    <a:pt x="59" y="782"/>
                  </a:lnTo>
                  <a:lnTo>
                    <a:pt x="67" y="797"/>
                  </a:lnTo>
                  <a:lnTo>
                    <a:pt x="76" y="812"/>
                  </a:lnTo>
                  <a:lnTo>
                    <a:pt x="84" y="825"/>
                  </a:lnTo>
                  <a:lnTo>
                    <a:pt x="93" y="838"/>
                  </a:lnTo>
                  <a:lnTo>
                    <a:pt x="102" y="850"/>
                  </a:lnTo>
                  <a:lnTo>
                    <a:pt x="120" y="874"/>
                  </a:lnTo>
                  <a:lnTo>
                    <a:pt x="139" y="895"/>
                  </a:lnTo>
                  <a:lnTo>
                    <a:pt x="158" y="914"/>
                  </a:lnTo>
                  <a:lnTo>
                    <a:pt x="177" y="930"/>
                  </a:lnTo>
                  <a:lnTo>
                    <a:pt x="196" y="944"/>
                  </a:lnTo>
                  <a:lnTo>
                    <a:pt x="213" y="955"/>
                  </a:lnTo>
                  <a:lnTo>
                    <a:pt x="231" y="965"/>
                  </a:lnTo>
                  <a:lnTo>
                    <a:pt x="248" y="975"/>
                  </a:lnTo>
                  <a:lnTo>
                    <a:pt x="265" y="983"/>
                  </a:lnTo>
                  <a:lnTo>
                    <a:pt x="283" y="990"/>
                  </a:lnTo>
                  <a:lnTo>
                    <a:pt x="300" y="995"/>
                  </a:lnTo>
                  <a:lnTo>
                    <a:pt x="316" y="1000"/>
                  </a:lnTo>
                  <a:lnTo>
                    <a:pt x="333" y="1004"/>
                  </a:lnTo>
                  <a:lnTo>
                    <a:pt x="349" y="1008"/>
                  </a:lnTo>
                  <a:lnTo>
                    <a:pt x="379" y="1013"/>
                  </a:lnTo>
                  <a:lnTo>
                    <a:pt x="405" y="1015"/>
                  </a:lnTo>
                  <a:lnTo>
                    <a:pt x="427" y="1016"/>
                  </a:lnTo>
                  <a:lnTo>
                    <a:pt x="444" y="1017"/>
                  </a:lnTo>
                  <a:lnTo>
                    <a:pt x="458" y="1016"/>
                  </a:lnTo>
                  <a:lnTo>
                    <a:pt x="474" y="1016"/>
                  </a:lnTo>
                  <a:lnTo>
                    <a:pt x="492" y="1014"/>
                  </a:lnTo>
                  <a:lnTo>
                    <a:pt x="511" y="1012"/>
                  </a:lnTo>
                  <a:lnTo>
                    <a:pt x="533" y="1009"/>
                  </a:lnTo>
                  <a:lnTo>
                    <a:pt x="554" y="1005"/>
                  </a:lnTo>
                  <a:lnTo>
                    <a:pt x="577" y="999"/>
                  </a:lnTo>
                  <a:lnTo>
                    <a:pt x="601" y="991"/>
                  </a:lnTo>
                  <a:lnTo>
                    <a:pt x="625" y="982"/>
                  </a:lnTo>
                  <a:lnTo>
                    <a:pt x="650" y="971"/>
                  </a:lnTo>
                  <a:lnTo>
                    <a:pt x="675" y="957"/>
                  </a:lnTo>
                  <a:lnTo>
                    <a:pt x="700" y="941"/>
                  </a:lnTo>
                  <a:lnTo>
                    <a:pt x="712" y="933"/>
                  </a:lnTo>
                  <a:lnTo>
                    <a:pt x="724" y="923"/>
                  </a:lnTo>
                  <a:lnTo>
                    <a:pt x="737" y="913"/>
                  </a:lnTo>
                  <a:lnTo>
                    <a:pt x="749" y="901"/>
                  </a:lnTo>
                  <a:lnTo>
                    <a:pt x="761" y="890"/>
                  </a:lnTo>
                  <a:lnTo>
                    <a:pt x="772" y="878"/>
                  </a:lnTo>
                  <a:lnTo>
                    <a:pt x="783" y="865"/>
                  </a:lnTo>
                  <a:lnTo>
                    <a:pt x="795" y="850"/>
                  </a:lnTo>
                  <a:lnTo>
                    <a:pt x="809" y="831"/>
                  </a:lnTo>
                  <a:lnTo>
                    <a:pt x="821" y="812"/>
                  </a:lnTo>
                  <a:lnTo>
                    <a:pt x="832" y="792"/>
                  </a:lnTo>
                  <a:lnTo>
                    <a:pt x="844" y="772"/>
                  </a:lnTo>
                  <a:lnTo>
                    <a:pt x="853" y="752"/>
                  </a:lnTo>
                  <a:lnTo>
                    <a:pt x="862" y="730"/>
                  </a:lnTo>
                  <a:lnTo>
                    <a:pt x="869" y="709"/>
                  </a:lnTo>
                  <a:lnTo>
                    <a:pt x="876" y="688"/>
                  </a:lnTo>
                  <a:lnTo>
                    <a:pt x="882" y="665"/>
                  </a:lnTo>
                  <a:lnTo>
                    <a:pt x="888" y="644"/>
                  </a:lnTo>
                  <a:lnTo>
                    <a:pt x="893" y="621"/>
                  </a:lnTo>
                  <a:lnTo>
                    <a:pt x="896" y="599"/>
                  </a:lnTo>
                  <a:lnTo>
                    <a:pt x="899" y="576"/>
                  </a:lnTo>
                  <a:lnTo>
                    <a:pt x="901" y="553"/>
                  </a:lnTo>
                  <a:lnTo>
                    <a:pt x="902" y="531"/>
                  </a:lnTo>
                  <a:lnTo>
                    <a:pt x="902" y="507"/>
                  </a:lnTo>
                  <a:lnTo>
                    <a:pt x="902" y="483"/>
                  </a:lnTo>
                  <a:lnTo>
                    <a:pt x="900" y="458"/>
                  </a:lnTo>
                  <a:lnTo>
                    <a:pt x="898" y="434"/>
                  </a:lnTo>
                  <a:lnTo>
                    <a:pt x="895" y="411"/>
                  </a:lnTo>
                  <a:lnTo>
                    <a:pt x="891" y="387"/>
                  </a:lnTo>
                  <a:lnTo>
                    <a:pt x="885" y="364"/>
                  </a:lnTo>
                  <a:lnTo>
                    <a:pt x="880" y="340"/>
                  </a:lnTo>
                  <a:lnTo>
                    <a:pt x="873" y="318"/>
                  </a:lnTo>
                  <a:lnTo>
                    <a:pt x="866" y="296"/>
                  </a:lnTo>
                  <a:lnTo>
                    <a:pt x="858" y="274"/>
                  </a:lnTo>
                  <a:lnTo>
                    <a:pt x="849" y="253"/>
                  </a:lnTo>
                  <a:lnTo>
                    <a:pt x="839" y="231"/>
                  </a:lnTo>
                  <a:lnTo>
                    <a:pt x="827" y="212"/>
                  </a:lnTo>
                  <a:lnTo>
                    <a:pt x="816" y="192"/>
                  </a:lnTo>
                  <a:lnTo>
                    <a:pt x="803" y="173"/>
                  </a:lnTo>
                  <a:lnTo>
                    <a:pt x="790" y="155"/>
                  </a:lnTo>
                  <a:lnTo>
                    <a:pt x="775" y="138"/>
                  </a:lnTo>
                  <a:lnTo>
                    <a:pt x="761" y="121"/>
                  </a:lnTo>
                  <a:lnTo>
                    <a:pt x="745" y="106"/>
                  </a:lnTo>
                  <a:lnTo>
                    <a:pt x="728" y="91"/>
                  </a:lnTo>
                  <a:lnTo>
                    <a:pt x="710" y="78"/>
                  </a:lnTo>
                  <a:lnTo>
                    <a:pt x="693" y="64"/>
                  </a:lnTo>
                  <a:lnTo>
                    <a:pt x="673" y="53"/>
                  </a:lnTo>
                  <a:lnTo>
                    <a:pt x="653" y="42"/>
                  </a:lnTo>
                  <a:lnTo>
                    <a:pt x="633" y="33"/>
                  </a:lnTo>
                  <a:lnTo>
                    <a:pt x="611" y="25"/>
                  </a:lnTo>
                  <a:lnTo>
                    <a:pt x="589" y="17"/>
                  </a:lnTo>
                  <a:lnTo>
                    <a:pt x="566" y="11"/>
                  </a:lnTo>
                  <a:lnTo>
                    <a:pt x="543" y="6"/>
                  </a:lnTo>
                  <a:lnTo>
                    <a:pt x="518" y="2"/>
                  </a:lnTo>
                  <a:lnTo>
                    <a:pt x="493" y="0"/>
                  </a:lnTo>
                  <a:lnTo>
                    <a:pt x="466" y="0"/>
                  </a:lnTo>
                  <a:lnTo>
                    <a:pt x="441" y="0"/>
                  </a:lnTo>
                  <a:lnTo>
                    <a:pt x="408" y="4"/>
                  </a:lnTo>
                  <a:lnTo>
                    <a:pt x="390" y="6"/>
                  </a:lnTo>
                  <a:lnTo>
                    <a:pt x="369" y="10"/>
                  </a:lnTo>
                  <a:lnTo>
                    <a:pt x="349" y="16"/>
                  </a:lnTo>
                  <a:lnTo>
                    <a:pt x="327" y="22"/>
                  </a:lnTo>
                  <a:lnTo>
                    <a:pt x="304" y="30"/>
                  </a:lnTo>
                  <a:lnTo>
                    <a:pt x="281" y="39"/>
                  </a:lnTo>
                  <a:lnTo>
                    <a:pt x="257" y="50"/>
                  </a:lnTo>
                  <a:lnTo>
                    <a:pt x="233" y="63"/>
                  </a:lnTo>
                  <a:lnTo>
                    <a:pt x="209" y="78"/>
                  </a:lnTo>
                  <a:lnTo>
                    <a:pt x="186" y="95"/>
                  </a:lnTo>
                  <a:lnTo>
                    <a:pt x="174" y="105"/>
                  </a:lnTo>
                  <a:lnTo>
                    <a:pt x="162" y="114"/>
                  </a:lnTo>
                  <a:lnTo>
                    <a:pt x="151" y="125"/>
                  </a:lnTo>
                  <a:lnTo>
                    <a:pt x="140" y="137"/>
                  </a:lnTo>
                  <a:lnTo>
                    <a:pt x="129" y="149"/>
                  </a:lnTo>
                  <a:lnTo>
                    <a:pt x="118" y="161"/>
                  </a:lnTo>
                  <a:lnTo>
                    <a:pt x="108" y="174"/>
                  </a:lnTo>
                  <a:lnTo>
                    <a:pt x="98" y="187"/>
                  </a:lnTo>
                  <a:lnTo>
                    <a:pt x="82" y="213"/>
                  </a:lnTo>
                  <a:lnTo>
                    <a:pt x="66" y="238"/>
                  </a:lnTo>
                  <a:lnTo>
                    <a:pt x="53" y="264"/>
                  </a:lnTo>
                  <a:lnTo>
                    <a:pt x="42" y="289"/>
                  </a:lnTo>
                  <a:lnTo>
                    <a:pt x="33" y="315"/>
                  </a:lnTo>
                  <a:lnTo>
                    <a:pt x="25" y="338"/>
                  </a:lnTo>
                  <a:lnTo>
                    <a:pt x="18" y="362"/>
                  </a:lnTo>
                  <a:lnTo>
                    <a:pt x="13" y="384"/>
                  </a:lnTo>
                  <a:lnTo>
                    <a:pt x="9" y="405"/>
                  </a:lnTo>
                  <a:lnTo>
                    <a:pt x="6" y="425"/>
                  </a:lnTo>
                  <a:lnTo>
                    <a:pt x="2" y="457"/>
                  </a:lnTo>
                  <a:lnTo>
                    <a:pt x="1" y="483"/>
                  </a:lnTo>
                  <a:close/>
                  <a:moveTo>
                    <a:pt x="231" y="507"/>
                  </a:moveTo>
                  <a:lnTo>
                    <a:pt x="233" y="475"/>
                  </a:lnTo>
                  <a:lnTo>
                    <a:pt x="236" y="439"/>
                  </a:lnTo>
                  <a:lnTo>
                    <a:pt x="239" y="421"/>
                  </a:lnTo>
                  <a:lnTo>
                    <a:pt x="242" y="402"/>
                  </a:lnTo>
                  <a:lnTo>
                    <a:pt x="246" y="384"/>
                  </a:lnTo>
                  <a:lnTo>
                    <a:pt x="250" y="366"/>
                  </a:lnTo>
                  <a:lnTo>
                    <a:pt x="255" y="347"/>
                  </a:lnTo>
                  <a:lnTo>
                    <a:pt x="261" y="329"/>
                  </a:lnTo>
                  <a:lnTo>
                    <a:pt x="268" y="313"/>
                  </a:lnTo>
                  <a:lnTo>
                    <a:pt x="276" y="296"/>
                  </a:lnTo>
                  <a:lnTo>
                    <a:pt x="285" y="280"/>
                  </a:lnTo>
                  <a:lnTo>
                    <a:pt x="294" y="265"/>
                  </a:lnTo>
                  <a:lnTo>
                    <a:pt x="305" y="251"/>
                  </a:lnTo>
                  <a:lnTo>
                    <a:pt x="316" y="237"/>
                  </a:lnTo>
                  <a:lnTo>
                    <a:pt x="327" y="229"/>
                  </a:lnTo>
                  <a:lnTo>
                    <a:pt x="336" y="221"/>
                  </a:lnTo>
                  <a:lnTo>
                    <a:pt x="347" y="214"/>
                  </a:lnTo>
                  <a:lnTo>
                    <a:pt x="357" y="208"/>
                  </a:lnTo>
                  <a:lnTo>
                    <a:pt x="367" y="203"/>
                  </a:lnTo>
                  <a:lnTo>
                    <a:pt x="378" y="198"/>
                  </a:lnTo>
                  <a:lnTo>
                    <a:pt x="389" y="194"/>
                  </a:lnTo>
                  <a:lnTo>
                    <a:pt x="399" y="191"/>
                  </a:lnTo>
                  <a:lnTo>
                    <a:pt x="418" y="186"/>
                  </a:lnTo>
                  <a:lnTo>
                    <a:pt x="436" y="184"/>
                  </a:lnTo>
                  <a:lnTo>
                    <a:pt x="450" y="181"/>
                  </a:lnTo>
                  <a:lnTo>
                    <a:pt x="461" y="181"/>
                  </a:lnTo>
                  <a:lnTo>
                    <a:pt x="473" y="181"/>
                  </a:lnTo>
                  <a:lnTo>
                    <a:pt x="485" y="182"/>
                  </a:lnTo>
                  <a:lnTo>
                    <a:pt x="496" y="185"/>
                  </a:lnTo>
                  <a:lnTo>
                    <a:pt x="506" y="187"/>
                  </a:lnTo>
                  <a:lnTo>
                    <a:pt x="525" y="193"/>
                  </a:lnTo>
                  <a:lnTo>
                    <a:pt x="542" y="200"/>
                  </a:lnTo>
                  <a:lnTo>
                    <a:pt x="557" y="207"/>
                  </a:lnTo>
                  <a:lnTo>
                    <a:pt x="569" y="215"/>
                  </a:lnTo>
                  <a:lnTo>
                    <a:pt x="579" y="223"/>
                  </a:lnTo>
                  <a:lnTo>
                    <a:pt x="587" y="230"/>
                  </a:lnTo>
                  <a:lnTo>
                    <a:pt x="601" y="245"/>
                  </a:lnTo>
                  <a:lnTo>
                    <a:pt x="613" y="261"/>
                  </a:lnTo>
                  <a:lnTo>
                    <a:pt x="624" y="277"/>
                  </a:lnTo>
                  <a:lnTo>
                    <a:pt x="634" y="293"/>
                  </a:lnTo>
                  <a:lnTo>
                    <a:pt x="642" y="311"/>
                  </a:lnTo>
                  <a:lnTo>
                    <a:pt x="648" y="327"/>
                  </a:lnTo>
                  <a:lnTo>
                    <a:pt x="654" y="344"/>
                  </a:lnTo>
                  <a:lnTo>
                    <a:pt x="658" y="361"/>
                  </a:lnTo>
                  <a:lnTo>
                    <a:pt x="665" y="391"/>
                  </a:lnTo>
                  <a:lnTo>
                    <a:pt x="668" y="419"/>
                  </a:lnTo>
                  <a:lnTo>
                    <a:pt x="670" y="441"/>
                  </a:lnTo>
                  <a:lnTo>
                    <a:pt x="671" y="457"/>
                  </a:lnTo>
                  <a:lnTo>
                    <a:pt x="671" y="465"/>
                  </a:lnTo>
                  <a:lnTo>
                    <a:pt x="672" y="473"/>
                  </a:lnTo>
                  <a:lnTo>
                    <a:pt x="672" y="480"/>
                  </a:lnTo>
                  <a:lnTo>
                    <a:pt x="672" y="488"/>
                  </a:lnTo>
                  <a:lnTo>
                    <a:pt x="673" y="496"/>
                  </a:lnTo>
                  <a:lnTo>
                    <a:pt x="673" y="504"/>
                  </a:lnTo>
                  <a:lnTo>
                    <a:pt x="673" y="512"/>
                  </a:lnTo>
                  <a:lnTo>
                    <a:pt x="673" y="521"/>
                  </a:lnTo>
                  <a:lnTo>
                    <a:pt x="673" y="539"/>
                  </a:lnTo>
                  <a:lnTo>
                    <a:pt x="672" y="567"/>
                  </a:lnTo>
                  <a:lnTo>
                    <a:pt x="671" y="585"/>
                  </a:lnTo>
                  <a:lnTo>
                    <a:pt x="669" y="602"/>
                  </a:lnTo>
                  <a:lnTo>
                    <a:pt x="666" y="621"/>
                  </a:lnTo>
                  <a:lnTo>
                    <a:pt x="662" y="642"/>
                  </a:lnTo>
                  <a:lnTo>
                    <a:pt x="657" y="663"/>
                  </a:lnTo>
                  <a:lnTo>
                    <a:pt x="650" y="683"/>
                  </a:lnTo>
                  <a:lnTo>
                    <a:pt x="642" y="705"/>
                  </a:lnTo>
                  <a:lnTo>
                    <a:pt x="631" y="725"/>
                  </a:lnTo>
                  <a:lnTo>
                    <a:pt x="626" y="736"/>
                  </a:lnTo>
                  <a:lnTo>
                    <a:pt x="619" y="746"/>
                  </a:lnTo>
                  <a:lnTo>
                    <a:pt x="613" y="756"/>
                  </a:lnTo>
                  <a:lnTo>
                    <a:pt x="605" y="765"/>
                  </a:lnTo>
                  <a:lnTo>
                    <a:pt x="598" y="774"/>
                  </a:lnTo>
                  <a:lnTo>
                    <a:pt x="589" y="783"/>
                  </a:lnTo>
                  <a:lnTo>
                    <a:pt x="579" y="791"/>
                  </a:lnTo>
                  <a:lnTo>
                    <a:pt x="570" y="800"/>
                  </a:lnTo>
                  <a:lnTo>
                    <a:pt x="561" y="806"/>
                  </a:lnTo>
                  <a:lnTo>
                    <a:pt x="551" y="813"/>
                  </a:lnTo>
                  <a:lnTo>
                    <a:pt x="539" y="820"/>
                  </a:lnTo>
                  <a:lnTo>
                    <a:pt x="525" y="826"/>
                  </a:lnTo>
                  <a:lnTo>
                    <a:pt x="509" y="832"/>
                  </a:lnTo>
                  <a:lnTo>
                    <a:pt x="491" y="836"/>
                  </a:lnTo>
                  <a:lnTo>
                    <a:pt x="481" y="838"/>
                  </a:lnTo>
                  <a:lnTo>
                    <a:pt x="470" y="840"/>
                  </a:lnTo>
                  <a:lnTo>
                    <a:pt x="459" y="840"/>
                  </a:lnTo>
                  <a:lnTo>
                    <a:pt x="448" y="841"/>
                  </a:lnTo>
                  <a:lnTo>
                    <a:pt x="434" y="840"/>
                  </a:lnTo>
                  <a:lnTo>
                    <a:pt x="420" y="839"/>
                  </a:lnTo>
                  <a:lnTo>
                    <a:pt x="407" y="837"/>
                  </a:lnTo>
                  <a:lnTo>
                    <a:pt x="395" y="834"/>
                  </a:lnTo>
                  <a:lnTo>
                    <a:pt x="383" y="831"/>
                  </a:lnTo>
                  <a:lnTo>
                    <a:pt x="371" y="827"/>
                  </a:lnTo>
                  <a:lnTo>
                    <a:pt x="360" y="822"/>
                  </a:lnTo>
                  <a:lnTo>
                    <a:pt x="351" y="817"/>
                  </a:lnTo>
                  <a:lnTo>
                    <a:pt x="341" y="811"/>
                  </a:lnTo>
                  <a:lnTo>
                    <a:pt x="332" y="805"/>
                  </a:lnTo>
                  <a:lnTo>
                    <a:pt x="323" y="797"/>
                  </a:lnTo>
                  <a:lnTo>
                    <a:pt x="315" y="790"/>
                  </a:lnTo>
                  <a:lnTo>
                    <a:pt x="301" y="775"/>
                  </a:lnTo>
                  <a:lnTo>
                    <a:pt x="288" y="759"/>
                  </a:lnTo>
                  <a:lnTo>
                    <a:pt x="277" y="743"/>
                  </a:lnTo>
                  <a:lnTo>
                    <a:pt x="267" y="726"/>
                  </a:lnTo>
                  <a:lnTo>
                    <a:pt x="259" y="710"/>
                  </a:lnTo>
                  <a:lnTo>
                    <a:pt x="253" y="695"/>
                  </a:lnTo>
                  <a:lnTo>
                    <a:pt x="248" y="680"/>
                  </a:lnTo>
                  <a:lnTo>
                    <a:pt x="244" y="668"/>
                  </a:lnTo>
                  <a:lnTo>
                    <a:pt x="241" y="657"/>
                  </a:lnTo>
                  <a:lnTo>
                    <a:pt x="240" y="648"/>
                  </a:lnTo>
                  <a:lnTo>
                    <a:pt x="235" y="625"/>
                  </a:lnTo>
                  <a:lnTo>
                    <a:pt x="232" y="603"/>
                  </a:lnTo>
                  <a:lnTo>
                    <a:pt x="230" y="583"/>
                  </a:lnTo>
                  <a:lnTo>
                    <a:pt x="229" y="562"/>
                  </a:lnTo>
                  <a:lnTo>
                    <a:pt x="229" y="544"/>
                  </a:lnTo>
                  <a:lnTo>
                    <a:pt x="229" y="529"/>
                  </a:lnTo>
                  <a:lnTo>
                    <a:pt x="230" y="516"/>
                  </a:lnTo>
                  <a:lnTo>
                    <a:pt x="231" y="507"/>
                  </a:lnTo>
                  <a:close/>
                </a:path>
              </a:pathLst>
            </a:custGeom>
            <a:solidFill>
              <a:srgbClr val="5E737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276" u="sng">
                <a:solidFill>
                  <a:srgbClr val="000000"/>
                </a:solidFill>
                <a:latin typeface="Arial" charset="0"/>
                <a:cs typeface="Arial"/>
              </a:endParaRPr>
            </a:p>
          </p:txBody>
        </p:sp>
        <p:sp>
          <p:nvSpPr>
            <p:cNvPr id="18" name="Freeform 64"/>
            <p:cNvSpPr>
              <a:spLocks/>
            </p:cNvSpPr>
            <p:nvPr userDrawn="1"/>
          </p:nvSpPr>
          <p:spPr bwMode="auto">
            <a:xfrm>
              <a:off x="5472" y="362"/>
              <a:ext cx="25" cy="49"/>
            </a:xfrm>
            <a:custGeom>
              <a:avLst/>
              <a:gdLst>
                <a:gd name="T0" fmla="*/ 0 w 499"/>
                <a:gd name="T1" fmla="*/ 0 h 998"/>
                <a:gd name="T2" fmla="*/ 0 w 499"/>
                <a:gd name="T3" fmla="*/ 0 h 998"/>
                <a:gd name="T4" fmla="*/ 0 w 499"/>
                <a:gd name="T5" fmla="*/ 0 h 998"/>
                <a:gd name="T6" fmla="*/ 0 w 499"/>
                <a:gd name="T7" fmla="*/ 0 h 998"/>
                <a:gd name="T8" fmla="*/ 0 w 499"/>
                <a:gd name="T9" fmla="*/ 0 h 998"/>
                <a:gd name="T10" fmla="*/ 0 w 499"/>
                <a:gd name="T11" fmla="*/ 0 h 998"/>
                <a:gd name="T12" fmla="*/ 0 w 499"/>
                <a:gd name="T13" fmla="*/ 0 h 998"/>
                <a:gd name="T14" fmla="*/ 0 w 499"/>
                <a:gd name="T15" fmla="*/ 0 h 998"/>
                <a:gd name="T16" fmla="*/ 0 w 499"/>
                <a:gd name="T17" fmla="*/ 0 h 998"/>
                <a:gd name="T18" fmla="*/ 0 w 499"/>
                <a:gd name="T19" fmla="*/ 0 h 998"/>
                <a:gd name="T20" fmla="*/ 0 w 499"/>
                <a:gd name="T21" fmla="*/ 0 h 998"/>
                <a:gd name="T22" fmla="*/ 0 w 499"/>
                <a:gd name="T23" fmla="*/ 0 h 998"/>
                <a:gd name="T24" fmla="*/ 0 w 499"/>
                <a:gd name="T25" fmla="*/ 0 h 998"/>
                <a:gd name="T26" fmla="*/ 0 w 499"/>
                <a:gd name="T27" fmla="*/ 0 h 998"/>
                <a:gd name="T28" fmla="*/ 0 w 499"/>
                <a:gd name="T29" fmla="*/ 0 h 998"/>
                <a:gd name="T30" fmla="*/ 0 w 499"/>
                <a:gd name="T31" fmla="*/ 0 h 998"/>
                <a:gd name="T32" fmla="*/ 0 w 499"/>
                <a:gd name="T33" fmla="*/ 0 h 998"/>
                <a:gd name="T34" fmla="*/ 0 w 499"/>
                <a:gd name="T35" fmla="*/ 0 h 998"/>
                <a:gd name="T36" fmla="*/ 0 w 499"/>
                <a:gd name="T37" fmla="*/ 0 h 998"/>
                <a:gd name="T38" fmla="*/ 0 w 499"/>
                <a:gd name="T39" fmla="*/ 0 h 998"/>
                <a:gd name="T40" fmla="*/ 0 w 499"/>
                <a:gd name="T41" fmla="*/ 0 h 998"/>
                <a:gd name="T42" fmla="*/ 0 w 499"/>
                <a:gd name="T43" fmla="*/ 0 h 998"/>
                <a:gd name="T44" fmla="*/ 0 w 499"/>
                <a:gd name="T45" fmla="*/ 0 h 998"/>
                <a:gd name="T46" fmla="*/ 0 w 499"/>
                <a:gd name="T47" fmla="*/ 0 h 998"/>
                <a:gd name="T48" fmla="*/ 0 w 499"/>
                <a:gd name="T49" fmla="*/ 0 h 998"/>
                <a:gd name="T50" fmla="*/ 0 w 499"/>
                <a:gd name="T51" fmla="*/ 0 h 998"/>
                <a:gd name="T52" fmla="*/ 0 w 499"/>
                <a:gd name="T53" fmla="*/ 0 h 998"/>
                <a:gd name="T54" fmla="*/ 0 w 499"/>
                <a:gd name="T55" fmla="*/ 0 h 998"/>
                <a:gd name="T56" fmla="*/ 0 w 499"/>
                <a:gd name="T57" fmla="*/ 0 h 998"/>
                <a:gd name="T58" fmla="*/ 0 w 499"/>
                <a:gd name="T59" fmla="*/ 0 h 998"/>
                <a:gd name="T60" fmla="*/ 0 w 499"/>
                <a:gd name="T61" fmla="*/ 0 h 998"/>
                <a:gd name="T62" fmla="*/ 0 w 499"/>
                <a:gd name="T63" fmla="*/ 0 h 998"/>
                <a:gd name="T64" fmla="*/ 0 w 499"/>
                <a:gd name="T65" fmla="*/ 0 h 998"/>
                <a:gd name="T66" fmla="*/ 0 w 499"/>
                <a:gd name="T67" fmla="*/ 0 h 998"/>
                <a:gd name="T68" fmla="*/ 0 w 499"/>
                <a:gd name="T69" fmla="*/ 0 h 998"/>
                <a:gd name="T70" fmla="*/ 0 w 499"/>
                <a:gd name="T71" fmla="*/ 0 h 998"/>
                <a:gd name="T72" fmla="*/ 0 w 499"/>
                <a:gd name="T73" fmla="*/ 0 h 99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499" h="998">
                  <a:moveTo>
                    <a:pt x="0" y="21"/>
                  </a:moveTo>
                  <a:lnTo>
                    <a:pt x="0" y="998"/>
                  </a:lnTo>
                  <a:lnTo>
                    <a:pt x="78" y="993"/>
                  </a:lnTo>
                  <a:lnTo>
                    <a:pt x="96" y="992"/>
                  </a:lnTo>
                  <a:lnTo>
                    <a:pt x="112" y="992"/>
                  </a:lnTo>
                  <a:lnTo>
                    <a:pt x="129" y="992"/>
                  </a:lnTo>
                  <a:lnTo>
                    <a:pt x="147" y="992"/>
                  </a:lnTo>
                  <a:lnTo>
                    <a:pt x="164" y="993"/>
                  </a:lnTo>
                  <a:lnTo>
                    <a:pt x="181" y="993"/>
                  </a:lnTo>
                  <a:lnTo>
                    <a:pt x="199" y="994"/>
                  </a:lnTo>
                  <a:lnTo>
                    <a:pt x="215" y="995"/>
                  </a:lnTo>
                  <a:lnTo>
                    <a:pt x="215" y="592"/>
                  </a:lnTo>
                  <a:lnTo>
                    <a:pt x="216" y="571"/>
                  </a:lnTo>
                  <a:lnTo>
                    <a:pt x="216" y="543"/>
                  </a:lnTo>
                  <a:lnTo>
                    <a:pt x="217" y="526"/>
                  </a:lnTo>
                  <a:lnTo>
                    <a:pt x="219" y="507"/>
                  </a:lnTo>
                  <a:lnTo>
                    <a:pt x="221" y="488"/>
                  </a:lnTo>
                  <a:lnTo>
                    <a:pt x="225" y="468"/>
                  </a:lnTo>
                  <a:lnTo>
                    <a:pt x="229" y="446"/>
                  </a:lnTo>
                  <a:lnTo>
                    <a:pt x="236" y="425"/>
                  </a:lnTo>
                  <a:lnTo>
                    <a:pt x="243" y="403"/>
                  </a:lnTo>
                  <a:lnTo>
                    <a:pt x="252" y="381"/>
                  </a:lnTo>
                  <a:lnTo>
                    <a:pt x="263" y="360"/>
                  </a:lnTo>
                  <a:lnTo>
                    <a:pt x="276" y="339"/>
                  </a:lnTo>
                  <a:lnTo>
                    <a:pt x="283" y="328"/>
                  </a:lnTo>
                  <a:lnTo>
                    <a:pt x="292" y="319"/>
                  </a:lnTo>
                  <a:lnTo>
                    <a:pt x="300" y="309"/>
                  </a:lnTo>
                  <a:lnTo>
                    <a:pt x="309" y="300"/>
                  </a:lnTo>
                  <a:lnTo>
                    <a:pt x="319" y="289"/>
                  </a:lnTo>
                  <a:lnTo>
                    <a:pt x="329" y="281"/>
                  </a:lnTo>
                  <a:lnTo>
                    <a:pt x="340" y="274"/>
                  </a:lnTo>
                  <a:lnTo>
                    <a:pt x="349" y="267"/>
                  </a:lnTo>
                  <a:lnTo>
                    <a:pt x="359" y="262"/>
                  </a:lnTo>
                  <a:lnTo>
                    <a:pt x="368" y="257"/>
                  </a:lnTo>
                  <a:lnTo>
                    <a:pt x="377" y="253"/>
                  </a:lnTo>
                  <a:lnTo>
                    <a:pt x="386" y="250"/>
                  </a:lnTo>
                  <a:lnTo>
                    <a:pt x="403" y="246"/>
                  </a:lnTo>
                  <a:lnTo>
                    <a:pt x="419" y="243"/>
                  </a:lnTo>
                  <a:lnTo>
                    <a:pt x="433" y="241"/>
                  </a:lnTo>
                  <a:lnTo>
                    <a:pt x="447" y="240"/>
                  </a:lnTo>
                  <a:lnTo>
                    <a:pt x="453" y="240"/>
                  </a:lnTo>
                  <a:lnTo>
                    <a:pt x="459" y="238"/>
                  </a:lnTo>
                  <a:lnTo>
                    <a:pt x="465" y="238"/>
                  </a:lnTo>
                  <a:lnTo>
                    <a:pt x="471" y="238"/>
                  </a:lnTo>
                  <a:lnTo>
                    <a:pt x="478" y="238"/>
                  </a:lnTo>
                  <a:lnTo>
                    <a:pt x="484" y="237"/>
                  </a:lnTo>
                  <a:lnTo>
                    <a:pt x="491" y="237"/>
                  </a:lnTo>
                  <a:lnTo>
                    <a:pt x="497" y="237"/>
                  </a:lnTo>
                  <a:lnTo>
                    <a:pt x="499" y="0"/>
                  </a:lnTo>
                  <a:lnTo>
                    <a:pt x="487" y="0"/>
                  </a:lnTo>
                  <a:lnTo>
                    <a:pt x="473" y="1"/>
                  </a:lnTo>
                  <a:lnTo>
                    <a:pt x="457" y="2"/>
                  </a:lnTo>
                  <a:lnTo>
                    <a:pt x="438" y="5"/>
                  </a:lnTo>
                  <a:lnTo>
                    <a:pt x="418" y="9"/>
                  </a:lnTo>
                  <a:lnTo>
                    <a:pt x="396" y="16"/>
                  </a:lnTo>
                  <a:lnTo>
                    <a:pt x="385" y="20"/>
                  </a:lnTo>
                  <a:lnTo>
                    <a:pt x="373" y="25"/>
                  </a:lnTo>
                  <a:lnTo>
                    <a:pt x="362" y="31"/>
                  </a:lnTo>
                  <a:lnTo>
                    <a:pt x="351" y="37"/>
                  </a:lnTo>
                  <a:lnTo>
                    <a:pt x="335" y="47"/>
                  </a:lnTo>
                  <a:lnTo>
                    <a:pt x="321" y="57"/>
                  </a:lnTo>
                  <a:lnTo>
                    <a:pt x="308" y="69"/>
                  </a:lnTo>
                  <a:lnTo>
                    <a:pt x="296" y="81"/>
                  </a:lnTo>
                  <a:lnTo>
                    <a:pt x="284" y="94"/>
                  </a:lnTo>
                  <a:lnTo>
                    <a:pt x="274" y="107"/>
                  </a:lnTo>
                  <a:lnTo>
                    <a:pt x="264" y="120"/>
                  </a:lnTo>
                  <a:lnTo>
                    <a:pt x="255" y="135"/>
                  </a:lnTo>
                  <a:lnTo>
                    <a:pt x="247" y="150"/>
                  </a:lnTo>
                  <a:lnTo>
                    <a:pt x="239" y="165"/>
                  </a:lnTo>
                  <a:lnTo>
                    <a:pt x="231" y="180"/>
                  </a:lnTo>
                  <a:lnTo>
                    <a:pt x="224" y="196"/>
                  </a:lnTo>
                  <a:lnTo>
                    <a:pt x="210" y="228"/>
                  </a:lnTo>
                  <a:lnTo>
                    <a:pt x="197" y="262"/>
                  </a:lnTo>
                  <a:lnTo>
                    <a:pt x="197" y="21"/>
                  </a:lnTo>
                  <a:lnTo>
                    <a:pt x="0" y="21"/>
                  </a:lnTo>
                  <a:close/>
                </a:path>
              </a:pathLst>
            </a:custGeom>
            <a:solidFill>
              <a:srgbClr val="5E737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276" u="sng">
                <a:solidFill>
                  <a:srgbClr val="000000"/>
                </a:solidFill>
                <a:latin typeface="Arial" charset="0"/>
                <a:cs typeface="Arial"/>
              </a:endParaRPr>
            </a:p>
          </p:txBody>
        </p:sp>
        <p:sp>
          <p:nvSpPr>
            <p:cNvPr id="19" name="Freeform 65"/>
            <p:cNvSpPr>
              <a:spLocks/>
            </p:cNvSpPr>
            <p:nvPr userDrawn="1"/>
          </p:nvSpPr>
          <p:spPr bwMode="auto">
            <a:xfrm>
              <a:off x="5531" y="346"/>
              <a:ext cx="12" cy="65"/>
            </a:xfrm>
            <a:custGeom>
              <a:avLst/>
              <a:gdLst>
                <a:gd name="T0" fmla="*/ 0 w 244"/>
                <a:gd name="T1" fmla="*/ 0 h 1304"/>
                <a:gd name="T2" fmla="*/ 0 w 244"/>
                <a:gd name="T3" fmla="*/ 0 h 1304"/>
                <a:gd name="T4" fmla="*/ 0 w 244"/>
                <a:gd name="T5" fmla="*/ 0 h 1304"/>
                <a:gd name="T6" fmla="*/ 0 w 244"/>
                <a:gd name="T7" fmla="*/ 0 h 1304"/>
                <a:gd name="T8" fmla="*/ 0 w 244"/>
                <a:gd name="T9" fmla="*/ 0 h 1304"/>
                <a:gd name="T10" fmla="*/ 0 w 244"/>
                <a:gd name="T11" fmla="*/ 0 h 1304"/>
                <a:gd name="T12" fmla="*/ 0 w 244"/>
                <a:gd name="T13" fmla="*/ 0 h 130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44" h="1304">
                  <a:moveTo>
                    <a:pt x="0" y="1203"/>
                  </a:moveTo>
                  <a:lnTo>
                    <a:pt x="0" y="1304"/>
                  </a:lnTo>
                  <a:lnTo>
                    <a:pt x="244" y="1304"/>
                  </a:lnTo>
                  <a:lnTo>
                    <a:pt x="244" y="0"/>
                  </a:lnTo>
                  <a:lnTo>
                    <a:pt x="1" y="0"/>
                  </a:lnTo>
                  <a:lnTo>
                    <a:pt x="1" y="136"/>
                  </a:lnTo>
                  <a:lnTo>
                    <a:pt x="0" y="1203"/>
                  </a:lnTo>
                  <a:close/>
                </a:path>
              </a:pathLst>
            </a:custGeom>
            <a:solidFill>
              <a:srgbClr val="5E737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276" u="sng">
                <a:solidFill>
                  <a:srgbClr val="000000"/>
                </a:solidFill>
                <a:latin typeface="Arial" charset="0"/>
                <a:cs typeface="Arial"/>
              </a:endParaRPr>
            </a:p>
          </p:txBody>
        </p:sp>
        <p:sp>
          <p:nvSpPr>
            <p:cNvPr id="20" name="Freeform 66"/>
            <p:cNvSpPr>
              <a:spLocks/>
            </p:cNvSpPr>
            <p:nvPr userDrawn="1"/>
          </p:nvSpPr>
          <p:spPr bwMode="auto">
            <a:xfrm>
              <a:off x="5557" y="361"/>
              <a:ext cx="40" cy="50"/>
            </a:xfrm>
            <a:custGeom>
              <a:avLst/>
              <a:gdLst>
                <a:gd name="T0" fmla="*/ 0 w 798"/>
                <a:gd name="T1" fmla="*/ 0 h 1000"/>
                <a:gd name="T2" fmla="*/ 0 w 798"/>
                <a:gd name="T3" fmla="*/ 0 h 1000"/>
                <a:gd name="T4" fmla="*/ 0 w 798"/>
                <a:gd name="T5" fmla="*/ 0 h 1000"/>
                <a:gd name="T6" fmla="*/ 0 w 798"/>
                <a:gd name="T7" fmla="*/ 0 h 1000"/>
                <a:gd name="T8" fmla="*/ 0 w 798"/>
                <a:gd name="T9" fmla="*/ 0 h 1000"/>
                <a:gd name="T10" fmla="*/ 0 w 798"/>
                <a:gd name="T11" fmla="*/ 0 h 1000"/>
                <a:gd name="T12" fmla="*/ 0 w 798"/>
                <a:gd name="T13" fmla="*/ 0 h 1000"/>
                <a:gd name="T14" fmla="*/ 0 w 798"/>
                <a:gd name="T15" fmla="*/ 0 h 1000"/>
                <a:gd name="T16" fmla="*/ 0 w 798"/>
                <a:gd name="T17" fmla="*/ 0 h 1000"/>
                <a:gd name="T18" fmla="*/ 0 w 798"/>
                <a:gd name="T19" fmla="*/ 0 h 1000"/>
                <a:gd name="T20" fmla="*/ 0 w 798"/>
                <a:gd name="T21" fmla="*/ 0 h 1000"/>
                <a:gd name="T22" fmla="*/ 0 w 798"/>
                <a:gd name="T23" fmla="*/ 0 h 1000"/>
                <a:gd name="T24" fmla="*/ 0 w 798"/>
                <a:gd name="T25" fmla="*/ 0 h 1000"/>
                <a:gd name="T26" fmla="*/ 0 w 798"/>
                <a:gd name="T27" fmla="*/ 0 h 1000"/>
                <a:gd name="T28" fmla="*/ 0 w 798"/>
                <a:gd name="T29" fmla="*/ 0 h 1000"/>
                <a:gd name="T30" fmla="*/ 0 w 798"/>
                <a:gd name="T31" fmla="*/ 0 h 1000"/>
                <a:gd name="T32" fmla="*/ 0 w 798"/>
                <a:gd name="T33" fmla="*/ 0 h 1000"/>
                <a:gd name="T34" fmla="*/ 0 w 798"/>
                <a:gd name="T35" fmla="*/ 0 h 1000"/>
                <a:gd name="T36" fmla="*/ 0 w 798"/>
                <a:gd name="T37" fmla="*/ 0 h 1000"/>
                <a:gd name="T38" fmla="*/ 0 w 798"/>
                <a:gd name="T39" fmla="*/ 0 h 1000"/>
                <a:gd name="T40" fmla="*/ 0 w 798"/>
                <a:gd name="T41" fmla="*/ 0 h 1000"/>
                <a:gd name="T42" fmla="*/ 0 w 798"/>
                <a:gd name="T43" fmla="*/ 0 h 1000"/>
                <a:gd name="T44" fmla="*/ 0 w 798"/>
                <a:gd name="T45" fmla="*/ 0 h 1000"/>
                <a:gd name="T46" fmla="*/ 0 w 798"/>
                <a:gd name="T47" fmla="*/ 0 h 1000"/>
                <a:gd name="T48" fmla="*/ 0 w 798"/>
                <a:gd name="T49" fmla="*/ 0 h 1000"/>
                <a:gd name="T50" fmla="*/ 0 w 798"/>
                <a:gd name="T51" fmla="*/ 0 h 1000"/>
                <a:gd name="T52" fmla="*/ 0 w 798"/>
                <a:gd name="T53" fmla="*/ 0 h 1000"/>
                <a:gd name="T54" fmla="*/ 0 w 798"/>
                <a:gd name="T55" fmla="*/ 0 h 1000"/>
                <a:gd name="T56" fmla="*/ 0 w 798"/>
                <a:gd name="T57" fmla="*/ 0 h 1000"/>
                <a:gd name="T58" fmla="*/ 0 w 798"/>
                <a:gd name="T59" fmla="*/ 0 h 1000"/>
                <a:gd name="T60" fmla="*/ 0 w 798"/>
                <a:gd name="T61" fmla="*/ 0 h 1000"/>
                <a:gd name="T62" fmla="*/ 0 w 798"/>
                <a:gd name="T63" fmla="*/ 0 h 1000"/>
                <a:gd name="T64" fmla="*/ 0 w 798"/>
                <a:gd name="T65" fmla="*/ 0 h 1000"/>
                <a:gd name="T66" fmla="*/ 0 w 798"/>
                <a:gd name="T67" fmla="*/ 0 h 1000"/>
                <a:gd name="T68" fmla="*/ 0 w 798"/>
                <a:gd name="T69" fmla="*/ 0 h 1000"/>
                <a:gd name="T70" fmla="*/ 0 w 798"/>
                <a:gd name="T71" fmla="*/ 0 h 1000"/>
                <a:gd name="T72" fmla="*/ 0 w 798"/>
                <a:gd name="T73" fmla="*/ 0 h 1000"/>
                <a:gd name="T74" fmla="*/ 0 w 798"/>
                <a:gd name="T75" fmla="*/ 0 h 1000"/>
                <a:gd name="T76" fmla="*/ 0 w 798"/>
                <a:gd name="T77" fmla="*/ 0 h 1000"/>
                <a:gd name="T78" fmla="*/ 0 w 798"/>
                <a:gd name="T79" fmla="*/ 0 h 1000"/>
                <a:gd name="T80" fmla="*/ 0 w 798"/>
                <a:gd name="T81" fmla="*/ 0 h 1000"/>
                <a:gd name="T82" fmla="*/ 0 w 798"/>
                <a:gd name="T83" fmla="*/ 0 h 1000"/>
                <a:gd name="T84" fmla="*/ 0 w 798"/>
                <a:gd name="T85" fmla="*/ 0 h 1000"/>
                <a:gd name="T86" fmla="*/ 0 w 798"/>
                <a:gd name="T87" fmla="*/ 0 h 1000"/>
                <a:gd name="T88" fmla="*/ 0 w 798"/>
                <a:gd name="T89" fmla="*/ 0 h 1000"/>
                <a:gd name="T90" fmla="*/ 0 w 798"/>
                <a:gd name="T91" fmla="*/ 0 h 1000"/>
                <a:gd name="T92" fmla="*/ 0 w 798"/>
                <a:gd name="T93" fmla="*/ 0 h 1000"/>
                <a:gd name="T94" fmla="*/ 0 w 798"/>
                <a:gd name="T95" fmla="*/ 0 h 1000"/>
                <a:gd name="T96" fmla="*/ 0 w 798"/>
                <a:gd name="T97" fmla="*/ 0 h 1000"/>
                <a:gd name="T98" fmla="*/ 0 w 798"/>
                <a:gd name="T99" fmla="*/ 0 h 1000"/>
                <a:gd name="T100" fmla="*/ 0 w 798"/>
                <a:gd name="T101" fmla="*/ 0 h 1000"/>
                <a:gd name="T102" fmla="*/ 0 w 798"/>
                <a:gd name="T103" fmla="*/ 0 h 1000"/>
                <a:gd name="T104" fmla="*/ 0 w 798"/>
                <a:gd name="T105" fmla="*/ 0 h 1000"/>
                <a:gd name="T106" fmla="*/ 0 w 798"/>
                <a:gd name="T107" fmla="*/ 0 h 100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98" h="1000">
                  <a:moveTo>
                    <a:pt x="0" y="23"/>
                  </a:moveTo>
                  <a:lnTo>
                    <a:pt x="0" y="993"/>
                  </a:lnTo>
                  <a:lnTo>
                    <a:pt x="220" y="1000"/>
                  </a:lnTo>
                  <a:lnTo>
                    <a:pt x="220" y="483"/>
                  </a:lnTo>
                  <a:lnTo>
                    <a:pt x="222" y="446"/>
                  </a:lnTo>
                  <a:lnTo>
                    <a:pt x="226" y="410"/>
                  </a:lnTo>
                  <a:lnTo>
                    <a:pt x="229" y="391"/>
                  </a:lnTo>
                  <a:lnTo>
                    <a:pt x="232" y="374"/>
                  </a:lnTo>
                  <a:lnTo>
                    <a:pt x="235" y="358"/>
                  </a:lnTo>
                  <a:lnTo>
                    <a:pt x="240" y="340"/>
                  </a:lnTo>
                  <a:lnTo>
                    <a:pt x="245" y="324"/>
                  </a:lnTo>
                  <a:lnTo>
                    <a:pt x="251" y="309"/>
                  </a:lnTo>
                  <a:lnTo>
                    <a:pt x="259" y="293"/>
                  </a:lnTo>
                  <a:lnTo>
                    <a:pt x="268" y="278"/>
                  </a:lnTo>
                  <a:lnTo>
                    <a:pt x="279" y="264"/>
                  </a:lnTo>
                  <a:lnTo>
                    <a:pt x="291" y="251"/>
                  </a:lnTo>
                  <a:lnTo>
                    <a:pt x="304" y="237"/>
                  </a:lnTo>
                  <a:lnTo>
                    <a:pt x="319" y="225"/>
                  </a:lnTo>
                  <a:lnTo>
                    <a:pt x="337" y="212"/>
                  </a:lnTo>
                  <a:lnTo>
                    <a:pt x="353" y="202"/>
                  </a:lnTo>
                  <a:lnTo>
                    <a:pt x="368" y="195"/>
                  </a:lnTo>
                  <a:lnTo>
                    <a:pt x="384" y="190"/>
                  </a:lnTo>
                  <a:lnTo>
                    <a:pt x="398" y="186"/>
                  </a:lnTo>
                  <a:lnTo>
                    <a:pt x="410" y="183"/>
                  </a:lnTo>
                  <a:lnTo>
                    <a:pt x="421" y="182"/>
                  </a:lnTo>
                  <a:lnTo>
                    <a:pt x="431" y="181"/>
                  </a:lnTo>
                  <a:lnTo>
                    <a:pt x="448" y="182"/>
                  </a:lnTo>
                  <a:lnTo>
                    <a:pt x="464" y="186"/>
                  </a:lnTo>
                  <a:lnTo>
                    <a:pt x="480" y="190"/>
                  </a:lnTo>
                  <a:lnTo>
                    <a:pt x="493" y="195"/>
                  </a:lnTo>
                  <a:lnTo>
                    <a:pt x="504" y="201"/>
                  </a:lnTo>
                  <a:lnTo>
                    <a:pt x="513" y="206"/>
                  </a:lnTo>
                  <a:lnTo>
                    <a:pt x="521" y="212"/>
                  </a:lnTo>
                  <a:lnTo>
                    <a:pt x="527" y="217"/>
                  </a:lnTo>
                  <a:lnTo>
                    <a:pt x="538" y="227"/>
                  </a:lnTo>
                  <a:lnTo>
                    <a:pt x="547" y="237"/>
                  </a:lnTo>
                  <a:lnTo>
                    <a:pt x="555" y="248"/>
                  </a:lnTo>
                  <a:lnTo>
                    <a:pt x="561" y="259"/>
                  </a:lnTo>
                  <a:lnTo>
                    <a:pt x="567" y="270"/>
                  </a:lnTo>
                  <a:lnTo>
                    <a:pt x="572" y="281"/>
                  </a:lnTo>
                  <a:lnTo>
                    <a:pt x="575" y="293"/>
                  </a:lnTo>
                  <a:lnTo>
                    <a:pt x="578" y="306"/>
                  </a:lnTo>
                  <a:lnTo>
                    <a:pt x="584" y="331"/>
                  </a:lnTo>
                  <a:lnTo>
                    <a:pt x="586" y="358"/>
                  </a:lnTo>
                  <a:lnTo>
                    <a:pt x="587" y="384"/>
                  </a:lnTo>
                  <a:lnTo>
                    <a:pt x="588" y="412"/>
                  </a:lnTo>
                  <a:lnTo>
                    <a:pt x="588" y="1000"/>
                  </a:lnTo>
                  <a:lnTo>
                    <a:pt x="798" y="1000"/>
                  </a:lnTo>
                  <a:lnTo>
                    <a:pt x="798" y="339"/>
                  </a:lnTo>
                  <a:lnTo>
                    <a:pt x="798" y="333"/>
                  </a:lnTo>
                  <a:lnTo>
                    <a:pt x="797" y="323"/>
                  </a:lnTo>
                  <a:lnTo>
                    <a:pt x="796" y="311"/>
                  </a:lnTo>
                  <a:lnTo>
                    <a:pt x="795" y="296"/>
                  </a:lnTo>
                  <a:lnTo>
                    <a:pt x="794" y="281"/>
                  </a:lnTo>
                  <a:lnTo>
                    <a:pt x="792" y="264"/>
                  </a:lnTo>
                  <a:lnTo>
                    <a:pt x="789" y="247"/>
                  </a:lnTo>
                  <a:lnTo>
                    <a:pt x="785" y="230"/>
                  </a:lnTo>
                  <a:lnTo>
                    <a:pt x="780" y="213"/>
                  </a:lnTo>
                  <a:lnTo>
                    <a:pt x="775" y="198"/>
                  </a:lnTo>
                  <a:lnTo>
                    <a:pt x="770" y="184"/>
                  </a:lnTo>
                  <a:lnTo>
                    <a:pt x="766" y="171"/>
                  </a:lnTo>
                  <a:lnTo>
                    <a:pt x="761" y="161"/>
                  </a:lnTo>
                  <a:lnTo>
                    <a:pt x="756" y="151"/>
                  </a:lnTo>
                  <a:lnTo>
                    <a:pt x="753" y="143"/>
                  </a:lnTo>
                  <a:lnTo>
                    <a:pt x="749" y="137"/>
                  </a:lnTo>
                  <a:lnTo>
                    <a:pt x="742" y="125"/>
                  </a:lnTo>
                  <a:lnTo>
                    <a:pt x="735" y="113"/>
                  </a:lnTo>
                  <a:lnTo>
                    <a:pt x="726" y="102"/>
                  </a:lnTo>
                  <a:lnTo>
                    <a:pt x="717" y="91"/>
                  </a:lnTo>
                  <a:lnTo>
                    <a:pt x="708" y="81"/>
                  </a:lnTo>
                  <a:lnTo>
                    <a:pt x="699" y="71"/>
                  </a:lnTo>
                  <a:lnTo>
                    <a:pt x="689" y="62"/>
                  </a:lnTo>
                  <a:lnTo>
                    <a:pt x="678" y="54"/>
                  </a:lnTo>
                  <a:lnTo>
                    <a:pt x="666" y="47"/>
                  </a:lnTo>
                  <a:lnTo>
                    <a:pt x="652" y="38"/>
                  </a:lnTo>
                  <a:lnTo>
                    <a:pt x="635" y="30"/>
                  </a:lnTo>
                  <a:lnTo>
                    <a:pt x="614" y="21"/>
                  </a:lnTo>
                  <a:lnTo>
                    <a:pt x="592" y="13"/>
                  </a:lnTo>
                  <a:lnTo>
                    <a:pt x="565" y="6"/>
                  </a:lnTo>
                  <a:lnTo>
                    <a:pt x="551" y="4"/>
                  </a:lnTo>
                  <a:lnTo>
                    <a:pt x="536" y="2"/>
                  </a:lnTo>
                  <a:lnTo>
                    <a:pt x="520" y="0"/>
                  </a:lnTo>
                  <a:lnTo>
                    <a:pt x="503" y="0"/>
                  </a:lnTo>
                  <a:lnTo>
                    <a:pt x="489" y="0"/>
                  </a:lnTo>
                  <a:lnTo>
                    <a:pt x="475" y="1"/>
                  </a:lnTo>
                  <a:lnTo>
                    <a:pt x="462" y="2"/>
                  </a:lnTo>
                  <a:lnTo>
                    <a:pt x="450" y="4"/>
                  </a:lnTo>
                  <a:lnTo>
                    <a:pt x="425" y="9"/>
                  </a:lnTo>
                  <a:lnTo>
                    <a:pt x="403" y="15"/>
                  </a:lnTo>
                  <a:lnTo>
                    <a:pt x="382" y="24"/>
                  </a:lnTo>
                  <a:lnTo>
                    <a:pt x="363" y="33"/>
                  </a:lnTo>
                  <a:lnTo>
                    <a:pt x="345" y="43"/>
                  </a:lnTo>
                  <a:lnTo>
                    <a:pt x="330" y="54"/>
                  </a:lnTo>
                  <a:lnTo>
                    <a:pt x="314" y="65"/>
                  </a:lnTo>
                  <a:lnTo>
                    <a:pt x="302" y="78"/>
                  </a:lnTo>
                  <a:lnTo>
                    <a:pt x="290" y="89"/>
                  </a:lnTo>
                  <a:lnTo>
                    <a:pt x="280" y="101"/>
                  </a:lnTo>
                  <a:lnTo>
                    <a:pt x="261" y="124"/>
                  </a:lnTo>
                  <a:lnTo>
                    <a:pt x="248" y="144"/>
                  </a:lnTo>
                  <a:lnTo>
                    <a:pt x="242" y="154"/>
                  </a:lnTo>
                  <a:lnTo>
                    <a:pt x="236" y="165"/>
                  </a:lnTo>
                  <a:lnTo>
                    <a:pt x="229" y="176"/>
                  </a:lnTo>
                  <a:lnTo>
                    <a:pt x="222" y="189"/>
                  </a:lnTo>
                  <a:lnTo>
                    <a:pt x="216" y="200"/>
                  </a:lnTo>
                  <a:lnTo>
                    <a:pt x="211" y="211"/>
                  </a:lnTo>
                  <a:lnTo>
                    <a:pt x="206" y="222"/>
                  </a:lnTo>
                  <a:lnTo>
                    <a:pt x="201" y="232"/>
                  </a:lnTo>
                  <a:lnTo>
                    <a:pt x="201" y="23"/>
                  </a:lnTo>
                  <a:lnTo>
                    <a:pt x="0" y="23"/>
                  </a:lnTo>
                  <a:close/>
                </a:path>
              </a:pathLst>
            </a:custGeom>
            <a:solidFill>
              <a:srgbClr val="5E737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276" u="sng">
                <a:solidFill>
                  <a:srgbClr val="000000"/>
                </a:solidFill>
                <a:latin typeface="Arial" charset="0"/>
                <a:cs typeface="Arial"/>
              </a:endParaRPr>
            </a:p>
          </p:txBody>
        </p:sp>
        <p:sp>
          <p:nvSpPr>
            <p:cNvPr id="21" name="Freeform 67"/>
            <p:cNvSpPr>
              <a:spLocks/>
            </p:cNvSpPr>
            <p:nvPr userDrawn="1"/>
          </p:nvSpPr>
          <p:spPr bwMode="auto">
            <a:xfrm>
              <a:off x="5604" y="349"/>
              <a:ext cx="27" cy="63"/>
            </a:xfrm>
            <a:custGeom>
              <a:avLst/>
              <a:gdLst>
                <a:gd name="T0" fmla="*/ 0 w 538"/>
                <a:gd name="T1" fmla="*/ 0 h 1259"/>
                <a:gd name="T2" fmla="*/ 0 w 538"/>
                <a:gd name="T3" fmla="*/ 0 h 1259"/>
                <a:gd name="T4" fmla="*/ 0 w 538"/>
                <a:gd name="T5" fmla="*/ 0 h 1259"/>
                <a:gd name="T6" fmla="*/ 0 w 538"/>
                <a:gd name="T7" fmla="*/ 0 h 1259"/>
                <a:gd name="T8" fmla="*/ 0 w 538"/>
                <a:gd name="T9" fmla="*/ 0 h 1259"/>
                <a:gd name="T10" fmla="*/ 0 w 538"/>
                <a:gd name="T11" fmla="*/ 0 h 1259"/>
                <a:gd name="T12" fmla="*/ 0 w 538"/>
                <a:gd name="T13" fmla="*/ 0 h 1259"/>
                <a:gd name="T14" fmla="*/ 0 w 538"/>
                <a:gd name="T15" fmla="*/ 0 h 1259"/>
                <a:gd name="T16" fmla="*/ 0 w 538"/>
                <a:gd name="T17" fmla="*/ 0 h 1259"/>
                <a:gd name="T18" fmla="*/ 0 w 538"/>
                <a:gd name="T19" fmla="*/ 0 h 1259"/>
                <a:gd name="T20" fmla="*/ 0 w 538"/>
                <a:gd name="T21" fmla="*/ 0 h 1259"/>
                <a:gd name="T22" fmla="*/ 0 w 538"/>
                <a:gd name="T23" fmla="*/ 0 h 1259"/>
                <a:gd name="T24" fmla="*/ 0 w 538"/>
                <a:gd name="T25" fmla="*/ 0 h 1259"/>
                <a:gd name="T26" fmla="*/ 0 w 538"/>
                <a:gd name="T27" fmla="*/ 0 h 1259"/>
                <a:gd name="T28" fmla="*/ 0 w 538"/>
                <a:gd name="T29" fmla="*/ 0 h 1259"/>
                <a:gd name="T30" fmla="*/ 0 w 538"/>
                <a:gd name="T31" fmla="*/ 0 h 1259"/>
                <a:gd name="T32" fmla="*/ 0 w 538"/>
                <a:gd name="T33" fmla="*/ 0 h 1259"/>
                <a:gd name="T34" fmla="*/ 0 w 538"/>
                <a:gd name="T35" fmla="*/ 0 h 1259"/>
                <a:gd name="T36" fmla="*/ 0 w 538"/>
                <a:gd name="T37" fmla="*/ 0 h 1259"/>
                <a:gd name="T38" fmla="*/ 0 w 538"/>
                <a:gd name="T39" fmla="*/ 0 h 1259"/>
                <a:gd name="T40" fmla="*/ 0 w 538"/>
                <a:gd name="T41" fmla="*/ 0 h 1259"/>
                <a:gd name="T42" fmla="*/ 0 w 538"/>
                <a:gd name="T43" fmla="*/ 0 h 1259"/>
                <a:gd name="T44" fmla="*/ 0 w 538"/>
                <a:gd name="T45" fmla="*/ 0 h 1259"/>
                <a:gd name="T46" fmla="*/ 0 w 538"/>
                <a:gd name="T47" fmla="*/ 0 h 1259"/>
                <a:gd name="T48" fmla="*/ 0 w 538"/>
                <a:gd name="T49" fmla="*/ 0 h 1259"/>
                <a:gd name="T50" fmla="*/ 0 w 538"/>
                <a:gd name="T51" fmla="*/ 0 h 1259"/>
                <a:gd name="T52" fmla="*/ 0 w 538"/>
                <a:gd name="T53" fmla="*/ 0 h 1259"/>
                <a:gd name="T54" fmla="*/ 0 w 538"/>
                <a:gd name="T55" fmla="*/ 0 h 1259"/>
                <a:gd name="T56" fmla="*/ 0 w 538"/>
                <a:gd name="T57" fmla="*/ 0 h 1259"/>
                <a:gd name="T58" fmla="*/ 0 w 538"/>
                <a:gd name="T59" fmla="*/ 0 h 1259"/>
                <a:gd name="T60" fmla="*/ 0 w 538"/>
                <a:gd name="T61" fmla="*/ 0 h 1259"/>
                <a:gd name="T62" fmla="*/ 0 w 538"/>
                <a:gd name="T63" fmla="*/ 0 h 1259"/>
                <a:gd name="T64" fmla="*/ 0 w 538"/>
                <a:gd name="T65" fmla="*/ 0 h 125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538" h="1259">
                  <a:moveTo>
                    <a:pt x="0" y="276"/>
                  </a:moveTo>
                  <a:lnTo>
                    <a:pt x="0" y="457"/>
                  </a:lnTo>
                  <a:lnTo>
                    <a:pt x="118" y="457"/>
                  </a:lnTo>
                  <a:lnTo>
                    <a:pt x="118" y="996"/>
                  </a:lnTo>
                  <a:lnTo>
                    <a:pt x="121" y="1025"/>
                  </a:lnTo>
                  <a:lnTo>
                    <a:pt x="125" y="1051"/>
                  </a:lnTo>
                  <a:lnTo>
                    <a:pt x="130" y="1077"/>
                  </a:lnTo>
                  <a:lnTo>
                    <a:pt x="136" y="1101"/>
                  </a:lnTo>
                  <a:lnTo>
                    <a:pt x="140" y="1114"/>
                  </a:lnTo>
                  <a:lnTo>
                    <a:pt x="146" y="1126"/>
                  </a:lnTo>
                  <a:lnTo>
                    <a:pt x="151" y="1137"/>
                  </a:lnTo>
                  <a:lnTo>
                    <a:pt x="157" y="1148"/>
                  </a:lnTo>
                  <a:lnTo>
                    <a:pt x="164" y="1159"/>
                  </a:lnTo>
                  <a:lnTo>
                    <a:pt x="172" y="1171"/>
                  </a:lnTo>
                  <a:lnTo>
                    <a:pt x="181" y="1181"/>
                  </a:lnTo>
                  <a:lnTo>
                    <a:pt x="190" y="1191"/>
                  </a:lnTo>
                  <a:lnTo>
                    <a:pt x="202" y="1202"/>
                  </a:lnTo>
                  <a:lnTo>
                    <a:pt x="212" y="1211"/>
                  </a:lnTo>
                  <a:lnTo>
                    <a:pt x="223" y="1219"/>
                  </a:lnTo>
                  <a:lnTo>
                    <a:pt x="235" y="1227"/>
                  </a:lnTo>
                  <a:lnTo>
                    <a:pt x="248" y="1233"/>
                  </a:lnTo>
                  <a:lnTo>
                    <a:pt x="260" y="1239"/>
                  </a:lnTo>
                  <a:lnTo>
                    <a:pt x="272" y="1243"/>
                  </a:lnTo>
                  <a:lnTo>
                    <a:pt x="285" y="1247"/>
                  </a:lnTo>
                  <a:lnTo>
                    <a:pt x="299" y="1250"/>
                  </a:lnTo>
                  <a:lnTo>
                    <a:pt x="313" y="1253"/>
                  </a:lnTo>
                  <a:lnTo>
                    <a:pt x="327" y="1255"/>
                  </a:lnTo>
                  <a:lnTo>
                    <a:pt x="341" y="1256"/>
                  </a:lnTo>
                  <a:lnTo>
                    <a:pt x="371" y="1258"/>
                  </a:lnTo>
                  <a:lnTo>
                    <a:pt x="402" y="1259"/>
                  </a:lnTo>
                  <a:lnTo>
                    <a:pt x="418" y="1259"/>
                  </a:lnTo>
                  <a:lnTo>
                    <a:pt x="435" y="1258"/>
                  </a:lnTo>
                  <a:lnTo>
                    <a:pt x="452" y="1258"/>
                  </a:lnTo>
                  <a:lnTo>
                    <a:pt x="469" y="1257"/>
                  </a:lnTo>
                  <a:lnTo>
                    <a:pt x="485" y="1256"/>
                  </a:lnTo>
                  <a:lnTo>
                    <a:pt x="503" y="1255"/>
                  </a:lnTo>
                  <a:lnTo>
                    <a:pt x="519" y="1254"/>
                  </a:lnTo>
                  <a:lnTo>
                    <a:pt x="536" y="1253"/>
                  </a:lnTo>
                  <a:lnTo>
                    <a:pt x="538" y="1074"/>
                  </a:lnTo>
                  <a:lnTo>
                    <a:pt x="515" y="1076"/>
                  </a:lnTo>
                  <a:lnTo>
                    <a:pt x="491" y="1077"/>
                  </a:lnTo>
                  <a:lnTo>
                    <a:pt x="467" y="1078"/>
                  </a:lnTo>
                  <a:lnTo>
                    <a:pt x="442" y="1076"/>
                  </a:lnTo>
                  <a:lnTo>
                    <a:pt x="431" y="1075"/>
                  </a:lnTo>
                  <a:lnTo>
                    <a:pt x="420" y="1072"/>
                  </a:lnTo>
                  <a:lnTo>
                    <a:pt x="409" y="1069"/>
                  </a:lnTo>
                  <a:lnTo>
                    <a:pt x="399" y="1065"/>
                  </a:lnTo>
                  <a:lnTo>
                    <a:pt x="388" y="1060"/>
                  </a:lnTo>
                  <a:lnTo>
                    <a:pt x="378" y="1054"/>
                  </a:lnTo>
                  <a:lnTo>
                    <a:pt x="370" y="1046"/>
                  </a:lnTo>
                  <a:lnTo>
                    <a:pt x="362" y="1038"/>
                  </a:lnTo>
                  <a:lnTo>
                    <a:pt x="356" y="1030"/>
                  </a:lnTo>
                  <a:lnTo>
                    <a:pt x="351" y="1022"/>
                  </a:lnTo>
                  <a:lnTo>
                    <a:pt x="347" y="1013"/>
                  </a:lnTo>
                  <a:lnTo>
                    <a:pt x="342" y="1003"/>
                  </a:lnTo>
                  <a:lnTo>
                    <a:pt x="339" y="991"/>
                  </a:lnTo>
                  <a:lnTo>
                    <a:pt x="337" y="978"/>
                  </a:lnTo>
                  <a:lnTo>
                    <a:pt x="335" y="963"/>
                  </a:lnTo>
                  <a:lnTo>
                    <a:pt x="333" y="945"/>
                  </a:lnTo>
                  <a:lnTo>
                    <a:pt x="333" y="455"/>
                  </a:lnTo>
                  <a:lnTo>
                    <a:pt x="527" y="455"/>
                  </a:lnTo>
                  <a:lnTo>
                    <a:pt x="527" y="274"/>
                  </a:lnTo>
                  <a:lnTo>
                    <a:pt x="331" y="274"/>
                  </a:lnTo>
                  <a:lnTo>
                    <a:pt x="331" y="0"/>
                  </a:lnTo>
                  <a:lnTo>
                    <a:pt x="156" y="13"/>
                  </a:lnTo>
                  <a:lnTo>
                    <a:pt x="131" y="276"/>
                  </a:lnTo>
                  <a:lnTo>
                    <a:pt x="0" y="276"/>
                  </a:lnTo>
                  <a:close/>
                </a:path>
              </a:pathLst>
            </a:custGeom>
            <a:solidFill>
              <a:srgbClr val="5E737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276" u="sng">
                <a:solidFill>
                  <a:srgbClr val="000000"/>
                </a:solidFill>
                <a:latin typeface="Arial" charset="0"/>
                <a:cs typeface="Arial"/>
              </a:endParaRPr>
            </a:p>
          </p:txBody>
        </p:sp>
        <p:sp>
          <p:nvSpPr>
            <p:cNvPr id="22" name="Freeform 68"/>
            <p:cNvSpPr>
              <a:spLocks noEditPoints="1"/>
            </p:cNvSpPr>
            <p:nvPr userDrawn="1"/>
          </p:nvSpPr>
          <p:spPr bwMode="auto">
            <a:xfrm>
              <a:off x="5635" y="362"/>
              <a:ext cx="44" cy="50"/>
            </a:xfrm>
            <a:custGeom>
              <a:avLst/>
              <a:gdLst>
                <a:gd name="T0" fmla="*/ 0 w 873"/>
                <a:gd name="T1" fmla="*/ 0 h 1017"/>
                <a:gd name="T2" fmla="*/ 0 w 873"/>
                <a:gd name="T3" fmla="*/ 0 h 1017"/>
                <a:gd name="T4" fmla="*/ 0 w 873"/>
                <a:gd name="T5" fmla="*/ 0 h 1017"/>
                <a:gd name="T6" fmla="*/ 0 w 873"/>
                <a:gd name="T7" fmla="*/ 0 h 1017"/>
                <a:gd name="T8" fmla="*/ 0 w 873"/>
                <a:gd name="T9" fmla="*/ 0 h 1017"/>
                <a:gd name="T10" fmla="*/ 0 w 873"/>
                <a:gd name="T11" fmla="*/ 0 h 1017"/>
                <a:gd name="T12" fmla="*/ 0 w 873"/>
                <a:gd name="T13" fmla="*/ 0 h 1017"/>
                <a:gd name="T14" fmla="*/ 0 w 873"/>
                <a:gd name="T15" fmla="*/ 0 h 1017"/>
                <a:gd name="T16" fmla="*/ 0 w 873"/>
                <a:gd name="T17" fmla="*/ 0 h 1017"/>
                <a:gd name="T18" fmla="*/ 0 w 873"/>
                <a:gd name="T19" fmla="*/ 0 h 1017"/>
                <a:gd name="T20" fmla="*/ 0 w 873"/>
                <a:gd name="T21" fmla="*/ 0 h 1017"/>
                <a:gd name="T22" fmla="*/ 0 w 873"/>
                <a:gd name="T23" fmla="*/ 0 h 1017"/>
                <a:gd name="T24" fmla="*/ 0 w 873"/>
                <a:gd name="T25" fmla="*/ 0 h 1017"/>
                <a:gd name="T26" fmla="*/ 0 w 873"/>
                <a:gd name="T27" fmla="*/ 0 h 1017"/>
                <a:gd name="T28" fmla="*/ 0 w 873"/>
                <a:gd name="T29" fmla="*/ 0 h 1017"/>
                <a:gd name="T30" fmla="*/ 0 w 873"/>
                <a:gd name="T31" fmla="*/ 0 h 1017"/>
                <a:gd name="T32" fmla="*/ 0 w 873"/>
                <a:gd name="T33" fmla="*/ 0 h 1017"/>
                <a:gd name="T34" fmla="*/ 0 w 873"/>
                <a:gd name="T35" fmla="*/ 0 h 1017"/>
                <a:gd name="T36" fmla="*/ 0 w 873"/>
                <a:gd name="T37" fmla="*/ 0 h 1017"/>
                <a:gd name="T38" fmla="*/ 0 w 873"/>
                <a:gd name="T39" fmla="*/ 0 h 1017"/>
                <a:gd name="T40" fmla="*/ 0 w 873"/>
                <a:gd name="T41" fmla="*/ 0 h 1017"/>
                <a:gd name="T42" fmla="*/ 0 w 873"/>
                <a:gd name="T43" fmla="*/ 0 h 1017"/>
                <a:gd name="T44" fmla="*/ 0 w 873"/>
                <a:gd name="T45" fmla="*/ 0 h 1017"/>
                <a:gd name="T46" fmla="*/ 0 w 873"/>
                <a:gd name="T47" fmla="*/ 0 h 1017"/>
                <a:gd name="T48" fmla="*/ 0 w 873"/>
                <a:gd name="T49" fmla="*/ 0 h 1017"/>
                <a:gd name="T50" fmla="*/ 0 w 873"/>
                <a:gd name="T51" fmla="*/ 0 h 1017"/>
                <a:gd name="T52" fmla="*/ 0 w 873"/>
                <a:gd name="T53" fmla="*/ 0 h 1017"/>
                <a:gd name="T54" fmla="*/ 0 w 873"/>
                <a:gd name="T55" fmla="*/ 0 h 1017"/>
                <a:gd name="T56" fmla="*/ 0 w 873"/>
                <a:gd name="T57" fmla="*/ 0 h 1017"/>
                <a:gd name="T58" fmla="*/ 0 w 873"/>
                <a:gd name="T59" fmla="*/ 0 h 1017"/>
                <a:gd name="T60" fmla="*/ 0 w 873"/>
                <a:gd name="T61" fmla="*/ 0 h 1017"/>
                <a:gd name="T62" fmla="*/ 0 w 873"/>
                <a:gd name="T63" fmla="*/ 0 h 1017"/>
                <a:gd name="T64" fmla="*/ 0 w 873"/>
                <a:gd name="T65" fmla="*/ 0 h 1017"/>
                <a:gd name="T66" fmla="*/ 0 w 873"/>
                <a:gd name="T67" fmla="*/ 0 h 1017"/>
                <a:gd name="T68" fmla="*/ 0 w 873"/>
                <a:gd name="T69" fmla="*/ 0 h 1017"/>
                <a:gd name="T70" fmla="*/ 0 w 873"/>
                <a:gd name="T71" fmla="*/ 0 h 1017"/>
                <a:gd name="T72" fmla="*/ 0 w 873"/>
                <a:gd name="T73" fmla="*/ 0 h 1017"/>
                <a:gd name="T74" fmla="*/ 0 w 873"/>
                <a:gd name="T75" fmla="*/ 0 h 1017"/>
                <a:gd name="T76" fmla="*/ 0 w 873"/>
                <a:gd name="T77" fmla="*/ 0 h 1017"/>
                <a:gd name="T78" fmla="*/ 0 w 873"/>
                <a:gd name="T79" fmla="*/ 0 h 1017"/>
                <a:gd name="T80" fmla="*/ 0 w 873"/>
                <a:gd name="T81" fmla="*/ 0 h 1017"/>
                <a:gd name="T82" fmla="*/ 0 w 873"/>
                <a:gd name="T83" fmla="*/ 0 h 1017"/>
                <a:gd name="T84" fmla="*/ 0 w 873"/>
                <a:gd name="T85" fmla="*/ 0 h 1017"/>
                <a:gd name="T86" fmla="*/ 0 w 873"/>
                <a:gd name="T87" fmla="*/ 0 h 1017"/>
                <a:gd name="T88" fmla="*/ 0 w 873"/>
                <a:gd name="T89" fmla="*/ 0 h 1017"/>
                <a:gd name="T90" fmla="*/ 0 w 873"/>
                <a:gd name="T91" fmla="*/ 0 h 1017"/>
                <a:gd name="T92" fmla="*/ 0 w 873"/>
                <a:gd name="T93" fmla="*/ 0 h 1017"/>
                <a:gd name="T94" fmla="*/ 0 w 873"/>
                <a:gd name="T95" fmla="*/ 0 h 1017"/>
                <a:gd name="T96" fmla="*/ 0 w 873"/>
                <a:gd name="T97" fmla="*/ 0 h 1017"/>
                <a:gd name="T98" fmla="*/ 0 w 873"/>
                <a:gd name="T99" fmla="*/ 0 h 1017"/>
                <a:gd name="T100" fmla="*/ 0 w 873"/>
                <a:gd name="T101" fmla="*/ 0 h 1017"/>
                <a:gd name="T102" fmla="*/ 0 w 873"/>
                <a:gd name="T103" fmla="*/ 0 h 1017"/>
                <a:gd name="T104" fmla="*/ 0 w 873"/>
                <a:gd name="T105" fmla="*/ 0 h 1017"/>
                <a:gd name="T106" fmla="*/ 0 w 873"/>
                <a:gd name="T107" fmla="*/ 0 h 1017"/>
                <a:gd name="T108" fmla="*/ 0 w 873"/>
                <a:gd name="T109" fmla="*/ 0 h 1017"/>
                <a:gd name="T110" fmla="*/ 0 w 873"/>
                <a:gd name="T111" fmla="*/ 0 h 1017"/>
                <a:gd name="T112" fmla="*/ 0 w 873"/>
                <a:gd name="T113" fmla="*/ 0 h 1017"/>
                <a:gd name="T114" fmla="*/ 0 w 873"/>
                <a:gd name="T115" fmla="*/ 0 h 1017"/>
                <a:gd name="T116" fmla="*/ 0 w 873"/>
                <a:gd name="T117" fmla="*/ 0 h 1017"/>
                <a:gd name="T118" fmla="*/ 0 w 873"/>
                <a:gd name="T119" fmla="*/ 0 h 1017"/>
                <a:gd name="T120" fmla="*/ 0 w 873"/>
                <a:gd name="T121" fmla="*/ 0 h 1017"/>
                <a:gd name="T122" fmla="*/ 0 w 873"/>
                <a:gd name="T123" fmla="*/ 0 h 1017"/>
                <a:gd name="T124" fmla="*/ 0 w 873"/>
                <a:gd name="T125" fmla="*/ 0 h 101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873" h="1017">
                  <a:moveTo>
                    <a:pt x="873" y="537"/>
                  </a:moveTo>
                  <a:lnTo>
                    <a:pt x="873" y="509"/>
                  </a:lnTo>
                  <a:lnTo>
                    <a:pt x="872" y="481"/>
                  </a:lnTo>
                  <a:lnTo>
                    <a:pt x="871" y="451"/>
                  </a:lnTo>
                  <a:lnTo>
                    <a:pt x="870" y="423"/>
                  </a:lnTo>
                  <a:lnTo>
                    <a:pt x="867" y="394"/>
                  </a:lnTo>
                  <a:lnTo>
                    <a:pt x="863" y="366"/>
                  </a:lnTo>
                  <a:lnTo>
                    <a:pt x="859" y="338"/>
                  </a:lnTo>
                  <a:lnTo>
                    <a:pt x="853" y="311"/>
                  </a:lnTo>
                  <a:lnTo>
                    <a:pt x="849" y="301"/>
                  </a:lnTo>
                  <a:lnTo>
                    <a:pt x="845" y="287"/>
                  </a:lnTo>
                  <a:lnTo>
                    <a:pt x="839" y="273"/>
                  </a:lnTo>
                  <a:lnTo>
                    <a:pt x="833" y="256"/>
                  </a:lnTo>
                  <a:lnTo>
                    <a:pt x="825" y="238"/>
                  </a:lnTo>
                  <a:lnTo>
                    <a:pt x="816" y="219"/>
                  </a:lnTo>
                  <a:lnTo>
                    <a:pt x="804" y="199"/>
                  </a:lnTo>
                  <a:lnTo>
                    <a:pt x="791" y="178"/>
                  </a:lnTo>
                  <a:lnTo>
                    <a:pt x="780" y="163"/>
                  </a:lnTo>
                  <a:lnTo>
                    <a:pt x="769" y="150"/>
                  </a:lnTo>
                  <a:lnTo>
                    <a:pt x="758" y="137"/>
                  </a:lnTo>
                  <a:lnTo>
                    <a:pt x="747" y="124"/>
                  </a:lnTo>
                  <a:lnTo>
                    <a:pt x="735" y="112"/>
                  </a:lnTo>
                  <a:lnTo>
                    <a:pt x="723" y="102"/>
                  </a:lnTo>
                  <a:lnTo>
                    <a:pt x="711" y="92"/>
                  </a:lnTo>
                  <a:lnTo>
                    <a:pt x="700" y="82"/>
                  </a:lnTo>
                  <a:lnTo>
                    <a:pt x="687" y="74"/>
                  </a:lnTo>
                  <a:lnTo>
                    <a:pt x="675" y="65"/>
                  </a:lnTo>
                  <a:lnTo>
                    <a:pt x="663" y="57"/>
                  </a:lnTo>
                  <a:lnTo>
                    <a:pt x="651" y="51"/>
                  </a:lnTo>
                  <a:lnTo>
                    <a:pt x="626" y="39"/>
                  </a:lnTo>
                  <a:lnTo>
                    <a:pt x="602" y="29"/>
                  </a:lnTo>
                  <a:lnTo>
                    <a:pt x="578" y="21"/>
                  </a:lnTo>
                  <a:lnTo>
                    <a:pt x="556" y="13"/>
                  </a:lnTo>
                  <a:lnTo>
                    <a:pt x="533" y="8"/>
                  </a:lnTo>
                  <a:lnTo>
                    <a:pt x="513" y="5"/>
                  </a:lnTo>
                  <a:lnTo>
                    <a:pt x="494" y="2"/>
                  </a:lnTo>
                  <a:lnTo>
                    <a:pt x="475" y="1"/>
                  </a:lnTo>
                  <a:lnTo>
                    <a:pt x="459" y="0"/>
                  </a:lnTo>
                  <a:lnTo>
                    <a:pt x="445" y="0"/>
                  </a:lnTo>
                  <a:lnTo>
                    <a:pt x="426" y="0"/>
                  </a:lnTo>
                  <a:lnTo>
                    <a:pt x="408" y="1"/>
                  </a:lnTo>
                  <a:lnTo>
                    <a:pt x="390" y="3"/>
                  </a:lnTo>
                  <a:lnTo>
                    <a:pt x="372" y="5"/>
                  </a:lnTo>
                  <a:lnTo>
                    <a:pt x="354" y="8"/>
                  </a:lnTo>
                  <a:lnTo>
                    <a:pt x="338" y="12"/>
                  </a:lnTo>
                  <a:lnTo>
                    <a:pt x="320" y="17"/>
                  </a:lnTo>
                  <a:lnTo>
                    <a:pt x="304" y="22"/>
                  </a:lnTo>
                  <a:lnTo>
                    <a:pt x="288" y="28"/>
                  </a:lnTo>
                  <a:lnTo>
                    <a:pt x="271" y="34"/>
                  </a:lnTo>
                  <a:lnTo>
                    <a:pt x="256" y="41"/>
                  </a:lnTo>
                  <a:lnTo>
                    <a:pt x="241" y="48"/>
                  </a:lnTo>
                  <a:lnTo>
                    <a:pt x="225" y="56"/>
                  </a:lnTo>
                  <a:lnTo>
                    <a:pt x="211" y="65"/>
                  </a:lnTo>
                  <a:lnTo>
                    <a:pt x="198" y="75"/>
                  </a:lnTo>
                  <a:lnTo>
                    <a:pt x="184" y="84"/>
                  </a:lnTo>
                  <a:lnTo>
                    <a:pt x="170" y="95"/>
                  </a:lnTo>
                  <a:lnTo>
                    <a:pt x="158" y="105"/>
                  </a:lnTo>
                  <a:lnTo>
                    <a:pt x="146" y="117"/>
                  </a:lnTo>
                  <a:lnTo>
                    <a:pt x="134" y="129"/>
                  </a:lnTo>
                  <a:lnTo>
                    <a:pt x="122" y="142"/>
                  </a:lnTo>
                  <a:lnTo>
                    <a:pt x="111" y="154"/>
                  </a:lnTo>
                  <a:lnTo>
                    <a:pt x="101" y="168"/>
                  </a:lnTo>
                  <a:lnTo>
                    <a:pt x="91" y="181"/>
                  </a:lnTo>
                  <a:lnTo>
                    <a:pt x="81" y="196"/>
                  </a:lnTo>
                  <a:lnTo>
                    <a:pt x="71" y="211"/>
                  </a:lnTo>
                  <a:lnTo>
                    <a:pt x="63" y="226"/>
                  </a:lnTo>
                  <a:lnTo>
                    <a:pt x="55" y="242"/>
                  </a:lnTo>
                  <a:lnTo>
                    <a:pt x="48" y="258"/>
                  </a:lnTo>
                  <a:lnTo>
                    <a:pt x="41" y="275"/>
                  </a:lnTo>
                  <a:lnTo>
                    <a:pt x="35" y="291"/>
                  </a:lnTo>
                  <a:lnTo>
                    <a:pt x="29" y="309"/>
                  </a:lnTo>
                  <a:lnTo>
                    <a:pt x="19" y="341"/>
                  </a:lnTo>
                  <a:lnTo>
                    <a:pt x="13" y="373"/>
                  </a:lnTo>
                  <a:lnTo>
                    <a:pt x="8" y="402"/>
                  </a:lnTo>
                  <a:lnTo>
                    <a:pt x="4" y="431"/>
                  </a:lnTo>
                  <a:lnTo>
                    <a:pt x="2" y="456"/>
                  </a:lnTo>
                  <a:lnTo>
                    <a:pt x="1" y="478"/>
                  </a:lnTo>
                  <a:lnTo>
                    <a:pt x="0" y="497"/>
                  </a:lnTo>
                  <a:lnTo>
                    <a:pt x="0" y="511"/>
                  </a:lnTo>
                  <a:lnTo>
                    <a:pt x="0" y="536"/>
                  </a:lnTo>
                  <a:lnTo>
                    <a:pt x="1" y="560"/>
                  </a:lnTo>
                  <a:lnTo>
                    <a:pt x="3" y="584"/>
                  </a:lnTo>
                  <a:lnTo>
                    <a:pt x="5" y="606"/>
                  </a:lnTo>
                  <a:lnTo>
                    <a:pt x="7" y="627"/>
                  </a:lnTo>
                  <a:lnTo>
                    <a:pt x="11" y="648"/>
                  </a:lnTo>
                  <a:lnTo>
                    <a:pt x="14" y="668"/>
                  </a:lnTo>
                  <a:lnTo>
                    <a:pt x="18" y="688"/>
                  </a:lnTo>
                  <a:lnTo>
                    <a:pt x="23" y="706"/>
                  </a:lnTo>
                  <a:lnTo>
                    <a:pt x="29" y="723"/>
                  </a:lnTo>
                  <a:lnTo>
                    <a:pt x="34" y="739"/>
                  </a:lnTo>
                  <a:lnTo>
                    <a:pt x="40" y="756"/>
                  </a:lnTo>
                  <a:lnTo>
                    <a:pt x="46" y="771"/>
                  </a:lnTo>
                  <a:lnTo>
                    <a:pt x="53" y="786"/>
                  </a:lnTo>
                  <a:lnTo>
                    <a:pt x="60" y="801"/>
                  </a:lnTo>
                  <a:lnTo>
                    <a:pt x="67" y="814"/>
                  </a:lnTo>
                  <a:lnTo>
                    <a:pt x="75" y="827"/>
                  </a:lnTo>
                  <a:lnTo>
                    <a:pt x="83" y="839"/>
                  </a:lnTo>
                  <a:lnTo>
                    <a:pt x="91" y="850"/>
                  </a:lnTo>
                  <a:lnTo>
                    <a:pt x="100" y="862"/>
                  </a:lnTo>
                  <a:lnTo>
                    <a:pt x="117" y="882"/>
                  </a:lnTo>
                  <a:lnTo>
                    <a:pt x="136" y="900"/>
                  </a:lnTo>
                  <a:lnTo>
                    <a:pt x="154" y="918"/>
                  </a:lnTo>
                  <a:lnTo>
                    <a:pt x="173" y="932"/>
                  </a:lnTo>
                  <a:lnTo>
                    <a:pt x="193" y="945"/>
                  </a:lnTo>
                  <a:lnTo>
                    <a:pt x="212" y="957"/>
                  </a:lnTo>
                  <a:lnTo>
                    <a:pt x="230" y="967"/>
                  </a:lnTo>
                  <a:lnTo>
                    <a:pt x="247" y="976"/>
                  </a:lnTo>
                  <a:lnTo>
                    <a:pt x="264" y="983"/>
                  </a:lnTo>
                  <a:lnTo>
                    <a:pt x="282" y="990"/>
                  </a:lnTo>
                  <a:lnTo>
                    <a:pt x="298" y="995"/>
                  </a:lnTo>
                  <a:lnTo>
                    <a:pt x="314" y="1000"/>
                  </a:lnTo>
                  <a:lnTo>
                    <a:pt x="329" y="1004"/>
                  </a:lnTo>
                  <a:lnTo>
                    <a:pt x="345" y="1007"/>
                  </a:lnTo>
                  <a:lnTo>
                    <a:pt x="372" y="1012"/>
                  </a:lnTo>
                  <a:lnTo>
                    <a:pt x="398" y="1015"/>
                  </a:lnTo>
                  <a:lnTo>
                    <a:pt x="419" y="1016"/>
                  </a:lnTo>
                  <a:lnTo>
                    <a:pt x="438" y="1017"/>
                  </a:lnTo>
                  <a:lnTo>
                    <a:pt x="464" y="1016"/>
                  </a:lnTo>
                  <a:lnTo>
                    <a:pt x="491" y="1014"/>
                  </a:lnTo>
                  <a:lnTo>
                    <a:pt x="517" y="1010"/>
                  </a:lnTo>
                  <a:lnTo>
                    <a:pt x="543" y="1005"/>
                  </a:lnTo>
                  <a:lnTo>
                    <a:pt x="568" y="999"/>
                  </a:lnTo>
                  <a:lnTo>
                    <a:pt x="593" y="991"/>
                  </a:lnTo>
                  <a:lnTo>
                    <a:pt x="617" y="982"/>
                  </a:lnTo>
                  <a:lnTo>
                    <a:pt x="641" y="972"/>
                  </a:lnTo>
                  <a:lnTo>
                    <a:pt x="664" y="959"/>
                  </a:lnTo>
                  <a:lnTo>
                    <a:pt x="685" y="946"/>
                  </a:lnTo>
                  <a:lnTo>
                    <a:pt x="707" y="932"/>
                  </a:lnTo>
                  <a:lnTo>
                    <a:pt x="727" y="916"/>
                  </a:lnTo>
                  <a:lnTo>
                    <a:pt x="747" y="898"/>
                  </a:lnTo>
                  <a:lnTo>
                    <a:pt x="765" y="880"/>
                  </a:lnTo>
                  <a:lnTo>
                    <a:pt x="782" y="861"/>
                  </a:lnTo>
                  <a:lnTo>
                    <a:pt x="798" y="839"/>
                  </a:lnTo>
                  <a:lnTo>
                    <a:pt x="810" y="821"/>
                  </a:lnTo>
                  <a:lnTo>
                    <a:pt x="820" y="802"/>
                  </a:lnTo>
                  <a:lnTo>
                    <a:pt x="830" y="783"/>
                  </a:lnTo>
                  <a:lnTo>
                    <a:pt x="839" y="765"/>
                  </a:lnTo>
                  <a:lnTo>
                    <a:pt x="848" y="748"/>
                  </a:lnTo>
                  <a:lnTo>
                    <a:pt x="854" y="733"/>
                  </a:lnTo>
                  <a:lnTo>
                    <a:pt x="859" y="722"/>
                  </a:lnTo>
                  <a:lnTo>
                    <a:pt x="862" y="715"/>
                  </a:lnTo>
                  <a:lnTo>
                    <a:pt x="661" y="683"/>
                  </a:lnTo>
                  <a:lnTo>
                    <a:pt x="658" y="692"/>
                  </a:lnTo>
                  <a:lnTo>
                    <a:pt x="655" y="700"/>
                  </a:lnTo>
                  <a:lnTo>
                    <a:pt x="652" y="708"/>
                  </a:lnTo>
                  <a:lnTo>
                    <a:pt x="649" y="715"/>
                  </a:lnTo>
                  <a:lnTo>
                    <a:pt x="646" y="723"/>
                  </a:lnTo>
                  <a:lnTo>
                    <a:pt x="642" y="730"/>
                  </a:lnTo>
                  <a:lnTo>
                    <a:pt x="638" y="737"/>
                  </a:lnTo>
                  <a:lnTo>
                    <a:pt x="632" y="746"/>
                  </a:lnTo>
                  <a:lnTo>
                    <a:pt x="624" y="757"/>
                  </a:lnTo>
                  <a:lnTo>
                    <a:pt x="616" y="767"/>
                  </a:lnTo>
                  <a:lnTo>
                    <a:pt x="607" y="776"/>
                  </a:lnTo>
                  <a:lnTo>
                    <a:pt x="597" y="786"/>
                  </a:lnTo>
                  <a:lnTo>
                    <a:pt x="587" y="794"/>
                  </a:lnTo>
                  <a:lnTo>
                    <a:pt x="575" y="803"/>
                  </a:lnTo>
                  <a:lnTo>
                    <a:pt x="564" y="810"/>
                  </a:lnTo>
                  <a:lnTo>
                    <a:pt x="553" y="817"/>
                  </a:lnTo>
                  <a:lnTo>
                    <a:pt x="541" y="823"/>
                  </a:lnTo>
                  <a:lnTo>
                    <a:pt x="528" y="828"/>
                  </a:lnTo>
                  <a:lnTo>
                    <a:pt x="516" y="832"/>
                  </a:lnTo>
                  <a:lnTo>
                    <a:pt x="504" y="836"/>
                  </a:lnTo>
                  <a:lnTo>
                    <a:pt x="491" y="839"/>
                  </a:lnTo>
                  <a:lnTo>
                    <a:pt x="477" y="841"/>
                  </a:lnTo>
                  <a:lnTo>
                    <a:pt x="464" y="842"/>
                  </a:lnTo>
                  <a:lnTo>
                    <a:pt x="451" y="842"/>
                  </a:lnTo>
                  <a:lnTo>
                    <a:pt x="440" y="842"/>
                  </a:lnTo>
                  <a:lnTo>
                    <a:pt x="426" y="841"/>
                  </a:lnTo>
                  <a:lnTo>
                    <a:pt x="412" y="839"/>
                  </a:lnTo>
                  <a:lnTo>
                    <a:pt x="396" y="835"/>
                  </a:lnTo>
                  <a:lnTo>
                    <a:pt x="388" y="833"/>
                  </a:lnTo>
                  <a:lnTo>
                    <a:pt x="379" y="829"/>
                  </a:lnTo>
                  <a:lnTo>
                    <a:pt x="371" y="826"/>
                  </a:lnTo>
                  <a:lnTo>
                    <a:pt x="362" y="821"/>
                  </a:lnTo>
                  <a:lnTo>
                    <a:pt x="353" y="816"/>
                  </a:lnTo>
                  <a:lnTo>
                    <a:pt x="344" y="810"/>
                  </a:lnTo>
                  <a:lnTo>
                    <a:pt x="335" y="803"/>
                  </a:lnTo>
                  <a:lnTo>
                    <a:pt x="325" y="794"/>
                  </a:lnTo>
                  <a:lnTo>
                    <a:pt x="311" y="781"/>
                  </a:lnTo>
                  <a:lnTo>
                    <a:pt x="298" y="767"/>
                  </a:lnTo>
                  <a:lnTo>
                    <a:pt x="287" y="753"/>
                  </a:lnTo>
                  <a:lnTo>
                    <a:pt x="277" y="737"/>
                  </a:lnTo>
                  <a:lnTo>
                    <a:pt x="269" y="723"/>
                  </a:lnTo>
                  <a:lnTo>
                    <a:pt x="262" y="708"/>
                  </a:lnTo>
                  <a:lnTo>
                    <a:pt x="256" y="694"/>
                  </a:lnTo>
                  <a:lnTo>
                    <a:pt x="251" y="679"/>
                  </a:lnTo>
                  <a:lnTo>
                    <a:pt x="247" y="666"/>
                  </a:lnTo>
                  <a:lnTo>
                    <a:pt x="244" y="653"/>
                  </a:lnTo>
                  <a:lnTo>
                    <a:pt x="241" y="641"/>
                  </a:lnTo>
                  <a:lnTo>
                    <a:pt x="239" y="629"/>
                  </a:lnTo>
                  <a:lnTo>
                    <a:pt x="237" y="609"/>
                  </a:lnTo>
                  <a:lnTo>
                    <a:pt x="235" y="594"/>
                  </a:lnTo>
                  <a:lnTo>
                    <a:pt x="234" y="587"/>
                  </a:lnTo>
                  <a:lnTo>
                    <a:pt x="234" y="580"/>
                  </a:lnTo>
                  <a:lnTo>
                    <a:pt x="233" y="572"/>
                  </a:lnTo>
                  <a:lnTo>
                    <a:pt x="233" y="565"/>
                  </a:lnTo>
                  <a:lnTo>
                    <a:pt x="232" y="559"/>
                  </a:lnTo>
                  <a:lnTo>
                    <a:pt x="232" y="552"/>
                  </a:lnTo>
                  <a:lnTo>
                    <a:pt x="231" y="546"/>
                  </a:lnTo>
                  <a:lnTo>
                    <a:pt x="231" y="540"/>
                  </a:lnTo>
                  <a:lnTo>
                    <a:pt x="873" y="537"/>
                  </a:lnTo>
                  <a:close/>
                  <a:moveTo>
                    <a:pt x="225" y="397"/>
                  </a:moveTo>
                  <a:lnTo>
                    <a:pt x="227" y="380"/>
                  </a:lnTo>
                  <a:lnTo>
                    <a:pt x="230" y="365"/>
                  </a:lnTo>
                  <a:lnTo>
                    <a:pt x="232" y="353"/>
                  </a:lnTo>
                  <a:lnTo>
                    <a:pt x="234" y="342"/>
                  </a:lnTo>
                  <a:lnTo>
                    <a:pt x="236" y="332"/>
                  </a:lnTo>
                  <a:lnTo>
                    <a:pt x="239" y="323"/>
                  </a:lnTo>
                  <a:lnTo>
                    <a:pt x="242" y="315"/>
                  </a:lnTo>
                  <a:lnTo>
                    <a:pt x="246" y="306"/>
                  </a:lnTo>
                  <a:lnTo>
                    <a:pt x="252" y="290"/>
                  </a:lnTo>
                  <a:lnTo>
                    <a:pt x="258" y="277"/>
                  </a:lnTo>
                  <a:lnTo>
                    <a:pt x="265" y="265"/>
                  </a:lnTo>
                  <a:lnTo>
                    <a:pt x="273" y="253"/>
                  </a:lnTo>
                  <a:lnTo>
                    <a:pt x="281" y="243"/>
                  </a:lnTo>
                  <a:lnTo>
                    <a:pt x="289" y="232"/>
                  </a:lnTo>
                  <a:lnTo>
                    <a:pt x="297" y="223"/>
                  </a:lnTo>
                  <a:lnTo>
                    <a:pt x="305" y="215"/>
                  </a:lnTo>
                  <a:lnTo>
                    <a:pt x="321" y="201"/>
                  </a:lnTo>
                  <a:lnTo>
                    <a:pt x="338" y="190"/>
                  </a:lnTo>
                  <a:lnTo>
                    <a:pt x="352" y="180"/>
                  </a:lnTo>
                  <a:lnTo>
                    <a:pt x="364" y="174"/>
                  </a:lnTo>
                  <a:lnTo>
                    <a:pt x="369" y="171"/>
                  </a:lnTo>
                  <a:lnTo>
                    <a:pt x="376" y="168"/>
                  </a:lnTo>
                  <a:lnTo>
                    <a:pt x="385" y="165"/>
                  </a:lnTo>
                  <a:lnTo>
                    <a:pt x="394" y="162"/>
                  </a:lnTo>
                  <a:lnTo>
                    <a:pt x="404" y="160"/>
                  </a:lnTo>
                  <a:lnTo>
                    <a:pt x="416" y="157"/>
                  </a:lnTo>
                  <a:lnTo>
                    <a:pt x="428" y="156"/>
                  </a:lnTo>
                  <a:lnTo>
                    <a:pt x="442" y="155"/>
                  </a:lnTo>
                  <a:lnTo>
                    <a:pt x="451" y="155"/>
                  </a:lnTo>
                  <a:lnTo>
                    <a:pt x="462" y="156"/>
                  </a:lnTo>
                  <a:lnTo>
                    <a:pt x="474" y="158"/>
                  </a:lnTo>
                  <a:lnTo>
                    <a:pt x="489" y="162"/>
                  </a:lnTo>
                  <a:lnTo>
                    <a:pt x="504" y="167"/>
                  </a:lnTo>
                  <a:lnTo>
                    <a:pt x="520" y="174"/>
                  </a:lnTo>
                  <a:lnTo>
                    <a:pt x="538" y="185"/>
                  </a:lnTo>
                  <a:lnTo>
                    <a:pt x="556" y="197"/>
                  </a:lnTo>
                  <a:lnTo>
                    <a:pt x="568" y="207"/>
                  </a:lnTo>
                  <a:lnTo>
                    <a:pt x="580" y="217"/>
                  </a:lnTo>
                  <a:lnTo>
                    <a:pt x="590" y="227"/>
                  </a:lnTo>
                  <a:lnTo>
                    <a:pt x="599" y="238"/>
                  </a:lnTo>
                  <a:lnTo>
                    <a:pt x="607" y="250"/>
                  </a:lnTo>
                  <a:lnTo>
                    <a:pt x="614" y="261"/>
                  </a:lnTo>
                  <a:lnTo>
                    <a:pt x="621" y="273"/>
                  </a:lnTo>
                  <a:lnTo>
                    <a:pt x="626" y="285"/>
                  </a:lnTo>
                  <a:lnTo>
                    <a:pt x="631" y="299"/>
                  </a:lnTo>
                  <a:lnTo>
                    <a:pt x="635" y="311"/>
                  </a:lnTo>
                  <a:lnTo>
                    <a:pt x="640" y="324"/>
                  </a:lnTo>
                  <a:lnTo>
                    <a:pt x="643" y="338"/>
                  </a:lnTo>
                  <a:lnTo>
                    <a:pt x="649" y="367"/>
                  </a:lnTo>
                  <a:lnTo>
                    <a:pt x="654" y="397"/>
                  </a:lnTo>
                  <a:lnTo>
                    <a:pt x="225" y="397"/>
                  </a:lnTo>
                  <a:close/>
                </a:path>
              </a:pathLst>
            </a:custGeom>
            <a:solidFill>
              <a:srgbClr val="5E737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276" u="sng">
                <a:solidFill>
                  <a:srgbClr val="000000"/>
                </a:solidFill>
                <a:latin typeface="Arial" charset="0"/>
                <a:cs typeface="Arial"/>
              </a:endParaRPr>
            </a:p>
          </p:txBody>
        </p:sp>
        <p:sp>
          <p:nvSpPr>
            <p:cNvPr id="23" name="Rectangle 69"/>
            <p:cNvSpPr>
              <a:spLocks noChangeArrowheads="1"/>
            </p:cNvSpPr>
            <p:nvPr userDrawn="1"/>
          </p:nvSpPr>
          <p:spPr bwMode="auto">
            <a:xfrm>
              <a:off x="5688" y="345"/>
              <a:ext cx="12" cy="66"/>
            </a:xfrm>
            <a:prstGeom prst="rect">
              <a:avLst/>
            </a:prstGeom>
            <a:solidFill>
              <a:srgbClr val="5E737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700" u="sng">
                  <a:solidFill>
                    <a:schemeClr val="tx1"/>
                  </a:solidFill>
                  <a:latin typeface="Arial" charset="0"/>
                  <a:cs typeface="Arial" charset="0"/>
                </a:defRPr>
              </a:lvl1pPr>
              <a:lvl2pPr marL="742950" indent="-285750" eaLnBrk="0" hangingPunct="0">
                <a:defRPr sz="1700" u="sng">
                  <a:solidFill>
                    <a:schemeClr val="tx1"/>
                  </a:solidFill>
                  <a:latin typeface="Arial" charset="0"/>
                  <a:cs typeface="Arial" charset="0"/>
                </a:defRPr>
              </a:lvl2pPr>
              <a:lvl3pPr marL="1143000" indent="-228600" eaLnBrk="0" hangingPunct="0">
                <a:defRPr sz="1700" u="sng">
                  <a:solidFill>
                    <a:schemeClr val="tx1"/>
                  </a:solidFill>
                  <a:latin typeface="Arial" charset="0"/>
                  <a:cs typeface="Arial" charset="0"/>
                </a:defRPr>
              </a:lvl3pPr>
              <a:lvl4pPr marL="1600200" indent="-228600" eaLnBrk="0" hangingPunct="0">
                <a:defRPr sz="1700" u="sng">
                  <a:solidFill>
                    <a:schemeClr val="tx1"/>
                  </a:solidFill>
                  <a:latin typeface="Arial" charset="0"/>
                  <a:cs typeface="Arial" charset="0"/>
                </a:defRPr>
              </a:lvl4pPr>
              <a:lvl5pPr marL="2057400" indent="-228600" eaLnBrk="0" hangingPunct="0">
                <a:defRPr sz="1700" u="sng">
                  <a:solidFill>
                    <a:schemeClr val="tx1"/>
                  </a:solidFill>
                  <a:latin typeface="Arial" charset="0"/>
                  <a:cs typeface="Arial" charset="0"/>
                </a:defRPr>
              </a:lvl5pPr>
              <a:lvl6pPr marL="2514600" indent="-228600" eaLnBrk="0" fontAlgn="base" hangingPunct="0">
                <a:spcBef>
                  <a:spcPct val="0"/>
                </a:spcBef>
                <a:spcAft>
                  <a:spcPct val="0"/>
                </a:spcAft>
                <a:defRPr sz="1700" u="sng">
                  <a:solidFill>
                    <a:schemeClr val="tx1"/>
                  </a:solidFill>
                  <a:latin typeface="Arial" charset="0"/>
                  <a:cs typeface="Arial" charset="0"/>
                </a:defRPr>
              </a:lvl6pPr>
              <a:lvl7pPr marL="2971800" indent="-228600" eaLnBrk="0" fontAlgn="base" hangingPunct="0">
                <a:spcBef>
                  <a:spcPct val="0"/>
                </a:spcBef>
                <a:spcAft>
                  <a:spcPct val="0"/>
                </a:spcAft>
                <a:defRPr sz="1700" u="sng">
                  <a:solidFill>
                    <a:schemeClr val="tx1"/>
                  </a:solidFill>
                  <a:latin typeface="Arial" charset="0"/>
                  <a:cs typeface="Arial" charset="0"/>
                </a:defRPr>
              </a:lvl7pPr>
              <a:lvl8pPr marL="3429000" indent="-228600" eaLnBrk="0" fontAlgn="base" hangingPunct="0">
                <a:spcBef>
                  <a:spcPct val="0"/>
                </a:spcBef>
                <a:spcAft>
                  <a:spcPct val="0"/>
                </a:spcAft>
                <a:defRPr sz="1700" u="sng">
                  <a:solidFill>
                    <a:schemeClr val="tx1"/>
                  </a:solidFill>
                  <a:latin typeface="Arial" charset="0"/>
                  <a:cs typeface="Arial" charset="0"/>
                </a:defRPr>
              </a:lvl8pPr>
              <a:lvl9pPr marL="3886200" indent="-228600" eaLnBrk="0" fontAlgn="base" hangingPunct="0">
                <a:spcBef>
                  <a:spcPct val="0"/>
                </a:spcBef>
                <a:spcAft>
                  <a:spcPct val="0"/>
                </a:spcAft>
                <a:defRPr sz="1700" u="sng">
                  <a:solidFill>
                    <a:schemeClr val="tx1"/>
                  </a:solidFill>
                  <a:latin typeface="Arial" charset="0"/>
                  <a:cs typeface="Arial" charset="0"/>
                </a:defRPr>
              </a:lvl9pPr>
            </a:lstStyle>
            <a:p>
              <a:pPr eaLnBrk="1" hangingPunct="1">
                <a:spcBef>
                  <a:spcPct val="20000"/>
                </a:spcBef>
                <a:buClr>
                  <a:srgbClr val="0084C2"/>
                </a:buClr>
                <a:buSzPct val="130000"/>
                <a:buFont typeface="Times New Roman" pitchFamily="18" charset="0"/>
                <a:buNone/>
                <a:defRPr/>
              </a:pPr>
              <a:endParaRPr lang="en-US" altLang="en-US" sz="1276">
                <a:solidFill>
                  <a:srgbClr val="000000"/>
                </a:solidFill>
              </a:endParaRPr>
            </a:p>
          </p:txBody>
        </p:sp>
        <p:sp>
          <p:nvSpPr>
            <p:cNvPr id="24" name="Rectangle 70"/>
            <p:cNvSpPr>
              <a:spLocks noChangeArrowheads="1"/>
            </p:cNvSpPr>
            <p:nvPr userDrawn="1"/>
          </p:nvSpPr>
          <p:spPr bwMode="auto">
            <a:xfrm>
              <a:off x="5712" y="345"/>
              <a:ext cx="11" cy="66"/>
            </a:xfrm>
            <a:prstGeom prst="rect">
              <a:avLst/>
            </a:prstGeom>
            <a:solidFill>
              <a:srgbClr val="5E737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700" u="sng">
                  <a:solidFill>
                    <a:schemeClr val="tx1"/>
                  </a:solidFill>
                  <a:latin typeface="Arial" charset="0"/>
                  <a:cs typeface="Arial" charset="0"/>
                </a:defRPr>
              </a:lvl1pPr>
              <a:lvl2pPr marL="742950" indent="-285750" eaLnBrk="0" hangingPunct="0">
                <a:defRPr sz="1700" u="sng">
                  <a:solidFill>
                    <a:schemeClr val="tx1"/>
                  </a:solidFill>
                  <a:latin typeface="Arial" charset="0"/>
                  <a:cs typeface="Arial" charset="0"/>
                </a:defRPr>
              </a:lvl2pPr>
              <a:lvl3pPr marL="1143000" indent="-228600" eaLnBrk="0" hangingPunct="0">
                <a:defRPr sz="1700" u="sng">
                  <a:solidFill>
                    <a:schemeClr val="tx1"/>
                  </a:solidFill>
                  <a:latin typeface="Arial" charset="0"/>
                  <a:cs typeface="Arial" charset="0"/>
                </a:defRPr>
              </a:lvl3pPr>
              <a:lvl4pPr marL="1600200" indent="-228600" eaLnBrk="0" hangingPunct="0">
                <a:defRPr sz="1700" u="sng">
                  <a:solidFill>
                    <a:schemeClr val="tx1"/>
                  </a:solidFill>
                  <a:latin typeface="Arial" charset="0"/>
                  <a:cs typeface="Arial" charset="0"/>
                </a:defRPr>
              </a:lvl4pPr>
              <a:lvl5pPr marL="2057400" indent="-228600" eaLnBrk="0" hangingPunct="0">
                <a:defRPr sz="1700" u="sng">
                  <a:solidFill>
                    <a:schemeClr val="tx1"/>
                  </a:solidFill>
                  <a:latin typeface="Arial" charset="0"/>
                  <a:cs typeface="Arial" charset="0"/>
                </a:defRPr>
              </a:lvl5pPr>
              <a:lvl6pPr marL="2514600" indent="-228600" eaLnBrk="0" fontAlgn="base" hangingPunct="0">
                <a:spcBef>
                  <a:spcPct val="0"/>
                </a:spcBef>
                <a:spcAft>
                  <a:spcPct val="0"/>
                </a:spcAft>
                <a:defRPr sz="1700" u="sng">
                  <a:solidFill>
                    <a:schemeClr val="tx1"/>
                  </a:solidFill>
                  <a:latin typeface="Arial" charset="0"/>
                  <a:cs typeface="Arial" charset="0"/>
                </a:defRPr>
              </a:lvl6pPr>
              <a:lvl7pPr marL="2971800" indent="-228600" eaLnBrk="0" fontAlgn="base" hangingPunct="0">
                <a:spcBef>
                  <a:spcPct val="0"/>
                </a:spcBef>
                <a:spcAft>
                  <a:spcPct val="0"/>
                </a:spcAft>
                <a:defRPr sz="1700" u="sng">
                  <a:solidFill>
                    <a:schemeClr val="tx1"/>
                  </a:solidFill>
                  <a:latin typeface="Arial" charset="0"/>
                  <a:cs typeface="Arial" charset="0"/>
                </a:defRPr>
              </a:lvl7pPr>
              <a:lvl8pPr marL="3429000" indent="-228600" eaLnBrk="0" fontAlgn="base" hangingPunct="0">
                <a:spcBef>
                  <a:spcPct val="0"/>
                </a:spcBef>
                <a:spcAft>
                  <a:spcPct val="0"/>
                </a:spcAft>
                <a:defRPr sz="1700" u="sng">
                  <a:solidFill>
                    <a:schemeClr val="tx1"/>
                  </a:solidFill>
                  <a:latin typeface="Arial" charset="0"/>
                  <a:cs typeface="Arial" charset="0"/>
                </a:defRPr>
              </a:lvl8pPr>
              <a:lvl9pPr marL="3886200" indent="-228600" eaLnBrk="0" fontAlgn="base" hangingPunct="0">
                <a:spcBef>
                  <a:spcPct val="0"/>
                </a:spcBef>
                <a:spcAft>
                  <a:spcPct val="0"/>
                </a:spcAft>
                <a:defRPr sz="1700" u="sng">
                  <a:solidFill>
                    <a:schemeClr val="tx1"/>
                  </a:solidFill>
                  <a:latin typeface="Arial" charset="0"/>
                  <a:cs typeface="Arial" charset="0"/>
                </a:defRPr>
              </a:lvl9pPr>
            </a:lstStyle>
            <a:p>
              <a:pPr eaLnBrk="1" hangingPunct="1">
                <a:spcBef>
                  <a:spcPct val="20000"/>
                </a:spcBef>
                <a:buClr>
                  <a:srgbClr val="0084C2"/>
                </a:buClr>
                <a:buSzPct val="130000"/>
                <a:buFont typeface="Times New Roman" pitchFamily="18" charset="0"/>
                <a:buNone/>
                <a:defRPr/>
              </a:pPr>
              <a:endParaRPr lang="en-US" altLang="en-US" sz="1276">
                <a:solidFill>
                  <a:srgbClr val="000000"/>
                </a:solidFill>
              </a:endParaRPr>
            </a:p>
          </p:txBody>
        </p:sp>
        <p:sp>
          <p:nvSpPr>
            <p:cNvPr id="25" name="Freeform 71"/>
            <p:cNvSpPr>
              <a:spLocks noEditPoints="1"/>
            </p:cNvSpPr>
            <p:nvPr userDrawn="1"/>
          </p:nvSpPr>
          <p:spPr bwMode="auto">
            <a:xfrm>
              <a:off x="5734" y="346"/>
              <a:ext cx="12" cy="65"/>
            </a:xfrm>
            <a:custGeom>
              <a:avLst/>
              <a:gdLst>
                <a:gd name="T0" fmla="*/ 0 w 223"/>
                <a:gd name="T1" fmla="*/ 0 h 1313"/>
                <a:gd name="T2" fmla="*/ 0 w 223"/>
                <a:gd name="T3" fmla="*/ 0 h 1313"/>
                <a:gd name="T4" fmla="*/ 0 w 223"/>
                <a:gd name="T5" fmla="*/ 0 h 1313"/>
                <a:gd name="T6" fmla="*/ 0 w 223"/>
                <a:gd name="T7" fmla="*/ 0 h 1313"/>
                <a:gd name="T8" fmla="*/ 0 w 223"/>
                <a:gd name="T9" fmla="*/ 0 h 1313"/>
                <a:gd name="T10" fmla="*/ 0 w 223"/>
                <a:gd name="T11" fmla="*/ 0 h 1313"/>
                <a:gd name="T12" fmla="*/ 0 w 223"/>
                <a:gd name="T13" fmla="*/ 0 h 1313"/>
                <a:gd name="T14" fmla="*/ 0 w 223"/>
                <a:gd name="T15" fmla="*/ 0 h 1313"/>
                <a:gd name="T16" fmla="*/ 0 w 223"/>
                <a:gd name="T17" fmla="*/ 0 h 1313"/>
                <a:gd name="T18" fmla="*/ 0 w 223"/>
                <a:gd name="T19" fmla="*/ 0 h 131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3" h="1313">
                  <a:moveTo>
                    <a:pt x="0" y="339"/>
                  </a:moveTo>
                  <a:lnTo>
                    <a:pt x="0" y="1313"/>
                  </a:lnTo>
                  <a:lnTo>
                    <a:pt x="223" y="1313"/>
                  </a:lnTo>
                  <a:lnTo>
                    <a:pt x="223" y="339"/>
                  </a:lnTo>
                  <a:lnTo>
                    <a:pt x="0" y="339"/>
                  </a:lnTo>
                  <a:close/>
                  <a:moveTo>
                    <a:pt x="6" y="0"/>
                  </a:moveTo>
                  <a:lnTo>
                    <a:pt x="6" y="232"/>
                  </a:lnTo>
                  <a:lnTo>
                    <a:pt x="221" y="232"/>
                  </a:lnTo>
                  <a:lnTo>
                    <a:pt x="221" y="0"/>
                  </a:lnTo>
                  <a:lnTo>
                    <a:pt x="6" y="0"/>
                  </a:lnTo>
                  <a:close/>
                </a:path>
              </a:pathLst>
            </a:custGeom>
            <a:solidFill>
              <a:srgbClr val="5E737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276" u="sng">
                <a:solidFill>
                  <a:srgbClr val="000000"/>
                </a:solidFill>
                <a:latin typeface="Arial" charset="0"/>
                <a:cs typeface="Arial"/>
              </a:endParaRPr>
            </a:p>
          </p:txBody>
        </p:sp>
        <p:sp>
          <p:nvSpPr>
            <p:cNvPr id="26" name="Freeform 72"/>
            <p:cNvSpPr>
              <a:spLocks noEditPoints="1"/>
            </p:cNvSpPr>
            <p:nvPr userDrawn="1"/>
          </p:nvSpPr>
          <p:spPr bwMode="auto">
            <a:xfrm>
              <a:off x="5754" y="353"/>
              <a:ext cx="49" cy="75"/>
            </a:xfrm>
            <a:custGeom>
              <a:avLst/>
              <a:gdLst>
                <a:gd name="T0" fmla="*/ 0 w 977"/>
                <a:gd name="T1" fmla="*/ 0 h 1500"/>
                <a:gd name="T2" fmla="*/ 0 w 977"/>
                <a:gd name="T3" fmla="*/ 0 h 1500"/>
                <a:gd name="T4" fmla="*/ 0 w 977"/>
                <a:gd name="T5" fmla="*/ 0 h 1500"/>
                <a:gd name="T6" fmla="*/ 0 w 977"/>
                <a:gd name="T7" fmla="*/ 0 h 1500"/>
                <a:gd name="T8" fmla="*/ 0 w 977"/>
                <a:gd name="T9" fmla="*/ 0 h 1500"/>
                <a:gd name="T10" fmla="*/ 0 w 977"/>
                <a:gd name="T11" fmla="*/ 0 h 1500"/>
                <a:gd name="T12" fmla="*/ 0 w 977"/>
                <a:gd name="T13" fmla="*/ 0 h 1500"/>
                <a:gd name="T14" fmla="*/ 0 w 977"/>
                <a:gd name="T15" fmla="*/ 0 h 1500"/>
                <a:gd name="T16" fmla="*/ 0 w 977"/>
                <a:gd name="T17" fmla="*/ 0 h 1500"/>
                <a:gd name="T18" fmla="*/ 0 w 977"/>
                <a:gd name="T19" fmla="*/ 0 h 1500"/>
                <a:gd name="T20" fmla="*/ 0 w 977"/>
                <a:gd name="T21" fmla="*/ 0 h 1500"/>
                <a:gd name="T22" fmla="*/ 0 w 977"/>
                <a:gd name="T23" fmla="*/ 0 h 1500"/>
                <a:gd name="T24" fmla="*/ 0 w 977"/>
                <a:gd name="T25" fmla="*/ 0 h 1500"/>
                <a:gd name="T26" fmla="*/ 0 w 977"/>
                <a:gd name="T27" fmla="*/ 0 h 1500"/>
                <a:gd name="T28" fmla="*/ 0 w 977"/>
                <a:gd name="T29" fmla="*/ 0 h 1500"/>
                <a:gd name="T30" fmla="*/ 0 w 977"/>
                <a:gd name="T31" fmla="*/ 0 h 1500"/>
                <a:gd name="T32" fmla="*/ 0 w 977"/>
                <a:gd name="T33" fmla="*/ 0 h 1500"/>
                <a:gd name="T34" fmla="*/ 0 w 977"/>
                <a:gd name="T35" fmla="*/ 0 h 1500"/>
                <a:gd name="T36" fmla="*/ 0 w 977"/>
                <a:gd name="T37" fmla="*/ 0 h 1500"/>
                <a:gd name="T38" fmla="*/ 0 w 977"/>
                <a:gd name="T39" fmla="*/ 0 h 1500"/>
                <a:gd name="T40" fmla="*/ 0 w 977"/>
                <a:gd name="T41" fmla="*/ 0 h 1500"/>
                <a:gd name="T42" fmla="*/ 0 w 977"/>
                <a:gd name="T43" fmla="*/ 0 h 1500"/>
                <a:gd name="T44" fmla="*/ 0 w 977"/>
                <a:gd name="T45" fmla="*/ 0 h 1500"/>
                <a:gd name="T46" fmla="*/ 0 w 977"/>
                <a:gd name="T47" fmla="*/ 0 h 1500"/>
                <a:gd name="T48" fmla="*/ 0 w 977"/>
                <a:gd name="T49" fmla="*/ 0 h 1500"/>
                <a:gd name="T50" fmla="*/ 0 w 977"/>
                <a:gd name="T51" fmla="*/ 0 h 1500"/>
                <a:gd name="T52" fmla="*/ 0 w 977"/>
                <a:gd name="T53" fmla="*/ 0 h 1500"/>
                <a:gd name="T54" fmla="*/ 0 w 977"/>
                <a:gd name="T55" fmla="*/ 0 h 1500"/>
                <a:gd name="T56" fmla="*/ 0 w 977"/>
                <a:gd name="T57" fmla="*/ 0 h 1500"/>
                <a:gd name="T58" fmla="*/ 0 w 977"/>
                <a:gd name="T59" fmla="*/ 0 h 1500"/>
                <a:gd name="T60" fmla="*/ 0 w 977"/>
                <a:gd name="T61" fmla="*/ 0 h 1500"/>
                <a:gd name="T62" fmla="*/ 0 w 977"/>
                <a:gd name="T63" fmla="*/ 0 h 1500"/>
                <a:gd name="T64" fmla="*/ 0 w 977"/>
                <a:gd name="T65" fmla="*/ 0 h 1500"/>
                <a:gd name="T66" fmla="*/ 0 w 977"/>
                <a:gd name="T67" fmla="*/ 0 h 1500"/>
                <a:gd name="T68" fmla="*/ 0 w 977"/>
                <a:gd name="T69" fmla="*/ 0 h 1500"/>
                <a:gd name="T70" fmla="*/ 0 w 977"/>
                <a:gd name="T71" fmla="*/ 0 h 1500"/>
                <a:gd name="T72" fmla="*/ 0 w 977"/>
                <a:gd name="T73" fmla="*/ 0 h 1500"/>
                <a:gd name="T74" fmla="*/ 0 w 977"/>
                <a:gd name="T75" fmla="*/ 0 h 1500"/>
                <a:gd name="T76" fmla="*/ 0 w 977"/>
                <a:gd name="T77" fmla="*/ 0 h 1500"/>
                <a:gd name="T78" fmla="*/ 0 w 977"/>
                <a:gd name="T79" fmla="*/ 0 h 1500"/>
                <a:gd name="T80" fmla="*/ 0 w 977"/>
                <a:gd name="T81" fmla="*/ 0 h 1500"/>
                <a:gd name="T82" fmla="*/ 0 w 977"/>
                <a:gd name="T83" fmla="*/ 0 h 1500"/>
                <a:gd name="T84" fmla="*/ 0 w 977"/>
                <a:gd name="T85" fmla="*/ 0 h 1500"/>
                <a:gd name="T86" fmla="*/ 0 w 977"/>
                <a:gd name="T87" fmla="*/ 0 h 1500"/>
                <a:gd name="T88" fmla="*/ 0 w 977"/>
                <a:gd name="T89" fmla="*/ 0 h 1500"/>
                <a:gd name="T90" fmla="*/ 0 w 977"/>
                <a:gd name="T91" fmla="*/ 0 h 1500"/>
                <a:gd name="T92" fmla="*/ 0 w 977"/>
                <a:gd name="T93" fmla="*/ 0 h 1500"/>
                <a:gd name="T94" fmla="*/ 0 w 977"/>
                <a:gd name="T95" fmla="*/ 0 h 1500"/>
                <a:gd name="T96" fmla="*/ 0 w 977"/>
                <a:gd name="T97" fmla="*/ 0 h 1500"/>
                <a:gd name="T98" fmla="*/ 0 w 977"/>
                <a:gd name="T99" fmla="*/ 0 h 1500"/>
                <a:gd name="T100" fmla="*/ 0 w 977"/>
                <a:gd name="T101" fmla="*/ 0 h 1500"/>
                <a:gd name="T102" fmla="*/ 0 w 977"/>
                <a:gd name="T103" fmla="*/ 0 h 1500"/>
                <a:gd name="T104" fmla="*/ 0 w 977"/>
                <a:gd name="T105" fmla="*/ 0 h 1500"/>
                <a:gd name="T106" fmla="*/ 0 w 977"/>
                <a:gd name="T107" fmla="*/ 0 h 1500"/>
                <a:gd name="T108" fmla="*/ 0 w 977"/>
                <a:gd name="T109" fmla="*/ 0 h 1500"/>
                <a:gd name="T110" fmla="*/ 0 w 977"/>
                <a:gd name="T111" fmla="*/ 0 h 1500"/>
                <a:gd name="T112" fmla="*/ 0 w 977"/>
                <a:gd name="T113" fmla="*/ 0 h 1500"/>
                <a:gd name="T114" fmla="*/ 0 w 977"/>
                <a:gd name="T115" fmla="*/ 0 h 1500"/>
                <a:gd name="T116" fmla="*/ 0 w 977"/>
                <a:gd name="T117" fmla="*/ 0 h 1500"/>
                <a:gd name="T118" fmla="*/ 0 w 977"/>
                <a:gd name="T119" fmla="*/ 0 h 1500"/>
                <a:gd name="T120" fmla="*/ 0 w 977"/>
                <a:gd name="T121" fmla="*/ 0 h 1500"/>
                <a:gd name="T122" fmla="*/ 0 w 977"/>
                <a:gd name="T123" fmla="*/ 0 h 150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977" h="1500">
                  <a:moveTo>
                    <a:pt x="977" y="1"/>
                  </a:moveTo>
                  <a:lnTo>
                    <a:pt x="933" y="0"/>
                  </a:lnTo>
                  <a:lnTo>
                    <a:pt x="894" y="1"/>
                  </a:lnTo>
                  <a:lnTo>
                    <a:pt x="861" y="3"/>
                  </a:lnTo>
                  <a:lnTo>
                    <a:pt x="834" y="7"/>
                  </a:lnTo>
                  <a:lnTo>
                    <a:pt x="821" y="9"/>
                  </a:lnTo>
                  <a:lnTo>
                    <a:pt x="809" y="12"/>
                  </a:lnTo>
                  <a:lnTo>
                    <a:pt x="798" y="16"/>
                  </a:lnTo>
                  <a:lnTo>
                    <a:pt x="788" y="21"/>
                  </a:lnTo>
                  <a:lnTo>
                    <a:pt x="778" y="25"/>
                  </a:lnTo>
                  <a:lnTo>
                    <a:pt x="769" y="30"/>
                  </a:lnTo>
                  <a:lnTo>
                    <a:pt x="759" y="36"/>
                  </a:lnTo>
                  <a:lnTo>
                    <a:pt x="750" y="42"/>
                  </a:lnTo>
                  <a:lnTo>
                    <a:pt x="740" y="50"/>
                  </a:lnTo>
                  <a:lnTo>
                    <a:pt x="732" y="58"/>
                  </a:lnTo>
                  <a:lnTo>
                    <a:pt x="724" y="66"/>
                  </a:lnTo>
                  <a:lnTo>
                    <a:pt x="717" y="75"/>
                  </a:lnTo>
                  <a:lnTo>
                    <a:pt x="710" y="83"/>
                  </a:lnTo>
                  <a:lnTo>
                    <a:pt x="704" y="92"/>
                  </a:lnTo>
                  <a:lnTo>
                    <a:pt x="699" y="101"/>
                  </a:lnTo>
                  <a:lnTo>
                    <a:pt x="694" y="109"/>
                  </a:lnTo>
                  <a:lnTo>
                    <a:pt x="685" y="128"/>
                  </a:lnTo>
                  <a:lnTo>
                    <a:pt x="678" y="149"/>
                  </a:lnTo>
                  <a:lnTo>
                    <a:pt x="671" y="170"/>
                  </a:lnTo>
                  <a:lnTo>
                    <a:pt x="664" y="193"/>
                  </a:lnTo>
                  <a:lnTo>
                    <a:pt x="638" y="187"/>
                  </a:lnTo>
                  <a:lnTo>
                    <a:pt x="616" y="182"/>
                  </a:lnTo>
                  <a:lnTo>
                    <a:pt x="593" y="178"/>
                  </a:lnTo>
                  <a:lnTo>
                    <a:pt x="572" y="174"/>
                  </a:lnTo>
                  <a:lnTo>
                    <a:pt x="550" y="171"/>
                  </a:lnTo>
                  <a:lnTo>
                    <a:pt x="528" y="169"/>
                  </a:lnTo>
                  <a:lnTo>
                    <a:pt x="503" y="168"/>
                  </a:lnTo>
                  <a:lnTo>
                    <a:pt x="478" y="168"/>
                  </a:lnTo>
                  <a:lnTo>
                    <a:pt x="438" y="168"/>
                  </a:lnTo>
                  <a:lnTo>
                    <a:pt x="399" y="171"/>
                  </a:lnTo>
                  <a:lnTo>
                    <a:pt x="380" y="173"/>
                  </a:lnTo>
                  <a:lnTo>
                    <a:pt x="361" y="175"/>
                  </a:lnTo>
                  <a:lnTo>
                    <a:pt x="341" y="179"/>
                  </a:lnTo>
                  <a:lnTo>
                    <a:pt x="322" y="182"/>
                  </a:lnTo>
                  <a:lnTo>
                    <a:pt x="302" y="188"/>
                  </a:lnTo>
                  <a:lnTo>
                    <a:pt x="284" y="193"/>
                  </a:lnTo>
                  <a:lnTo>
                    <a:pt x="266" y="199"/>
                  </a:lnTo>
                  <a:lnTo>
                    <a:pt x="247" y="206"/>
                  </a:lnTo>
                  <a:lnTo>
                    <a:pt x="230" y="214"/>
                  </a:lnTo>
                  <a:lnTo>
                    <a:pt x="214" y="222"/>
                  </a:lnTo>
                  <a:lnTo>
                    <a:pt x="196" y="232"/>
                  </a:lnTo>
                  <a:lnTo>
                    <a:pt x="181" y="243"/>
                  </a:lnTo>
                  <a:lnTo>
                    <a:pt x="168" y="253"/>
                  </a:lnTo>
                  <a:lnTo>
                    <a:pt x="157" y="264"/>
                  </a:lnTo>
                  <a:lnTo>
                    <a:pt x="145" y="275"/>
                  </a:lnTo>
                  <a:lnTo>
                    <a:pt x="134" y="287"/>
                  </a:lnTo>
                  <a:lnTo>
                    <a:pt x="125" y="300"/>
                  </a:lnTo>
                  <a:lnTo>
                    <a:pt x="116" y="312"/>
                  </a:lnTo>
                  <a:lnTo>
                    <a:pt x="108" y="325"/>
                  </a:lnTo>
                  <a:lnTo>
                    <a:pt x="100" y="339"/>
                  </a:lnTo>
                  <a:lnTo>
                    <a:pt x="94" y="352"/>
                  </a:lnTo>
                  <a:lnTo>
                    <a:pt x="88" y="368"/>
                  </a:lnTo>
                  <a:lnTo>
                    <a:pt x="83" y="382"/>
                  </a:lnTo>
                  <a:lnTo>
                    <a:pt x="79" y="397"/>
                  </a:lnTo>
                  <a:lnTo>
                    <a:pt x="76" y="413"/>
                  </a:lnTo>
                  <a:lnTo>
                    <a:pt x="74" y="428"/>
                  </a:lnTo>
                  <a:lnTo>
                    <a:pt x="73" y="444"/>
                  </a:lnTo>
                  <a:lnTo>
                    <a:pt x="72" y="460"/>
                  </a:lnTo>
                  <a:lnTo>
                    <a:pt x="72" y="473"/>
                  </a:lnTo>
                  <a:lnTo>
                    <a:pt x="73" y="485"/>
                  </a:lnTo>
                  <a:lnTo>
                    <a:pt x="75" y="497"/>
                  </a:lnTo>
                  <a:lnTo>
                    <a:pt x="76" y="508"/>
                  </a:lnTo>
                  <a:lnTo>
                    <a:pt x="81" y="530"/>
                  </a:lnTo>
                  <a:lnTo>
                    <a:pt x="88" y="550"/>
                  </a:lnTo>
                  <a:lnTo>
                    <a:pt x="95" y="568"/>
                  </a:lnTo>
                  <a:lnTo>
                    <a:pt x="105" y="585"/>
                  </a:lnTo>
                  <a:lnTo>
                    <a:pt x="115" y="601"/>
                  </a:lnTo>
                  <a:lnTo>
                    <a:pt x="125" y="615"/>
                  </a:lnTo>
                  <a:lnTo>
                    <a:pt x="136" y="628"/>
                  </a:lnTo>
                  <a:lnTo>
                    <a:pt x="147" y="640"/>
                  </a:lnTo>
                  <a:lnTo>
                    <a:pt x="159" y="651"/>
                  </a:lnTo>
                  <a:lnTo>
                    <a:pt x="170" y="660"/>
                  </a:lnTo>
                  <a:lnTo>
                    <a:pt x="189" y="675"/>
                  </a:lnTo>
                  <a:lnTo>
                    <a:pt x="206" y="687"/>
                  </a:lnTo>
                  <a:lnTo>
                    <a:pt x="186" y="699"/>
                  </a:lnTo>
                  <a:lnTo>
                    <a:pt x="167" y="711"/>
                  </a:lnTo>
                  <a:lnTo>
                    <a:pt x="148" y="724"/>
                  </a:lnTo>
                  <a:lnTo>
                    <a:pt x="130" y="737"/>
                  </a:lnTo>
                  <a:lnTo>
                    <a:pt x="114" y="752"/>
                  </a:lnTo>
                  <a:lnTo>
                    <a:pt x="98" y="767"/>
                  </a:lnTo>
                  <a:lnTo>
                    <a:pt x="91" y="776"/>
                  </a:lnTo>
                  <a:lnTo>
                    <a:pt x="84" y="784"/>
                  </a:lnTo>
                  <a:lnTo>
                    <a:pt x="78" y="793"/>
                  </a:lnTo>
                  <a:lnTo>
                    <a:pt x="72" y="803"/>
                  </a:lnTo>
                  <a:lnTo>
                    <a:pt x="69" y="808"/>
                  </a:lnTo>
                  <a:lnTo>
                    <a:pt x="66" y="815"/>
                  </a:lnTo>
                  <a:lnTo>
                    <a:pt x="62" y="823"/>
                  </a:lnTo>
                  <a:lnTo>
                    <a:pt x="58" y="832"/>
                  </a:lnTo>
                  <a:lnTo>
                    <a:pt x="55" y="842"/>
                  </a:lnTo>
                  <a:lnTo>
                    <a:pt x="53" y="853"/>
                  </a:lnTo>
                  <a:lnTo>
                    <a:pt x="51" y="867"/>
                  </a:lnTo>
                  <a:lnTo>
                    <a:pt x="49" y="880"/>
                  </a:lnTo>
                  <a:lnTo>
                    <a:pt x="51" y="893"/>
                  </a:lnTo>
                  <a:lnTo>
                    <a:pt x="52" y="905"/>
                  </a:lnTo>
                  <a:lnTo>
                    <a:pt x="54" y="918"/>
                  </a:lnTo>
                  <a:lnTo>
                    <a:pt x="57" y="929"/>
                  </a:lnTo>
                  <a:lnTo>
                    <a:pt x="60" y="939"/>
                  </a:lnTo>
                  <a:lnTo>
                    <a:pt x="65" y="950"/>
                  </a:lnTo>
                  <a:lnTo>
                    <a:pt x="70" y="960"/>
                  </a:lnTo>
                  <a:lnTo>
                    <a:pt x="75" y="970"/>
                  </a:lnTo>
                  <a:lnTo>
                    <a:pt x="87" y="989"/>
                  </a:lnTo>
                  <a:lnTo>
                    <a:pt x="102" y="1007"/>
                  </a:lnTo>
                  <a:lnTo>
                    <a:pt x="118" y="1026"/>
                  </a:lnTo>
                  <a:lnTo>
                    <a:pt x="134" y="1045"/>
                  </a:lnTo>
                  <a:lnTo>
                    <a:pt x="109" y="1061"/>
                  </a:lnTo>
                  <a:lnTo>
                    <a:pt x="87" y="1076"/>
                  </a:lnTo>
                  <a:lnTo>
                    <a:pt x="69" y="1091"/>
                  </a:lnTo>
                  <a:lnTo>
                    <a:pt x="55" y="1104"/>
                  </a:lnTo>
                  <a:lnTo>
                    <a:pt x="42" y="1117"/>
                  </a:lnTo>
                  <a:lnTo>
                    <a:pt x="32" y="1130"/>
                  </a:lnTo>
                  <a:lnTo>
                    <a:pt x="24" y="1145"/>
                  </a:lnTo>
                  <a:lnTo>
                    <a:pt x="16" y="1161"/>
                  </a:lnTo>
                  <a:lnTo>
                    <a:pt x="11" y="1174"/>
                  </a:lnTo>
                  <a:lnTo>
                    <a:pt x="6" y="1186"/>
                  </a:lnTo>
                  <a:lnTo>
                    <a:pt x="4" y="1198"/>
                  </a:lnTo>
                  <a:lnTo>
                    <a:pt x="2" y="1208"/>
                  </a:lnTo>
                  <a:lnTo>
                    <a:pt x="0" y="1218"/>
                  </a:lnTo>
                  <a:lnTo>
                    <a:pt x="0" y="1227"/>
                  </a:lnTo>
                  <a:lnTo>
                    <a:pt x="0" y="1234"/>
                  </a:lnTo>
                  <a:lnTo>
                    <a:pt x="0" y="1241"/>
                  </a:lnTo>
                  <a:lnTo>
                    <a:pt x="1" y="1263"/>
                  </a:lnTo>
                  <a:lnTo>
                    <a:pt x="3" y="1283"/>
                  </a:lnTo>
                  <a:lnTo>
                    <a:pt x="8" y="1302"/>
                  </a:lnTo>
                  <a:lnTo>
                    <a:pt x="14" y="1320"/>
                  </a:lnTo>
                  <a:lnTo>
                    <a:pt x="21" y="1336"/>
                  </a:lnTo>
                  <a:lnTo>
                    <a:pt x="29" y="1351"/>
                  </a:lnTo>
                  <a:lnTo>
                    <a:pt x="38" y="1366"/>
                  </a:lnTo>
                  <a:lnTo>
                    <a:pt x="48" y="1378"/>
                  </a:lnTo>
                  <a:lnTo>
                    <a:pt x="58" y="1389"/>
                  </a:lnTo>
                  <a:lnTo>
                    <a:pt x="69" y="1399"/>
                  </a:lnTo>
                  <a:lnTo>
                    <a:pt x="79" y="1409"/>
                  </a:lnTo>
                  <a:lnTo>
                    <a:pt x="88" y="1417"/>
                  </a:lnTo>
                  <a:lnTo>
                    <a:pt x="107" y="1430"/>
                  </a:lnTo>
                  <a:lnTo>
                    <a:pt x="121" y="1438"/>
                  </a:lnTo>
                  <a:lnTo>
                    <a:pt x="134" y="1445"/>
                  </a:lnTo>
                  <a:lnTo>
                    <a:pt x="147" y="1451"/>
                  </a:lnTo>
                  <a:lnTo>
                    <a:pt x="160" y="1457"/>
                  </a:lnTo>
                  <a:lnTo>
                    <a:pt x="171" y="1461"/>
                  </a:lnTo>
                  <a:lnTo>
                    <a:pt x="181" y="1465"/>
                  </a:lnTo>
                  <a:lnTo>
                    <a:pt x="190" y="1467"/>
                  </a:lnTo>
                  <a:lnTo>
                    <a:pt x="198" y="1470"/>
                  </a:lnTo>
                  <a:lnTo>
                    <a:pt x="206" y="1471"/>
                  </a:lnTo>
                  <a:lnTo>
                    <a:pt x="225" y="1477"/>
                  </a:lnTo>
                  <a:lnTo>
                    <a:pt x="249" y="1481"/>
                  </a:lnTo>
                  <a:lnTo>
                    <a:pt x="278" y="1486"/>
                  </a:lnTo>
                  <a:lnTo>
                    <a:pt x="310" y="1490"/>
                  </a:lnTo>
                  <a:lnTo>
                    <a:pt x="345" y="1494"/>
                  </a:lnTo>
                  <a:lnTo>
                    <a:pt x="384" y="1497"/>
                  </a:lnTo>
                  <a:lnTo>
                    <a:pt x="426" y="1499"/>
                  </a:lnTo>
                  <a:lnTo>
                    <a:pt x="470" y="1500"/>
                  </a:lnTo>
                  <a:lnTo>
                    <a:pt x="503" y="1500"/>
                  </a:lnTo>
                  <a:lnTo>
                    <a:pt x="535" y="1499"/>
                  </a:lnTo>
                  <a:lnTo>
                    <a:pt x="565" y="1497"/>
                  </a:lnTo>
                  <a:lnTo>
                    <a:pt x="592" y="1494"/>
                  </a:lnTo>
                  <a:lnTo>
                    <a:pt x="619" y="1492"/>
                  </a:lnTo>
                  <a:lnTo>
                    <a:pt x="643" y="1488"/>
                  </a:lnTo>
                  <a:lnTo>
                    <a:pt x="667" y="1484"/>
                  </a:lnTo>
                  <a:lnTo>
                    <a:pt x="688" y="1479"/>
                  </a:lnTo>
                  <a:lnTo>
                    <a:pt x="708" y="1474"/>
                  </a:lnTo>
                  <a:lnTo>
                    <a:pt x="729" y="1468"/>
                  </a:lnTo>
                  <a:lnTo>
                    <a:pt x="747" y="1462"/>
                  </a:lnTo>
                  <a:lnTo>
                    <a:pt x="765" y="1456"/>
                  </a:lnTo>
                  <a:lnTo>
                    <a:pt x="781" y="1449"/>
                  </a:lnTo>
                  <a:lnTo>
                    <a:pt x="796" y="1442"/>
                  </a:lnTo>
                  <a:lnTo>
                    <a:pt x="810" y="1435"/>
                  </a:lnTo>
                  <a:lnTo>
                    <a:pt x="825" y="1427"/>
                  </a:lnTo>
                  <a:lnTo>
                    <a:pt x="848" y="1412"/>
                  </a:lnTo>
                  <a:lnTo>
                    <a:pt x="869" y="1398"/>
                  </a:lnTo>
                  <a:lnTo>
                    <a:pt x="887" y="1383"/>
                  </a:lnTo>
                  <a:lnTo>
                    <a:pt x="903" y="1368"/>
                  </a:lnTo>
                  <a:lnTo>
                    <a:pt x="916" y="1352"/>
                  </a:lnTo>
                  <a:lnTo>
                    <a:pt x="929" y="1336"/>
                  </a:lnTo>
                  <a:lnTo>
                    <a:pt x="940" y="1321"/>
                  </a:lnTo>
                  <a:lnTo>
                    <a:pt x="948" y="1305"/>
                  </a:lnTo>
                  <a:lnTo>
                    <a:pt x="955" y="1288"/>
                  </a:lnTo>
                  <a:lnTo>
                    <a:pt x="961" y="1273"/>
                  </a:lnTo>
                  <a:lnTo>
                    <a:pt x="966" y="1258"/>
                  </a:lnTo>
                  <a:lnTo>
                    <a:pt x="970" y="1242"/>
                  </a:lnTo>
                  <a:lnTo>
                    <a:pt x="973" y="1228"/>
                  </a:lnTo>
                  <a:lnTo>
                    <a:pt x="974" y="1214"/>
                  </a:lnTo>
                  <a:lnTo>
                    <a:pt x="975" y="1201"/>
                  </a:lnTo>
                  <a:lnTo>
                    <a:pt x="975" y="1188"/>
                  </a:lnTo>
                  <a:lnTo>
                    <a:pt x="975" y="1170"/>
                  </a:lnTo>
                  <a:lnTo>
                    <a:pt x="972" y="1152"/>
                  </a:lnTo>
                  <a:lnTo>
                    <a:pt x="969" y="1133"/>
                  </a:lnTo>
                  <a:lnTo>
                    <a:pt x="963" y="1116"/>
                  </a:lnTo>
                  <a:lnTo>
                    <a:pt x="957" y="1100"/>
                  </a:lnTo>
                  <a:lnTo>
                    <a:pt x="950" y="1084"/>
                  </a:lnTo>
                  <a:lnTo>
                    <a:pt x="941" y="1068"/>
                  </a:lnTo>
                  <a:lnTo>
                    <a:pt x="932" y="1053"/>
                  </a:lnTo>
                  <a:lnTo>
                    <a:pt x="921" y="1039"/>
                  </a:lnTo>
                  <a:lnTo>
                    <a:pt x="909" y="1026"/>
                  </a:lnTo>
                  <a:lnTo>
                    <a:pt x="896" y="1013"/>
                  </a:lnTo>
                  <a:lnTo>
                    <a:pt x="882" y="1001"/>
                  </a:lnTo>
                  <a:lnTo>
                    <a:pt x="868" y="990"/>
                  </a:lnTo>
                  <a:lnTo>
                    <a:pt x="852" y="980"/>
                  </a:lnTo>
                  <a:lnTo>
                    <a:pt x="836" y="971"/>
                  </a:lnTo>
                  <a:lnTo>
                    <a:pt x="820" y="962"/>
                  </a:lnTo>
                  <a:lnTo>
                    <a:pt x="806" y="957"/>
                  </a:lnTo>
                  <a:lnTo>
                    <a:pt x="793" y="952"/>
                  </a:lnTo>
                  <a:lnTo>
                    <a:pt x="779" y="948"/>
                  </a:lnTo>
                  <a:lnTo>
                    <a:pt x="763" y="945"/>
                  </a:lnTo>
                  <a:lnTo>
                    <a:pt x="730" y="938"/>
                  </a:lnTo>
                  <a:lnTo>
                    <a:pt x="693" y="934"/>
                  </a:lnTo>
                  <a:lnTo>
                    <a:pt x="651" y="930"/>
                  </a:lnTo>
                  <a:lnTo>
                    <a:pt x="604" y="927"/>
                  </a:lnTo>
                  <a:lnTo>
                    <a:pt x="553" y="925"/>
                  </a:lnTo>
                  <a:lnTo>
                    <a:pt x="496" y="923"/>
                  </a:lnTo>
                  <a:lnTo>
                    <a:pt x="462" y="923"/>
                  </a:lnTo>
                  <a:lnTo>
                    <a:pt x="431" y="923"/>
                  </a:lnTo>
                  <a:lnTo>
                    <a:pt x="405" y="923"/>
                  </a:lnTo>
                  <a:lnTo>
                    <a:pt x="384" y="922"/>
                  </a:lnTo>
                  <a:lnTo>
                    <a:pt x="364" y="920"/>
                  </a:lnTo>
                  <a:lnTo>
                    <a:pt x="345" y="917"/>
                  </a:lnTo>
                  <a:lnTo>
                    <a:pt x="327" y="913"/>
                  </a:lnTo>
                  <a:lnTo>
                    <a:pt x="309" y="906"/>
                  </a:lnTo>
                  <a:lnTo>
                    <a:pt x="298" y="902"/>
                  </a:lnTo>
                  <a:lnTo>
                    <a:pt x="289" y="897"/>
                  </a:lnTo>
                  <a:lnTo>
                    <a:pt x="281" y="892"/>
                  </a:lnTo>
                  <a:lnTo>
                    <a:pt x="274" y="887"/>
                  </a:lnTo>
                  <a:lnTo>
                    <a:pt x="268" y="882"/>
                  </a:lnTo>
                  <a:lnTo>
                    <a:pt x="262" y="876"/>
                  </a:lnTo>
                  <a:lnTo>
                    <a:pt x="257" y="870"/>
                  </a:lnTo>
                  <a:lnTo>
                    <a:pt x="252" y="864"/>
                  </a:lnTo>
                  <a:lnTo>
                    <a:pt x="249" y="859"/>
                  </a:lnTo>
                  <a:lnTo>
                    <a:pt x="246" y="852"/>
                  </a:lnTo>
                  <a:lnTo>
                    <a:pt x="244" y="846"/>
                  </a:lnTo>
                  <a:lnTo>
                    <a:pt x="242" y="840"/>
                  </a:lnTo>
                  <a:lnTo>
                    <a:pt x="240" y="829"/>
                  </a:lnTo>
                  <a:lnTo>
                    <a:pt x="239" y="818"/>
                  </a:lnTo>
                  <a:lnTo>
                    <a:pt x="239" y="811"/>
                  </a:lnTo>
                  <a:lnTo>
                    <a:pt x="240" y="804"/>
                  </a:lnTo>
                  <a:lnTo>
                    <a:pt x="242" y="797"/>
                  </a:lnTo>
                  <a:lnTo>
                    <a:pt x="243" y="791"/>
                  </a:lnTo>
                  <a:lnTo>
                    <a:pt x="248" y="780"/>
                  </a:lnTo>
                  <a:lnTo>
                    <a:pt x="255" y="770"/>
                  </a:lnTo>
                  <a:lnTo>
                    <a:pt x="261" y="763"/>
                  </a:lnTo>
                  <a:lnTo>
                    <a:pt x="267" y="756"/>
                  </a:lnTo>
                  <a:lnTo>
                    <a:pt x="273" y="751"/>
                  </a:lnTo>
                  <a:lnTo>
                    <a:pt x="277" y="747"/>
                  </a:lnTo>
                  <a:lnTo>
                    <a:pt x="279" y="745"/>
                  </a:lnTo>
                  <a:lnTo>
                    <a:pt x="281" y="742"/>
                  </a:lnTo>
                  <a:lnTo>
                    <a:pt x="284" y="740"/>
                  </a:lnTo>
                  <a:lnTo>
                    <a:pt x="286" y="738"/>
                  </a:lnTo>
                  <a:lnTo>
                    <a:pt x="289" y="736"/>
                  </a:lnTo>
                  <a:lnTo>
                    <a:pt x="292" y="733"/>
                  </a:lnTo>
                  <a:lnTo>
                    <a:pt x="294" y="731"/>
                  </a:lnTo>
                  <a:lnTo>
                    <a:pt x="297" y="728"/>
                  </a:lnTo>
                  <a:lnTo>
                    <a:pt x="331" y="736"/>
                  </a:lnTo>
                  <a:lnTo>
                    <a:pt x="361" y="742"/>
                  </a:lnTo>
                  <a:lnTo>
                    <a:pt x="385" y="748"/>
                  </a:lnTo>
                  <a:lnTo>
                    <a:pt x="408" y="752"/>
                  </a:lnTo>
                  <a:lnTo>
                    <a:pt x="428" y="754"/>
                  </a:lnTo>
                  <a:lnTo>
                    <a:pt x="447" y="755"/>
                  </a:lnTo>
                  <a:lnTo>
                    <a:pt x="467" y="756"/>
                  </a:lnTo>
                  <a:lnTo>
                    <a:pt x="487" y="756"/>
                  </a:lnTo>
                  <a:lnTo>
                    <a:pt x="515" y="756"/>
                  </a:lnTo>
                  <a:lnTo>
                    <a:pt x="541" y="754"/>
                  </a:lnTo>
                  <a:lnTo>
                    <a:pt x="567" y="751"/>
                  </a:lnTo>
                  <a:lnTo>
                    <a:pt x="590" y="747"/>
                  </a:lnTo>
                  <a:lnTo>
                    <a:pt x="614" y="741"/>
                  </a:lnTo>
                  <a:lnTo>
                    <a:pt x="635" y="735"/>
                  </a:lnTo>
                  <a:lnTo>
                    <a:pt x="656" y="729"/>
                  </a:lnTo>
                  <a:lnTo>
                    <a:pt x="676" y="722"/>
                  </a:lnTo>
                  <a:lnTo>
                    <a:pt x="694" y="714"/>
                  </a:lnTo>
                  <a:lnTo>
                    <a:pt x="710" y="707"/>
                  </a:lnTo>
                  <a:lnTo>
                    <a:pt x="727" y="699"/>
                  </a:lnTo>
                  <a:lnTo>
                    <a:pt x="741" y="691"/>
                  </a:lnTo>
                  <a:lnTo>
                    <a:pt x="766" y="675"/>
                  </a:lnTo>
                  <a:lnTo>
                    <a:pt x="785" y="661"/>
                  </a:lnTo>
                  <a:lnTo>
                    <a:pt x="800" y="647"/>
                  </a:lnTo>
                  <a:lnTo>
                    <a:pt x="814" y="634"/>
                  </a:lnTo>
                  <a:lnTo>
                    <a:pt x="826" y="619"/>
                  </a:lnTo>
                  <a:lnTo>
                    <a:pt x="837" y="605"/>
                  </a:lnTo>
                  <a:lnTo>
                    <a:pt x="846" y="590"/>
                  </a:lnTo>
                  <a:lnTo>
                    <a:pt x="853" y="575"/>
                  </a:lnTo>
                  <a:lnTo>
                    <a:pt x="860" y="561"/>
                  </a:lnTo>
                  <a:lnTo>
                    <a:pt x="865" y="547"/>
                  </a:lnTo>
                  <a:lnTo>
                    <a:pt x="870" y="534"/>
                  </a:lnTo>
                  <a:lnTo>
                    <a:pt x="874" y="520"/>
                  </a:lnTo>
                  <a:lnTo>
                    <a:pt x="877" y="507"/>
                  </a:lnTo>
                  <a:lnTo>
                    <a:pt x="879" y="496"/>
                  </a:lnTo>
                  <a:lnTo>
                    <a:pt x="881" y="474"/>
                  </a:lnTo>
                  <a:lnTo>
                    <a:pt x="881" y="456"/>
                  </a:lnTo>
                  <a:lnTo>
                    <a:pt x="881" y="441"/>
                  </a:lnTo>
                  <a:lnTo>
                    <a:pt x="880" y="427"/>
                  </a:lnTo>
                  <a:lnTo>
                    <a:pt x="878" y="413"/>
                  </a:lnTo>
                  <a:lnTo>
                    <a:pt x="876" y="400"/>
                  </a:lnTo>
                  <a:lnTo>
                    <a:pt x="873" y="387"/>
                  </a:lnTo>
                  <a:lnTo>
                    <a:pt x="870" y="376"/>
                  </a:lnTo>
                  <a:lnTo>
                    <a:pt x="865" y="365"/>
                  </a:lnTo>
                  <a:lnTo>
                    <a:pt x="861" y="355"/>
                  </a:lnTo>
                  <a:lnTo>
                    <a:pt x="853" y="335"/>
                  </a:lnTo>
                  <a:lnTo>
                    <a:pt x="844" y="320"/>
                  </a:lnTo>
                  <a:lnTo>
                    <a:pt x="835" y="307"/>
                  </a:lnTo>
                  <a:lnTo>
                    <a:pt x="827" y="298"/>
                  </a:lnTo>
                  <a:lnTo>
                    <a:pt x="820" y="289"/>
                  </a:lnTo>
                  <a:lnTo>
                    <a:pt x="812" y="282"/>
                  </a:lnTo>
                  <a:lnTo>
                    <a:pt x="805" y="276"/>
                  </a:lnTo>
                  <a:lnTo>
                    <a:pt x="798" y="270"/>
                  </a:lnTo>
                  <a:lnTo>
                    <a:pt x="791" y="264"/>
                  </a:lnTo>
                  <a:lnTo>
                    <a:pt x="783" y="258"/>
                  </a:lnTo>
                  <a:lnTo>
                    <a:pt x="775" y="252"/>
                  </a:lnTo>
                  <a:lnTo>
                    <a:pt x="767" y="245"/>
                  </a:lnTo>
                  <a:lnTo>
                    <a:pt x="770" y="238"/>
                  </a:lnTo>
                  <a:lnTo>
                    <a:pt x="774" y="231"/>
                  </a:lnTo>
                  <a:lnTo>
                    <a:pt x="778" y="225"/>
                  </a:lnTo>
                  <a:lnTo>
                    <a:pt x="781" y="219"/>
                  </a:lnTo>
                  <a:lnTo>
                    <a:pt x="786" y="213"/>
                  </a:lnTo>
                  <a:lnTo>
                    <a:pt x="790" y="208"/>
                  </a:lnTo>
                  <a:lnTo>
                    <a:pt x="795" y="203"/>
                  </a:lnTo>
                  <a:lnTo>
                    <a:pt x="800" y="198"/>
                  </a:lnTo>
                  <a:lnTo>
                    <a:pt x="808" y="192"/>
                  </a:lnTo>
                  <a:lnTo>
                    <a:pt x="818" y="187"/>
                  </a:lnTo>
                  <a:lnTo>
                    <a:pt x="827" y="182"/>
                  </a:lnTo>
                  <a:lnTo>
                    <a:pt x="837" y="178"/>
                  </a:lnTo>
                  <a:lnTo>
                    <a:pt x="848" y="175"/>
                  </a:lnTo>
                  <a:lnTo>
                    <a:pt x="859" y="173"/>
                  </a:lnTo>
                  <a:lnTo>
                    <a:pt x="871" y="171"/>
                  </a:lnTo>
                  <a:lnTo>
                    <a:pt x="883" y="169"/>
                  </a:lnTo>
                  <a:lnTo>
                    <a:pt x="907" y="167"/>
                  </a:lnTo>
                  <a:lnTo>
                    <a:pt x="931" y="167"/>
                  </a:lnTo>
                  <a:lnTo>
                    <a:pt x="954" y="167"/>
                  </a:lnTo>
                  <a:lnTo>
                    <a:pt x="977" y="168"/>
                  </a:lnTo>
                  <a:lnTo>
                    <a:pt x="977" y="1"/>
                  </a:lnTo>
                  <a:close/>
                  <a:moveTo>
                    <a:pt x="232" y="1101"/>
                  </a:moveTo>
                  <a:lnTo>
                    <a:pt x="284" y="1110"/>
                  </a:lnTo>
                  <a:lnTo>
                    <a:pt x="330" y="1117"/>
                  </a:lnTo>
                  <a:lnTo>
                    <a:pt x="372" y="1121"/>
                  </a:lnTo>
                  <a:lnTo>
                    <a:pt x="411" y="1124"/>
                  </a:lnTo>
                  <a:lnTo>
                    <a:pt x="449" y="1125"/>
                  </a:lnTo>
                  <a:lnTo>
                    <a:pt x="491" y="1126"/>
                  </a:lnTo>
                  <a:lnTo>
                    <a:pt x="538" y="1126"/>
                  </a:lnTo>
                  <a:lnTo>
                    <a:pt x="592" y="1127"/>
                  </a:lnTo>
                  <a:lnTo>
                    <a:pt x="622" y="1128"/>
                  </a:lnTo>
                  <a:lnTo>
                    <a:pt x="647" y="1130"/>
                  </a:lnTo>
                  <a:lnTo>
                    <a:pt x="670" y="1134"/>
                  </a:lnTo>
                  <a:lnTo>
                    <a:pt x="688" y="1139"/>
                  </a:lnTo>
                  <a:lnTo>
                    <a:pt x="705" y="1145"/>
                  </a:lnTo>
                  <a:lnTo>
                    <a:pt x="720" y="1152"/>
                  </a:lnTo>
                  <a:lnTo>
                    <a:pt x="732" y="1160"/>
                  </a:lnTo>
                  <a:lnTo>
                    <a:pt x="744" y="1170"/>
                  </a:lnTo>
                  <a:lnTo>
                    <a:pt x="752" y="1179"/>
                  </a:lnTo>
                  <a:lnTo>
                    <a:pt x="758" y="1188"/>
                  </a:lnTo>
                  <a:lnTo>
                    <a:pt x="763" y="1197"/>
                  </a:lnTo>
                  <a:lnTo>
                    <a:pt x="767" y="1205"/>
                  </a:lnTo>
                  <a:lnTo>
                    <a:pt x="769" y="1212"/>
                  </a:lnTo>
                  <a:lnTo>
                    <a:pt x="770" y="1219"/>
                  </a:lnTo>
                  <a:lnTo>
                    <a:pt x="771" y="1225"/>
                  </a:lnTo>
                  <a:lnTo>
                    <a:pt x="771" y="1230"/>
                  </a:lnTo>
                  <a:lnTo>
                    <a:pt x="770" y="1240"/>
                  </a:lnTo>
                  <a:lnTo>
                    <a:pt x="769" y="1250"/>
                  </a:lnTo>
                  <a:lnTo>
                    <a:pt x="766" y="1259"/>
                  </a:lnTo>
                  <a:lnTo>
                    <a:pt x="762" y="1267"/>
                  </a:lnTo>
                  <a:lnTo>
                    <a:pt x="758" y="1275"/>
                  </a:lnTo>
                  <a:lnTo>
                    <a:pt x="753" y="1283"/>
                  </a:lnTo>
                  <a:lnTo>
                    <a:pt x="748" y="1290"/>
                  </a:lnTo>
                  <a:lnTo>
                    <a:pt x="742" y="1297"/>
                  </a:lnTo>
                  <a:lnTo>
                    <a:pt x="735" y="1303"/>
                  </a:lnTo>
                  <a:lnTo>
                    <a:pt x="728" y="1310"/>
                  </a:lnTo>
                  <a:lnTo>
                    <a:pt x="721" y="1316"/>
                  </a:lnTo>
                  <a:lnTo>
                    <a:pt x="712" y="1321"/>
                  </a:lnTo>
                  <a:lnTo>
                    <a:pt x="696" y="1330"/>
                  </a:lnTo>
                  <a:lnTo>
                    <a:pt x="678" y="1337"/>
                  </a:lnTo>
                  <a:lnTo>
                    <a:pt x="667" y="1341"/>
                  </a:lnTo>
                  <a:lnTo>
                    <a:pt x="655" y="1344"/>
                  </a:lnTo>
                  <a:lnTo>
                    <a:pt x="643" y="1346"/>
                  </a:lnTo>
                  <a:lnTo>
                    <a:pt x="631" y="1349"/>
                  </a:lnTo>
                  <a:lnTo>
                    <a:pt x="605" y="1352"/>
                  </a:lnTo>
                  <a:lnTo>
                    <a:pt x="582" y="1355"/>
                  </a:lnTo>
                  <a:lnTo>
                    <a:pt x="559" y="1356"/>
                  </a:lnTo>
                  <a:lnTo>
                    <a:pt x="541" y="1357"/>
                  </a:lnTo>
                  <a:lnTo>
                    <a:pt x="527" y="1357"/>
                  </a:lnTo>
                  <a:lnTo>
                    <a:pt x="519" y="1357"/>
                  </a:lnTo>
                  <a:lnTo>
                    <a:pt x="489" y="1357"/>
                  </a:lnTo>
                  <a:lnTo>
                    <a:pt x="461" y="1356"/>
                  </a:lnTo>
                  <a:lnTo>
                    <a:pt x="433" y="1354"/>
                  </a:lnTo>
                  <a:lnTo>
                    <a:pt x="408" y="1351"/>
                  </a:lnTo>
                  <a:lnTo>
                    <a:pt x="384" y="1348"/>
                  </a:lnTo>
                  <a:lnTo>
                    <a:pt x="362" y="1343"/>
                  </a:lnTo>
                  <a:lnTo>
                    <a:pt x="340" y="1339"/>
                  </a:lnTo>
                  <a:lnTo>
                    <a:pt x="321" y="1333"/>
                  </a:lnTo>
                  <a:lnTo>
                    <a:pt x="302" y="1327"/>
                  </a:lnTo>
                  <a:lnTo>
                    <a:pt x="286" y="1320"/>
                  </a:lnTo>
                  <a:lnTo>
                    <a:pt x="271" y="1312"/>
                  </a:lnTo>
                  <a:lnTo>
                    <a:pt x="258" y="1303"/>
                  </a:lnTo>
                  <a:lnTo>
                    <a:pt x="244" y="1294"/>
                  </a:lnTo>
                  <a:lnTo>
                    <a:pt x="233" y="1284"/>
                  </a:lnTo>
                  <a:lnTo>
                    <a:pt x="223" y="1273"/>
                  </a:lnTo>
                  <a:lnTo>
                    <a:pt x="215" y="1262"/>
                  </a:lnTo>
                  <a:lnTo>
                    <a:pt x="212" y="1258"/>
                  </a:lnTo>
                  <a:lnTo>
                    <a:pt x="208" y="1252"/>
                  </a:lnTo>
                  <a:lnTo>
                    <a:pt x="204" y="1244"/>
                  </a:lnTo>
                  <a:lnTo>
                    <a:pt x="199" y="1235"/>
                  </a:lnTo>
                  <a:lnTo>
                    <a:pt x="196" y="1225"/>
                  </a:lnTo>
                  <a:lnTo>
                    <a:pt x="193" y="1213"/>
                  </a:lnTo>
                  <a:lnTo>
                    <a:pt x="191" y="1201"/>
                  </a:lnTo>
                  <a:lnTo>
                    <a:pt x="190" y="1187"/>
                  </a:lnTo>
                  <a:lnTo>
                    <a:pt x="191" y="1173"/>
                  </a:lnTo>
                  <a:lnTo>
                    <a:pt x="193" y="1161"/>
                  </a:lnTo>
                  <a:lnTo>
                    <a:pt x="196" y="1150"/>
                  </a:lnTo>
                  <a:lnTo>
                    <a:pt x="201" y="1140"/>
                  </a:lnTo>
                  <a:lnTo>
                    <a:pt x="208" y="1130"/>
                  </a:lnTo>
                  <a:lnTo>
                    <a:pt x="215" y="1121"/>
                  </a:lnTo>
                  <a:lnTo>
                    <a:pt x="223" y="1111"/>
                  </a:lnTo>
                  <a:lnTo>
                    <a:pt x="232" y="1101"/>
                  </a:lnTo>
                  <a:close/>
                  <a:moveTo>
                    <a:pt x="299" y="443"/>
                  </a:moveTo>
                  <a:lnTo>
                    <a:pt x="301" y="434"/>
                  </a:lnTo>
                  <a:lnTo>
                    <a:pt x="303" y="424"/>
                  </a:lnTo>
                  <a:lnTo>
                    <a:pt x="307" y="413"/>
                  </a:lnTo>
                  <a:lnTo>
                    <a:pt x="311" y="401"/>
                  </a:lnTo>
                  <a:lnTo>
                    <a:pt x="316" y="389"/>
                  </a:lnTo>
                  <a:lnTo>
                    <a:pt x="323" y="378"/>
                  </a:lnTo>
                  <a:lnTo>
                    <a:pt x="330" y="366"/>
                  </a:lnTo>
                  <a:lnTo>
                    <a:pt x="339" y="355"/>
                  </a:lnTo>
                  <a:lnTo>
                    <a:pt x="350" y="343"/>
                  </a:lnTo>
                  <a:lnTo>
                    <a:pt x="363" y="334"/>
                  </a:lnTo>
                  <a:lnTo>
                    <a:pt x="376" y="325"/>
                  </a:lnTo>
                  <a:lnTo>
                    <a:pt x="392" y="317"/>
                  </a:lnTo>
                  <a:lnTo>
                    <a:pt x="400" y="313"/>
                  </a:lnTo>
                  <a:lnTo>
                    <a:pt x="410" y="310"/>
                  </a:lnTo>
                  <a:lnTo>
                    <a:pt x="420" y="308"/>
                  </a:lnTo>
                  <a:lnTo>
                    <a:pt x="430" y="306"/>
                  </a:lnTo>
                  <a:lnTo>
                    <a:pt x="440" y="304"/>
                  </a:lnTo>
                  <a:lnTo>
                    <a:pt x="451" y="302"/>
                  </a:lnTo>
                  <a:lnTo>
                    <a:pt x="464" y="302"/>
                  </a:lnTo>
                  <a:lnTo>
                    <a:pt x="476" y="301"/>
                  </a:lnTo>
                  <a:lnTo>
                    <a:pt x="488" y="302"/>
                  </a:lnTo>
                  <a:lnTo>
                    <a:pt x="501" y="302"/>
                  </a:lnTo>
                  <a:lnTo>
                    <a:pt x="513" y="304"/>
                  </a:lnTo>
                  <a:lnTo>
                    <a:pt x="524" y="305"/>
                  </a:lnTo>
                  <a:lnTo>
                    <a:pt x="543" y="310"/>
                  </a:lnTo>
                  <a:lnTo>
                    <a:pt x="561" y="315"/>
                  </a:lnTo>
                  <a:lnTo>
                    <a:pt x="575" y="322"/>
                  </a:lnTo>
                  <a:lnTo>
                    <a:pt x="587" y="328"/>
                  </a:lnTo>
                  <a:lnTo>
                    <a:pt x="597" y="335"/>
                  </a:lnTo>
                  <a:lnTo>
                    <a:pt x="605" y="342"/>
                  </a:lnTo>
                  <a:lnTo>
                    <a:pt x="614" y="349"/>
                  </a:lnTo>
                  <a:lnTo>
                    <a:pt x="621" y="358"/>
                  </a:lnTo>
                  <a:lnTo>
                    <a:pt x="627" y="366"/>
                  </a:lnTo>
                  <a:lnTo>
                    <a:pt x="633" y="375"/>
                  </a:lnTo>
                  <a:lnTo>
                    <a:pt x="638" y="383"/>
                  </a:lnTo>
                  <a:lnTo>
                    <a:pt x="642" y="392"/>
                  </a:lnTo>
                  <a:lnTo>
                    <a:pt x="645" y="401"/>
                  </a:lnTo>
                  <a:lnTo>
                    <a:pt x="648" y="410"/>
                  </a:lnTo>
                  <a:lnTo>
                    <a:pt x="652" y="426"/>
                  </a:lnTo>
                  <a:lnTo>
                    <a:pt x="654" y="441"/>
                  </a:lnTo>
                  <a:lnTo>
                    <a:pt x="655" y="454"/>
                  </a:lnTo>
                  <a:lnTo>
                    <a:pt x="655" y="464"/>
                  </a:lnTo>
                  <a:lnTo>
                    <a:pt x="655" y="476"/>
                  </a:lnTo>
                  <a:lnTo>
                    <a:pt x="654" y="489"/>
                  </a:lnTo>
                  <a:lnTo>
                    <a:pt x="651" y="502"/>
                  </a:lnTo>
                  <a:lnTo>
                    <a:pt x="648" y="515"/>
                  </a:lnTo>
                  <a:lnTo>
                    <a:pt x="644" y="530"/>
                  </a:lnTo>
                  <a:lnTo>
                    <a:pt x="638" y="543"/>
                  </a:lnTo>
                  <a:lnTo>
                    <a:pt x="631" y="556"/>
                  </a:lnTo>
                  <a:lnTo>
                    <a:pt x="622" y="568"/>
                  </a:lnTo>
                  <a:lnTo>
                    <a:pt x="610" y="581"/>
                  </a:lnTo>
                  <a:lnTo>
                    <a:pt x="598" y="592"/>
                  </a:lnTo>
                  <a:lnTo>
                    <a:pt x="591" y="597"/>
                  </a:lnTo>
                  <a:lnTo>
                    <a:pt x="584" y="602"/>
                  </a:lnTo>
                  <a:lnTo>
                    <a:pt x="576" y="606"/>
                  </a:lnTo>
                  <a:lnTo>
                    <a:pt x="567" y="610"/>
                  </a:lnTo>
                  <a:lnTo>
                    <a:pt x="557" y="614"/>
                  </a:lnTo>
                  <a:lnTo>
                    <a:pt x="548" y="617"/>
                  </a:lnTo>
                  <a:lnTo>
                    <a:pt x="538" y="620"/>
                  </a:lnTo>
                  <a:lnTo>
                    <a:pt x="527" y="622"/>
                  </a:lnTo>
                  <a:lnTo>
                    <a:pt x="516" y="624"/>
                  </a:lnTo>
                  <a:lnTo>
                    <a:pt x="503" y="626"/>
                  </a:lnTo>
                  <a:lnTo>
                    <a:pt x="491" y="626"/>
                  </a:lnTo>
                  <a:lnTo>
                    <a:pt x="478" y="627"/>
                  </a:lnTo>
                  <a:lnTo>
                    <a:pt x="463" y="626"/>
                  </a:lnTo>
                  <a:lnTo>
                    <a:pt x="447" y="625"/>
                  </a:lnTo>
                  <a:lnTo>
                    <a:pt x="433" y="623"/>
                  </a:lnTo>
                  <a:lnTo>
                    <a:pt x="420" y="620"/>
                  </a:lnTo>
                  <a:lnTo>
                    <a:pt x="406" y="616"/>
                  </a:lnTo>
                  <a:lnTo>
                    <a:pt x="393" y="611"/>
                  </a:lnTo>
                  <a:lnTo>
                    <a:pt x="381" y="606"/>
                  </a:lnTo>
                  <a:lnTo>
                    <a:pt x="370" y="599"/>
                  </a:lnTo>
                  <a:lnTo>
                    <a:pt x="359" y="592"/>
                  </a:lnTo>
                  <a:lnTo>
                    <a:pt x="348" y="584"/>
                  </a:lnTo>
                  <a:lnTo>
                    <a:pt x="338" y="574"/>
                  </a:lnTo>
                  <a:lnTo>
                    <a:pt x="330" y="564"/>
                  </a:lnTo>
                  <a:lnTo>
                    <a:pt x="322" y="554"/>
                  </a:lnTo>
                  <a:lnTo>
                    <a:pt x="316" y="542"/>
                  </a:lnTo>
                  <a:lnTo>
                    <a:pt x="310" y="530"/>
                  </a:lnTo>
                  <a:lnTo>
                    <a:pt x="304" y="516"/>
                  </a:lnTo>
                  <a:lnTo>
                    <a:pt x="301" y="504"/>
                  </a:lnTo>
                  <a:lnTo>
                    <a:pt x="299" y="494"/>
                  </a:lnTo>
                  <a:lnTo>
                    <a:pt x="298" y="483"/>
                  </a:lnTo>
                  <a:lnTo>
                    <a:pt x="298" y="474"/>
                  </a:lnTo>
                  <a:lnTo>
                    <a:pt x="297" y="464"/>
                  </a:lnTo>
                  <a:lnTo>
                    <a:pt x="298" y="456"/>
                  </a:lnTo>
                  <a:lnTo>
                    <a:pt x="298" y="449"/>
                  </a:lnTo>
                  <a:lnTo>
                    <a:pt x="299" y="443"/>
                  </a:lnTo>
                  <a:close/>
                </a:path>
              </a:pathLst>
            </a:custGeom>
            <a:solidFill>
              <a:srgbClr val="5E737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276" u="sng">
                <a:solidFill>
                  <a:srgbClr val="000000"/>
                </a:solidFill>
                <a:latin typeface="Arial" charset="0"/>
                <a:cs typeface="Arial"/>
              </a:endParaRPr>
            </a:p>
          </p:txBody>
        </p:sp>
        <p:sp>
          <p:nvSpPr>
            <p:cNvPr id="27" name="Freeform 73"/>
            <p:cNvSpPr>
              <a:spLocks noEditPoints="1"/>
            </p:cNvSpPr>
            <p:nvPr userDrawn="1"/>
          </p:nvSpPr>
          <p:spPr bwMode="auto">
            <a:xfrm>
              <a:off x="5808" y="362"/>
              <a:ext cx="43" cy="50"/>
            </a:xfrm>
            <a:custGeom>
              <a:avLst/>
              <a:gdLst>
                <a:gd name="T0" fmla="*/ 0 w 873"/>
                <a:gd name="T1" fmla="*/ 0 h 1017"/>
                <a:gd name="T2" fmla="*/ 0 w 873"/>
                <a:gd name="T3" fmla="*/ 0 h 1017"/>
                <a:gd name="T4" fmla="*/ 0 w 873"/>
                <a:gd name="T5" fmla="*/ 0 h 1017"/>
                <a:gd name="T6" fmla="*/ 0 w 873"/>
                <a:gd name="T7" fmla="*/ 0 h 1017"/>
                <a:gd name="T8" fmla="*/ 0 w 873"/>
                <a:gd name="T9" fmla="*/ 0 h 1017"/>
                <a:gd name="T10" fmla="*/ 0 w 873"/>
                <a:gd name="T11" fmla="*/ 0 h 1017"/>
                <a:gd name="T12" fmla="*/ 0 w 873"/>
                <a:gd name="T13" fmla="*/ 0 h 1017"/>
                <a:gd name="T14" fmla="*/ 0 w 873"/>
                <a:gd name="T15" fmla="*/ 0 h 1017"/>
                <a:gd name="T16" fmla="*/ 0 w 873"/>
                <a:gd name="T17" fmla="*/ 0 h 1017"/>
                <a:gd name="T18" fmla="*/ 0 w 873"/>
                <a:gd name="T19" fmla="*/ 0 h 1017"/>
                <a:gd name="T20" fmla="*/ 0 w 873"/>
                <a:gd name="T21" fmla="*/ 0 h 1017"/>
                <a:gd name="T22" fmla="*/ 0 w 873"/>
                <a:gd name="T23" fmla="*/ 0 h 1017"/>
                <a:gd name="T24" fmla="*/ 0 w 873"/>
                <a:gd name="T25" fmla="*/ 0 h 1017"/>
                <a:gd name="T26" fmla="*/ 0 w 873"/>
                <a:gd name="T27" fmla="*/ 0 h 1017"/>
                <a:gd name="T28" fmla="*/ 0 w 873"/>
                <a:gd name="T29" fmla="*/ 0 h 1017"/>
                <a:gd name="T30" fmla="*/ 0 w 873"/>
                <a:gd name="T31" fmla="*/ 0 h 1017"/>
                <a:gd name="T32" fmla="*/ 0 w 873"/>
                <a:gd name="T33" fmla="*/ 0 h 1017"/>
                <a:gd name="T34" fmla="*/ 0 w 873"/>
                <a:gd name="T35" fmla="*/ 0 h 1017"/>
                <a:gd name="T36" fmla="*/ 0 w 873"/>
                <a:gd name="T37" fmla="*/ 0 h 1017"/>
                <a:gd name="T38" fmla="*/ 0 w 873"/>
                <a:gd name="T39" fmla="*/ 0 h 1017"/>
                <a:gd name="T40" fmla="*/ 0 w 873"/>
                <a:gd name="T41" fmla="*/ 0 h 1017"/>
                <a:gd name="T42" fmla="*/ 0 w 873"/>
                <a:gd name="T43" fmla="*/ 0 h 1017"/>
                <a:gd name="T44" fmla="*/ 0 w 873"/>
                <a:gd name="T45" fmla="*/ 0 h 1017"/>
                <a:gd name="T46" fmla="*/ 0 w 873"/>
                <a:gd name="T47" fmla="*/ 0 h 1017"/>
                <a:gd name="T48" fmla="*/ 0 w 873"/>
                <a:gd name="T49" fmla="*/ 0 h 1017"/>
                <a:gd name="T50" fmla="*/ 0 w 873"/>
                <a:gd name="T51" fmla="*/ 0 h 1017"/>
                <a:gd name="T52" fmla="*/ 0 w 873"/>
                <a:gd name="T53" fmla="*/ 0 h 1017"/>
                <a:gd name="T54" fmla="*/ 0 w 873"/>
                <a:gd name="T55" fmla="*/ 0 h 1017"/>
                <a:gd name="T56" fmla="*/ 0 w 873"/>
                <a:gd name="T57" fmla="*/ 0 h 1017"/>
                <a:gd name="T58" fmla="*/ 0 w 873"/>
                <a:gd name="T59" fmla="*/ 0 h 1017"/>
                <a:gd name="T60" fmla="*/ 0 w 873"/>
                <a:gd name="T61" fmla="*/ 0 h 1017"/>
                <a:gd name="T62" fmla="*/ 0 w 873"/>
                <a:gd name="T63" fmla="*/ 0 h 1017"/>
                <a:gd name="T64" fmla="*/ 0 w 873"/>
                <a:gd name="T65" fmla="*/ 0 h 1017"/>
                <a:gd name="T66" fmla="*/ 0 w 873"/>
                <a:gd name="T67" fmla="*/ 0 h 1017"/>
                <a:gd name="T68" fmla="*/ 0 w 873"/>
                <a:gd name="T69" fmla="*/ 0 h 1017"/>
                <a:gd name="T70" fmla="*/ 0 w 873"/>
                <a:gd name="T71" fmla="*/ 0 h 1017"/>
                <a:gd name="T72" fmla="*/ 0 w 873"/>
                <a:gd name="T73" fmla="*/ 0 h 1017"/>
                <a:gd name="T74" fmla="*/ 0 w 873"/>
                <a:gd name="T75" fmla="*/ 0 h 1017"/>
                <a:gd name="T76" fmla="*/ 0 w 873"/>
                <a:gd name="T77" fmla="*/ 0 h 1017"/>
                <a:gd name="T78" fmla="*/ 0 w 873"/>
                <a:gd name="T79" fmla="*/ 0 h 1017"/>
                <a:gd name="T80" fmla="*/ 0 w 873"/>
                <a:gd name="T81" fmla="*/ 0 h 1017"/>
                <a:gd name="T82" fmla="*/ 0 w 873"/>
                <a:gd name="T83" fmla="*/ 0 h 1017"/>
                <a:gd name="T84" fmla="*/ 0 w 873"/>
                <a:gd name="T85" fmla="*/ 0 h 1017"/>
                <a:gd name="T86" fmla="*/ 0 w 873"/>
                <a:gd name="T87" fmla="*/ 0 h 1017"/>
                <a:gd name="T88" fmla="*/ 0 w 873"/>
                <a:gd name="T89" fmla="*/ 0 h 1017"/>
                <a:gd name="T90" fmla="*/ 0 w 873"/>
                <a:gd name="T91" fmla="*/ 0 h 1017"/>
                <a:gd name="T92" fmla="*/ 0 w 873"/>
                <a:gd name="T93" fmla="*/ 0 h 1017"/>
                <a:gd name="T94" fmla="*/ 0 w 873"/>
                <a:gd name="T95" fmla="*/ 0 h 1017"/>
                <a:gd name="T96" fmla="*/ 0 w 873"/>
                <a:gd name="T97" fmla="*/ 0 h 1017"/>
                <a:gd name="T98" fmla="*/ 0 w 873"/>
                <a:gd name="T99" fmla="*/ 0 h 1017"/>
                <a:gd name="T100" fmla="*/ 0 w 873"/>
                <a:gd name="T101" fmla="*/ 0 h 1017"/>
                <a:gd name="T102" fmla="*/ 0 w 873"/>
                <a:gd name="T103" fmla="*/ 0 h 1017"/>
                <a:gd name="T104" fmla="*/ 0 w 873"/>
                <a:gd name="T105" fmla="*/ 0 h 1017"/>
                <a:gd name="T106" fmla="*/ 0 w 873"/>
                <a:gd name="T107" fmla="*/ 0 h 1017"/>
                <a:gd name="T108" fmla="*/ 0 w 873"/>
                <a:gd name="T109" fmla="*/ 0 h 1017"/>
                <a:gd name="T110" fmla="*/ 0 w 873"/>
                <a:gd name="T111" fmla="*/ 0 h 1017"/>
                <a:gd name="T112" fmla="*/ 0 w 873"/>
                <a:gd name="T113" fmla="*/ 0 h 1017"/>
                <a:gd name="T114" fmla="*/ 0 w 873"/>
                <a:gd name="T115" fmla="*/ 0 h 1017"/>
                <a:gd name="T116" fmla="*/ 0 w 873"/>
                <a:gd name="T117" fmla="*/ 0 h 1017"/>
                <a:gd name="T118" fmla="*/ 0 w 873"/>
                <a:gd name="T119" fmla="*/ 0 h 1017"/>
                <a:gd name="T120" fmla="*/ 0 w 873"/>
                <a:gd name="T121" fmla="*/ 0 h 1017"/>
                <a:gd name="T122" fmla="*/ 0 w 873"/>
                <a:gd name="T123" fmla="*/ 0 h 1017"/>
                <a:gd name="T124" fmla="*/ 0 w 873"/>
                <a:gd name="T125" fmla="*/ 0 h 101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873" h="1017">
                  <a:moveTo>
                    <a:pt x="873" y="537"/>
                  </a:moveTo>
                  <a:lnTo>
                    <a:pt x="873" y="509"/>
                  </a:lnTo>
                  <a:lnTo>
                    <a:pt x="872" y="481"/>
                  </a:lnTo>
                  <a:lnTo>
                    <a:pt x="871" y="451"/>
                  </a:lnTo>
                  <a:lnTo>
                    <a:pt x="869" y="423"/>
                  </a:lnTo>
                  <a:lnTo>
                    <a:pt x="867" y="394"/>
                  </a:lnTo>
                  <a:lnTo>
                    <a:pt x="863" y="366"/>
                  </a:lnTo>
                  <a:lnTo>
                    <a:pt x="857" y="338"/>
                  </a:lnTo>
                  <a:lnTo>
                    <a:pt x="851" y="311"/>
                  </a:lnTo>
                  <a:lnTo>
                    <a:pt x="848" y="301"/>
                  </a:lnTo>
                  <a:lnTo>
                    <a:pt x="844" y="287"/>
                  </a:lnTo>
                  <a:lnTo>
                    <a:pt x="839" y="273"/>
                  </a:lnTo>
                  <a:lnTo>
                    <a:pt x="833" y="256"/>
                  </a:lnTo>
                  <a:lnTo>
                    <a:pt x="825" y="238"/>
                  </a:lnTo>
                  <a:lnTo>
                    <a:pt x="815" y="219"/>
                  </a:lnTo>
                  <a:lnTo>
                    <a:pt x="803" y="199"/>
                  </a:lnTo>
                  <a:lnTo>
                    <a:pt x="790" y="178"/>
                  </a:lnTo>
                  <a:lnTo>
                    <a:pt x="779" y="163"/>
                  </a:lnTo>
                  <a:lnTo>
                    <a:pt x="769" y="150"/>
                  </a:lnTo>
                  <a:lnTo>
                    <a:pt x="757" y="137"/>
                  </a:lnTo>
                  <a:lnTo>
                    <a:pt x="746" y="124"/>
                  </a:lnTo>
                  <a:lnTo>
                    <a:pt x="734" y="112"/>
                  </a:lnTo>
                  <a:lnTo>
                    <a:pt x="723" y="102"/>
                  </a:lnTo>
                  <a:lnTo>
                    <a:pt x="711" y="92"/>
                  </a:lnTo>
                  <a:lnTo>
                    <a:pt x="699" y="82"/>
                  </a:lnTo>
                  <a:lnTo>
                    <a:pt x="687" y="74"/>
                  </a:lnTo>
                  <a:lnTo>
                    <a:pt x="675" y="65"/>
                  </a:lnTo>
                  <a:lnTo>
                    <a:pt x="663" y="57"/>
                  </a:lnTo>
                  <a:lnTo>
                    <a:pt x="650" y="51"/>
                  </a:lnTo>
                  <a:lnTo>
                    <a:pt x="626" y="39"/>
                  </a:lnTo>
                  <a:lnTo>
                    <a:pt x="601" y="29"/>
                  </a:lnTo>
                  <a:lnTo>
                    <a:pt x="578" y="21"/>
                  </a:lnTo>
                  <a:lnTo>
                    <a:pt x="555" y="13"/>
                  </a:lnTo>
                  <a:lnTo>
                    <a:pt x="533" y="8"/>
                  </a:lnTo>
                  <a:lnTo>
                    <a:pt x="512" y="5"/>
                  </a:lnTo>
                  <a:lnTo>
                    <a:pt x="492" y="2"/>
                  </a:lnTo>
                  <a:lnTo>
                    <a:pt x="475" y="1"/>
                  </a:lnTo>
                  <a:lnTo>
                    <a:pt x="459" y="0"/>
                  </a:lnTo>
                  <a:lnTo>
                    <a:pt x="444" y="0"/>
                  </a:lnTo>
                  <a:lnTo>
                    <a:pt x="426" y="0"/>
                  </a:lnTo>
                  <a:lnTo>
                    <a:pt x="408" y="1"/>
                  </a:lnTo>
                  <a:lnTo>
                    <a:pt x="389" y="3"/>
                  </a:lnTo>
                  <a:lnTo>
                    <a:pt x="371" y="5"/>
                  </a:lnTo>
                  <a:lnTo>
                    <a:pt x="354" y="8"/>
                  </a:lnTo>
                  <a:lnTo>
                    <a:pt x="336" y="12"/>
                  </a:lnTo>
                  <a:lnTo>
                    <a:pt x="320" y="17"/>
                  </a:lnTo>
                  <a:lnTo>
                    <a:pt x="304" y="22"/>
                  </a:lnTo>
                  <a:lnTo>
                    <a:pt x="287" y="28"/>
                  </a:lnTo>
                  <a:lnTo>
                    <a:pt x="271" y="34"/>
                  </a:lnTo>
                  <a:lnTo>
                    <a:pt x="256" y="41"/>
                  </a:lnTo>
                  <a:lnTo>
                    <a:pt x="240" y="48"/>
                  </a:lnTo>
                  <a:lnTo>
                    <a:pt x="225" y="56"/>
                  </a:lnTo>
                  <a:lnTo>
                    <a:pt x="211" y="65"/>
                  </a:lnTo>
                  <a:lnTo>
                    <a:pt x="196" y="75"/>
                  </a:lnTo>
                  <a:lnTo>
                    <a:pt x="183" y="84"/>
                  </a:lnTo>
                  <a:lnTo>
                    <a:pt x="170" y="95"/>
                  </a:lnTo>
                  <a:lnTo>
                    <a:pt x="158" y="105"/>
                  </a:lnTo>
                  <a:lnTo>
                    <a:pt x="144" y="117"/>
                  </a:lnTo>
                  <a:lnTo>
                    <a:pt x="133" y="129"/>
                  </a:lnTo>
                  <a:lnTo>
                    <a:pt x="122" y="142"/>
                  </a:lnTo>
                  <a:lnTo>
                    <a:pt x="111" y="154"/>
                  </a:lnTo>
                  <a:lnTo>
                    <a:pt x="100" y="168"/>
                  </a:lnTo>
                  <a:lnTo>
                    <a:pt x="90" y="181"/>
                  </a:lnTo>
                  <a:lnTo>
                    <a:pt x="80" y="196"/>
                  </a:lnTo>
                  <a:lnTo>
                    <a:pt x="71" y="211"/>
                  </a:lnTo>
                  <a:lnTo>
                    <a:pt x="63" y="226"/>
                  </a:lnTo>
                  <a:lnTo>
                    <a:pt x="55" y="242"/>
                  </a:lnTo>
                  <a:lnTo>
                    <a:pt x="48" y="258"/>
                  </a:lnTo>
                  <a:lnTo>
                    <a:pt x="40" y="275"/>
                  </a:lnTo>
                  <a:lnTo>
                    <a:pt x="33" y="291"/>
                  </a:lnTo>
                  <a:lnTo>
                    <a:pt x="28" y="309"/>
                  </a:lnTo>
                  <a:lnTo>
                    <a:pt x="19" y="341"/>
                  </a:lnTo>
                  <a:lnTo>
                    <a:pt x="12" y="373"/>
                  </a:lnTo>
                  <a:lnTo>
                    <a:pt x="7" y="402"/>
                  </a:lnTo>
                  <a:lnTo>
                    <a:pt x="4" y="431"/>
                  </a:lnTo>
                  <a:lnTo>
                    <a:pt x="2" y="456"/>
                  </a:lnTo>
                  <a:lnTo>
                    <a:pt x="1" y="478"/>
                  </a:lnTo>
                  <a:lnTo>
                    <a:pt x="0" y="497"/>
                  </a:lnTo>
                  <a:lnTo>
                    <a:pt x="0" y="511"/>
                  </a:lnTo>
                  <a:lnTo>
                    <a:pt x="0" y="536"/>
                  </a:lnTo>
                  <a:lnTo>
                    <a:pt x="1" y="560"/>
                  </a:lnTo>
                  <a:lnTo>
                    <a:pt x="3" y="584"/>
                  </a:lnTo>
                  <a:lnTo>
                    <a:pt x="5" y="606"/>
                  </a:lnTo>
                  <a:lnTo>
                    <a:pt x="7" y="627"/>
                  </a:lnTo>
                  <a:lnTo>
                    <a:pt x="11" y="648"/>
                  </a:lnTo>
                  <a:lnTo>
                    <a:pt x="14" y="668"/>
                  </a:lnTo>
                  <a:lnTo>
                    <a:pt x="18" y="688"/>
                  </a:lnTo>
                  <a:lnTo>
                    <a:pt x="23" y="706"/>
                  </a:lnTo>
                  <a:lnTo>
                    <a:pt x="28" y="723"/>
                  </a:lnTo>
                  <a:lnTo>
                    <a:pt x="33" y="739"/>
                  </a:lnTo>
                  <a:lnTo>
                    <a:pt x="39" y="756"/>
                  </a:lnTo>
                  <a:lnTo>
                    <a:pt x="45" y="771"/>
                  </a:lnTo>
                  <a:lnTo>
                    <a:pt x="53" y="786"/>
                  </a:lnTo>
                  <a:lnTo>
                    <a:pt x="60" y="801"/>
                  </a:lnTo>
                  <a:lnTo>
                    <a:pt x="67" y="814"/>
                  </a:lnTo>
                  <a:lnTo>
                    <a:pt x="75" y="827"/>
                  </a:lnTo>
                  <a:lnTo>
                    <a:pt x="82" y="839"/>
                  </a:lnTo>
                  <a:lnTo>
                    <a:pt x="90" y="850"/>
                  </a:lnTo>
                  <a:lnTo>
                    <a:pt x="100" y="862"/>
                  </a:lnTo>
                  <a:lnTo>
                    <a:pt x="117" y="882"/>
                  </a:lnTo>
                  <a:lnTo>
                    <a:pt x="135" y="900"/>
                  </a:lnTo>
                  <a:lnTo>
                    <a:pt x="154" y="918"/>
                  </a:lnTo>
                  <a:lnTo>
                    <a:pt x="173" y="932"/>
                  </a:lnTo>
                  <a:lnTo>
                    <a:pt x="192" y="945"/>
                  </a:lnTo>
                  <a:lnTo>
                    <a:pt x="212" y="957"/>
                  </a:lnTo>
                  <a:lnTo>
                    <a:pt x="229" y="967"/>
                  </a:lnTo>
                  <a:lnTo>
                    <a:pt x="246" y="976"/>
                  </a:lnTo>
                  <a:lnTo>
                    <a:pt x="264" y="983"/>
                  </a:lnTo>
                  <a:lnTo>
                    <a:pt x="281" y="990"/>
                  </a:lnTo>
                  <a:lnTo>
                    <a:pt x="297" y="995"/>
                  </a:lnTo>
                  <a:lnTo>
                    <a:pt x="314" y="1000"/>
                  </a:lnTo>
                  <a:lnTo>
                    <a:pt x="329" y="1004"/>
                  </a:lnTo>
                  <a:lnTo>
                    <a:pt x="344" y="1007"/>
                  </a:lnTo>
                  <a:lnTo>
                    <a:pt x="372" y="1012"/>
                  </a:lnTo>
                  <a:lnTo>
                    <a:pt x="397" y="1015"/>
                  </a:lnTo>
                  <a:lnTo>
                    <a:pt x="419" y="1016"/>
                  </a:lnTo>
                  <a:lnTo>
                    <a:pt x="437" y="1017"/>
                  </a:lnTo>
                  <a:lnTo>
                    <a:pt x="464" y="1016"/>
                  </a:lnTo>
                  <a:lnTo>
                    <a:pt x="490" y="1014"/>
                  </a:lnTo>
                  <a:lnTo>
                    <a:pt x="516" y="1010"/>
                  </a:lnTo>
                  <a:lnTo>
                    <a:pt x="542" y="1005"/>
                  </a:lnTo>
                  <a:lnTo>
                    <a:pt x="568" y="999"/>
                  </a:lnTo>
                  <a:lnTo>
                    <a:pt x="592" y="991"/>
                  </a:lnTo>
                  <a:lnTo>
                    <a:pt x="617" y="982"/>
                  </a:lnTo>
                  <a:lnTo>
                    <a:pt x="640" y="972"/>
                  </a:lnTo>
                  <a:lnTo>
                    <a:pt x="664" y="959"/>
                  </a:lnTo>
                  <a:lnTo>
                    <a:pt x="685" y="946"/>
                  </a:lnTo>
                  <a:lnTo>
                    <a:pt x="706" y="932"/>
                  </a:lnTo>
                  <a:lnTo>
                    <a:pt x="727" y="916"/>
                  </a:lnTo>
                  <a:lnTo>
                    <a:pt x="746" y="898"/>
                  </a:lnTo>
                  <a:lnTo>
                    <a:pt x="765" y="880"/>
                  </a:lnTo>
                  <a:lnTo>
                    <a:pt x="782" y="861"/>
                  </a:lnTo>
                  <a:lnTo>
                    <a:pt x="797" y="839"/>
                  </a:lnTo>
                  <a:lnTo>
                    <a:pt x="808" y="821"/>
                  </a:lnTo>
                  <a:lnTo>
                    <a:pt x="820" y="802"/>
                  </a:lnTo>
                  <a:lnTo>
                    <a:pt x="830" y="783"/>
                  </a:lnTo>
                  <a:lnTo>
                    <a:pt x="839" y="765"/>
                  </a:lnTo>
                  <a:lnTo>
                    <a:pt x="847" y="748"/>
                  </a:lnTo>
                  <a:lnTo>
                    <a:pt x="853" y="733"/>
                  </a:lnTo>
                  <a:lnTo>
                    <a:pt x="858" y="722"/>
                  </a:lnTo>
                  <a:lnTo>
                    <a:pt x="861" y="715"/>
                  </a:lnTo>
                  <a:lnTo>
                    <a:pt x="661" y="683"/>
                  </a:lnTo>
                  <a:lnTo>
                    <a:pt x="657" y="692"/>
                  </a:lnTo>
                  <a:lnTo>
                    <a:pt x="654" y="700"/>
                  </a:lnTo>
                  <a:lnTo>
                    <a:pt x="651" y="708"/>
                  </a:lnTo>
                  <a:lnTo>
                    <a:pt x="648" y="715"/>
                  </a:lnTo>
                  <a:lnTo>
                    <a:pt x="645" y="723"/>
                  </a:lnTo>
                  <a:lnTo>
                    <a:pt x="641" y="730"/>
                  </a:lnTo>
                  <a:lnTo>
                    <a:pt x="637" y="737"/>
                  </a:lnTo>
                  <a:lnTo>
                    <a:pt x="632" y="746"/>
                  </a:lnTo>
                  <a:lnTo>
                    <a:pt x="624" y="757"/>
                  </a:lnTo>
                  <a:lnTo>
                    <a:pt x="616" y="767"/>
                  </a:lnTo>
                  <a:lnTo>
                    <a:pt x="606" y="776"/>
                  </a:lnTo>
                  <a:lnTo>
                    <a:pt x="596" y="786"/>
                  </a:lnTo>
                  <a:lnTo>
                    <a:pt x="586" y="794"/>
                  </a:lnTo>
                  <a:lnTo>
                    <a:pt x="575" y="803"/>
                  </a:lnTo>
                  <a:lnTo>
                    <a:pt x="564" y="810"/>
                  </a:lnTo>
                  <a:lnTo>
                    <a:pt x="552" y="817"/>
                  </a:lnTo>
                  <a:lnTo>
                    <a:pt x="540" y="823"/>
                  </a:lnTo>
                  <a:lnTo>
                    <a:pt x="528" y="828"/>
                  </a:lnTo>
                  <a:lnTo>
                    <a:pt x="516" y="832"/>
                  </a:lnTo>
                  <a:lnTo>
                    <a:pt x="502" y="836"/>
                  </a:lnTo>
                  <a:lnTo>
                    <a:pt x="490" y="839"/>
                  </a:lnTo>
                  <a:lnTo>
                    <a:pt x="477" y="841"/>
                  </a:lnTo>
                  <a:lnTo>
                    <a:pt x="464" y="842"/>
                  </a:lnTo>
                  <a:lnTo>
                    <a:pt x="450" y="842"/>
                  </a:lnTo>
                  <a:lnTo>
                    <a:pt x="439" y="842"/>
                  </a:lnTo>
                  <a:lnTo>
                    <a:pt x="426" y="841"/>
                  </a:lnTo>
                  <a:lnTo>
                    <a:pt x="412" y="839"/>
                  </a:lnTo>
                  <a:lnTo>
                    <a:pt x="395" y="835"/>
                  </a:lnTo>
                  <a:lnTo>
                    <a:pt x="387" y="833"/>
                  </a:lnTo>
                  <a:lnTo>
                    <a:pt x="379" y="829"/>
                  </a:lnTo>
                  <a:lnTo>
                    <a:pt x="370" y="826"/>
                  </a:lnTo>
                  <a:lnTo>
                    <a:pt x="362" y="821"/>
                  </a:lnTo>
                  <a:lnTo>
                    <a:pt x="353" y="816"/>
                  </a:lnTo>
                  <a:lnTo>
                    <a:pt x="343" y="810"/>
                  </a:lnTo>
                  <a:lnTo>
                    <a:pt x="334" y="803"/>
                  </a:lnTo>
                  <a:lnTo>
                    <a:pt x="325" y="794"/>
                  </a:lnTo>
                  <a:lnTo>
                    <a:pt x="311" y="781"/>
                  </a:lnTo>
                  <a:lnTo>
                    <a:pt x="297" y="767"/>
                  </a:lnTo>
                  <a:lnTo>
                    <a:pt x="286" y="753"/>
                  </a:lnTo>
                  <a:lnTo>
                    <a:pt x="277" y="737"/>
                  </a:lnTo>
                  <a:lnTo>
                    <a:pt x="269" y="723"/>
                  </a:lnTo>
                  <a:lnTo>
                    <a:pt x="262" y="708"/>
                  </a:lnTo>
                  <a:lnTo>
                    <a:pt x="256" y="694"/>
                  </a:lnTo>
                  <a:lnTo>
                    <a:pt x="251" y="679"/>
                  </a:lnTo>
                  <a:lnTo>
                    <a:pt x="246" y="666"/>
                  </a:lnTo>
                  <a:lnTo>
                    <a:pt x="243" y="653"/>
                  </a:lnTo>
                  <a:lnTo>
                    <a:pt x="240" y="641"/>
                  </a:lnTo>
                  <a:lnTo>
                    <a:pt x="238" y="629"/>
                  </a:lnTo>
                  <a:lnTo>
                    <a:pt x="236" y="609"/>
                  </a:lnTo>
                  <a:lnTo>
                    <a:pt x="234" y="594"/>
                  </a:lnTo>
                  <a:lnTo>
                    <a:pt x="233" y="587"/>
                  </a:lnTo>
                  <a:lnTo>
                    <a:pt x="233" y="580"/>
                  </a:lnTo>
                  <a:lnTo>
                    <a:pt x="232" y="572"/>
                  </a:lnTo>
                  <a:lnTo>
                    <a:pt x="232" y="565"/>
                  </a:lnTo>
                  <a:lnTo>
                    <a:pt x="231" y="559"/>
                  </a:lnTo>
                  <a:lnTo>
                    <a:pt x="231" y="552"/>
                  </a:lnTo>
                  <a:lnTo>
                    <a:pt x="230" y="546"/>
                  </a:lnTo>
                  <a:lnTo>
                    <a:pt x="230" y="540"/>
                  </a:lnTo>
                  <a:lnTo>
                    <a:pt x="873" y="537"/>
                  </a:lnTo>
                  <a:close/>
                  <a:moveTo>
                    <a:pt x="225" y="397"/>
                  </a:moveTo>
                  <a:lnTo>
                    <a:pt x="227" y="380"/>
                  </a:lnTo>
                  <a:lnTo>
                    <a:pt x="229" y="365"/>
                  </a:lnTo>
                  <a:lnTo>
                    <a:pt x="231" y="353"/>
                  </a:lnTo>
                  <a:lnTo>
                    <a:pt x="233" y="342"/>
                  </a:lnTo>
                  <a:lnTo>
                    <a:pt x="235" y="332"/>
                  </a:lnTo>
                  <a:lnTo>
                    <a:pt x="238" y="323"/>
                  </a:lnTo>
                  <a:lnTo>
                    <a:pt x="241" y="315"/>
                  </a:lnTo>
                  <a:lnTo>
                    <a:pt x="245" y="306"/>
                  </a:lnTo>
                  <a:lnTo>
                    <a:pt x="252" y="290"/>
                  </a:lnTo>
                  <a:lnTo>
                    <a:pt x="258" y="277"/>
                  </a:lnTo>
                  <a:lnTo>
                    <a:pt x="265" y="265"/>
                  </a:lnTo>
                  <a:lnTo>
                    <a:pt x="272" y="253"/>
                  </a:lnTo>
                  <a:lnTo>
                    <a:pt x="280" y="243"/>
                  </a:lnTo>
                  <a:lnTo>
                    <a:pt x="288" y="232"/>
                  </a:lnTo>
                  <a:lnTo>
                    <a:pt x="296" y="223"/>
                  </a:lnTo>
                  <a:lnTo>
                    <a:pt x="305" y="215"/>
                  </a:lnTo>
                  <a:lnTo>
                    <a:pt x="321" y="201"/>
                  </a:lnTo>
                  <a:lnTo>
                    <a:pt x="337" y="190"/>
                  </a:lnTo>
                  <a:lnTo>
                    <a:pt x="351" y="180"/>
                  </a:lnTo>
                  <a:lnTo>
                    <a:pt x="364" y="174"/>
                  </a:lnTo>
                  <a:lnTo>
                    <a:pt x="369" y="171"/>
                  </a:lnTo>
                  <a:lnTo>
                    <a:pt x="376" y="168"/>
                  </a:lnTo>
                  <a:lnTo>
                    <a:pt x="384" y="165"/>
                  </a:lnTo>
                  <a:lnTo>
                    <a:pt x="393" y="162"/>
                  </a:lnTo>
                  <a:lnTo>
                    <a:pt x="404" y="160"/>
                  </a:lnTo>
                  <a:lnTo>
                    <a:pt x="415" y="157"/>
                  </a:lnTo>
                  <a:lnTo>
                    <a:pt x="428" y="156"/>
                  </a:lnTo>
                  <a:lnTo>
                    <a:pt x="441" y="155"/>
                  </a:lnTo>
                  <a:lnTo>
                    <a:pt x="450" y="155"/>
                  </a:lnTo>
                  <a:lnTo>
                    <a:pt x="462" y="156"/>
                  </a:lnTo>
                  <a:lnTo>
                    <a:pt x="474" y="158"/>
                  </a:lnTo>
                  <a:lnTo>
                    <a:pt x="488" y="162"/>
                  </a:lnTo>
                  <a:lnTo>
                    <a:pt x="503" y="167"/>
                  </a:lnTo>
                  <a:lnTo>
                    <a:pt x="520" y="174"/>
                  </a:lnTo>
                  <a:lnTo>
                    <a:pt x="537" y="185"/>
                  </a:lnTo>
                  <a:lnTo>
                    <a:pt x="555" y="197"/>
                  </a:lnTo>
                  <a:lnTo>
                    <a:pt x="568" y="207"/>
                  </a:lnTo>
                  <a:lnTo>
                    <a:pt x="579" y="217"/>
                  </a:lnTo>
                  <a:lnTo>
                    <a:pt x="589" y="227"/>
                  </a:lnTo>
                  <a:lnTo>
                    <a:pt x="598" y="238"/>
                  </a:lnTo>
                  <a:lnTo>
                    <a:pt x="606" y="250"/>
                  </a:lnTo>
                  <a:lnTo>
                    <a:pt x="614" y="261"/>
                  </a:lnTo>
                  <a:lnTo>
                    <a:pt x="620" y="273"/>
                  </a:lnTo>
                  <a:lnTo>
                    <a:pt x="626" y="285"/>
                  </a:lnTo>
                  <a:lnTo>
                    <a:pt x="631" y="299"/>
                  </a:lnTo>
                  <a:lnTo>
                    <a:pt x="635" y="311"/>
                  </a:lnTo>
                  <a:lnTo>
                    <a:pt x="639" y="324"/>
                  </a:lnTo>
                  <a:lnTo>
                    <a:pt x="642" y="338"/>
                  </a:lnTo>
                  <a:lnTo>
                    <a:pt x="647" y="367"/>
                  </a:lnTo>
                  <a:lnTo>
                    <a:pt x="652" y="397"/>
                  </a:lnTo>
                  <a:lnTo>
                    <a:pt x="225" y="397"/>
                  </a:lnTo>
                  <a:close/>
                </a:path>
              </a:pathLst>
            </a:custGeom>
            <a:solidFill>
              <a:srgbClr val="5E737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276" u="sng">
                <a:solidFill>
                  <a:srgbClr val="000000"/>
                </a:solidFill>
                <a:latin typeface="Arial" charset="0"/>
                <a:cs typeface="Arial"/>
              </a:endParaRPr>
            </a:p>
          </p:txBody>
        </p:sp>
        <p:sp>
          <p:nvSpPr>
            <p:cNvPr id="28" name="Freeform 74"/>
            <p:cNvSpPr>
              <a:spLocks/>
            </p:cNvSpPr>
            <p:nvPr userDrawn="1"/>
          </p:nvSpPr>
          <p:spPr bwMode="auto">
            <a:xfrm>
              <a:off x="5861" y="361"/>
              <a:ext cx="40" cy="50"/>
            </a:xfrm>
            <a:custGeom>
              <a:avLst/>
              <a:gdLst>
                <a:gd name="T0" fmla="*/ 0 w 798"/>
                <a:gd name="T1" fmla="*/ 0 h 1000"/>
                <a:gd name="T2" fmla="*/ 0 w 798"/>
                <a:gd name="T3" fmla="*/ 0 h 1000"/>
                <a:gd name="T4" fmla="*/ 0 w 798"/>
                <a:gd name="T5" fmla="*/ 0 h 1000"/>
                <a:gd name="T6" fmla="*/ 0 w 798"/>
                <a:gd name="T7" fmla="*/ 0 h 1000"/>
                <a:gd name="T8" fmla="*/ 0 w 798"/>
                <a:gd name="T9" fmla="*/ 0 h 1000"/>
                <a:gd name="T10" fmla="*/ 0 w 798"/>
                <a:gd name="T11" fmla="*/ 0 h 1000"/>
                <a:gd name="T12" fmla="*/ 0 w 798"/>
                <a:gd name="T13" fmla="*/ 0 h 1000"/>
                <a:gd name="T14" fmla="*/ 0 w 798"/>
                <a:gd name="T15" fmla="*/ 0 h 1000"/>
                <a:gd name="T16" fmla="*/ 0 w 798"/>
                <a:gd name="T17" fmla="*/ 0 h 1000"/>
                <a:gd name="T18" fmla="*/ 0 w 798"/>
                <a:gd name="T19" fmla="*/ 0 h 1000"/>
                <a:gd name="T20" fmla="*/ 0 w 798"/>
                <a:gd name="T21" fmla="*/ 0 h 1000"/>
                <a:gd name="T22" fmla="*/ 0 w 798"/>
                <a:gd name="T23" fmla="*/ 0 h 1000"/>
                <a:gd name="T24" fmla="*/ 0 w 798"/>
                <a:gd name="T25" fmla="*/ 0 h 1000"/>
                <a:gd name="T26" fmla="*/ 0 w 798"/>
                <a:gd name="T27" fmla="*/ 0 h 1000"/>
                <a:gd name="T28" fmla="*/ 0 w 798"/>
                <a:gd name="T29" fmla="*/ 0 h 1000"/>
                <a:gd name="T30" fmla="*/ 0 w 798"/>
                <a:gd name="T31" fmla="*/ 0 h 1000"/>
                <a:gd name="T32" fmla="*/ 0 w 798"/>
                <a:gd name="T33" fmla="*/ 0 h 1000"/>
                <a:gd name="T34" fmla="*/ 0 w 798"/>
                <a:gd name="T35" fmla="*/ 0 h 1000"/>
                <a:gd name="T36" fmla="*/ 0 w 798"/>
                <a:gd name="T37" fmla="*/ 0 h 1000"/>
                <a:gd name="T38" fmla="*/ 0 w 798"/>
                <a:gd name="T39" fmla="*/ 0 h 1000"/>
                <a:gd name="T40" fmla="*/ 0 w 798"/>
                <a:gd name="T41" fmla="*/ 0 h 1000"/>
                <a:gd name="T42" fmla="*/ 0 w 798"/>
                <a:gd name="T43" fmla="*/ 0 h 1000"/>
                <a:gd name="T44" fmla="*/ 0 w 798"/>
                <a:gd name="T45" fmla="*/ 0 h 1000"/>
                <a:gd name="T46" fmla="*/ 0 w 798"/>
                <a:gd name="T47" fmla="*/ 0 h 1000"/>
                <a:gd name="T48" fmla="*/ 0 w 798"/>
                <a:gd name="T49" fmla="*/ 0 h 1000"/>
                <a:gd name="T50" fmla="*/ 0 w 798"/>
                <a:gd name="T51" fmla="*/ 0 h 1000"/>
                <a:gd name="T52" fmla="*/ 0 w 798"/>
                <a:gd name="T53" fmla="*/ 0 h 1000"/>
                <a:gd name="T54" fmla="*/ 0 w 798"/>
                <a:gd name="T55" fmla="*/ 0 h 1000"/>
                <a:gd name="T56" fmla="*/ 0 w 798"/>
                <a:gd name="T57" fmla="*/ 0 h 1000"/>
                <a:gd name="T58" fmla="*/ 0 w 798"/>
                <a:gd name="T59" fmla="*/ 0 h 1000"/>
                <a:gd name="T60" fmla="*/ 0 w 798"/>
                <a:gd name="T61" fmla="*/ 0 h 1000"/>
                <a:gd name="T62" fmla="*/ 0 w 798"/>
                <a:gd name="T63" fmla="*/ 0 h 1000"/>
                <a:gd name="T64" fmla="*/ 0 w 798"/>
                <a:gd name="T65" fmla="*/ 0 h 1000"/>
                <a:gd name="T66" fmla="*/ 0 w 798"/>
                <a:gd name="T67" fmla="*/ 0 h 1000"/>
                <a:gd name="T68" fmla="*/ 0 w 798"/>
                <a:gd name="T69" fmla="*/ 0 h 1000"/>
                <a:gd name="T70" fmla="*/ 0 w 798"/>
                <a:gd name="T71" fmla="*/ 0 h 1000"/>
                <a:gd name="T72" fmla="*/ 0 w 798"/>
                <a:gd name="T73" fmla="*/ 0 h 1000"/>
                <a:gd name="T74" fmla="*/ 0 w 798"/>
                <a:gd name="T75" fmla="*/ 0 h 1000"/>
                <a:gd name="T76" fmla="*/ 0 w 798"/>
                <a:gd name="T77" fmla="*/ 0 h 1000"/>
                <a:gd name="T78" fmla="*/ 0 w 798"/>
                <a:gd name="T79" fmla="*/ 0 h 1000"/>
                <a:gd name="T80" fmla="*/ 0 w 798"/>
                <a:gd name="T81" fmla="*/ 0 h 1000"/>
                <a:gd name="T82" fmla="*/ 0 w 798"/>
                <a:gd name="T83" fmla="*/ 0 h 1000"/>
                <a:gd name="T84" fmla="*/ 0 w 798"/>
                <a:gd name="T85" fmla="*/ 0 h 1000"/>
                <a:gd name="T86" fmla="*/ 0 w 798"/>
                <a:gd name="T87" fmla="*/ 0 h 1000"/>
                <a:gd name="T88" fmla="*/ 0 w 798"/>
                <a:gd name="T89" fmla="*/ 0 h 1000"/>
                <a:gd name="T90" fmla="*/ 0 w 798"/>
                <a:gd name="T91" fmla="*/ 0 h 1000"/>
                <a:gd name="T92" fmla="*/ 0 w 798"/>
                <a:gd name="T93" fmla="*/ 0 h 1000"/>
                <a:gd name="T94" fmla="*/ 0 w 798"/>
                <a:gd name="T95" fmla="*/ 0 h 1000"/>
                <a:gd name="T96" fmla="*/ 0 w 798"/>
                <a:gd name="T97" fmla="*/ 0 h 1000"/>
                <a:gd name="T98" fmla="*/ 0 w 798"/>
                <a:gd name="T99" fmla="*/ 0 h 1000"/>
                <a:gd name="T100" fmla="*/ 0 w 798"/>
                <a:gd name="T101" fmla="*/ 0 h 1000"/>
                <a:gd name="T102" fmla="*/ 0 w 798"/>
                <a:gd name="T103" fmla="*/ 0 h 1000"/>
                <a:gd name="T104" fmla="*/ 0 w 798"/>
                <a:gd name="T105" fmla="*/ 0 h 1000"/>
                <a:gd name="T106" fmla="*/ 0 w 798"/>
                <a:gd name="T107" fmla="*/ 0 h 1000"/>
                <a:gd name="T108" fmla="*/ 0 w 798"/>
                <a:gd name="T109" fmla="*/ 0 h 10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98" h="1000">
                  <a:moveTo>
                    <a:pt x="0" y="23"/>
                  </a:moveTo>
                  <a:lnTo>
                    <a:pt x="0" y="993"/>
                  </a:lnTo>
                  <a:lnTo>
                    <a:pt x="220" y="1000"/>
                  </a:lnTo>
                  <a:lnTo>
                    <a:pt x="220" y="483"/>
                  </a:lnTo>
                  <a:lnTo>
                    <a:pt x="222" y="446"/>
                  </a:lnTo>
                  <a:lnTo>
                    <a:pt x="225" y="410"/>
                  </a:lnTo>
                  <a:lnTo>
                    <a:pt x="228" y="391"/>
                  </a:lnTo>
                  <a:lnTo>
                    <a:pt x="231" y="374"/>
                  </a:lnTo>
                  <a:lnTo>
                    <a:pt x="234" y="358"/>
                  </a:lnTo>
                  <a:lnTo>
                    <a:pt x="239" y="340"/>
                  </a:lnTo>
                  <a:lnTo>
                    <a:pt x="244" y="324"/>
                  </a:lnTo>
                  <a:lnTo>
                    <a:pt x="251" y="309"/>
                  </a:lnTo>
                  <a:lnTo>
                    <a:pt x="259" y="293"/>
                  </a:lnTo>
                  <a:lnTo>
                    <a:pt x="268" y="278"/>
                  </a:lnTo>
                  <a:lnTo>
                    <a:pt x="278" y="264"/>
                  </a:lnTo>
                  <a:lnTo>
                    <a:pt x="290" y="251"/>
                  </a:lnTo>
                  <a:lnTo>
                    <a:pt x="303" y="237"/>
                  </a:lnTo>
                  <a:lnTo>
                    <a:pt x="319" y="225"/>
                  </a:lnTo>
                  <a:lnTo>
                    <a:pt x="328" y="218"/>
                  </a:lnTo>
                  <a:lnTo>
                    <a:pt x="336" y="212"/>
                  </a:lnTo>
                  <a:lnTo>
                    <a:pt x="344" y="207"/>
                  </a:lnTo>
                  <a:lnTo>
                    <a:pt x="352" y="202"/>
                  </a:lnTo>
                  <a:lnTo>
                    <a:pt x="369" y="195"/>
                  </a:lnTo>
                  <a:lnTo>
                    <a:pt x="384" y="190"/>
                  </a:lnTo>
                  <a:lnTo>
                    <a:pt x="397" y="186"/>
                  </a:lnTo>
                  <a:lnTo>
                    <a:pt x="411" y="183"/>
                  </a:lnTo>
                  <a:lnTo>
                    <a:pt x="421" y="182"/>
                  </a:lnTo>
                  <a:lnTo>
                    <a:pt x="430" y="181"/>
                  </a:lnTo>
                  <a:lnTo>
                    <a:pt x="448" y="182"/>
                  </a:lnTo>
                  <a:lnTo>
                    <a:pt x="465" y="186"/>
                  </a:lnTo>
                  <a:lnTo>
                    <a:pt x="479" y="190"/>
                  </a:lnTo>
                  <a:lnTo>
                    <a:pt x="492" y="195"/>
                  </a:lnTo>
                  <a:lnTo>
                    <a:pt x="503" y="201"/>
                  </a:lnTo>
                  <a:lnTo>
                    <a:pt x="514" y="206"/>
                  </a:lnTo>
                  <a:lnTo>
                    <a:pt x="521" y="212"/>
                  </a:lnTo>
                  <a:lnTo>
                    <a:pt x="528" y="217"/>
                  </a:lnTo>
                  <a:lnTo>
                    <a:pt x="538" y="227"/>
                  </a:lnTo>
                  <a:lnTo>
                    <a:pt x="546" y="237"/>
                  </a:lnTo>
                  <a:lnTo>
                    <a:pt x="554" y="248"/>
                  </a:lnTo>
                  <a:lnTo>
                    <a:pt x="561" y="259"/>
                  </a:lnTo>
                  <a:lnTo>
                    <a:pt x="567" y="270"/>
                  </a:lnTo>
                  <a:lnTo>
                    <a:pt x="572" y="281"/>
                  </a:lnTo>
                  <a:lnTo>
                    <a:pt x="576" y="293"/>
                  </a:lnTo>
                  <a:lnTo>
                    <a:pt x="579" y="306"/>
                  </a:lnTo>
                  <a:lnTo>
                    <a:pt x="583" y="331"/>
                  </a:lnTo>
                  <a:lnTo>
                    <a:pt x="585" y="358"/>
                  </a:lnTo>
                  <a:lnTo>
                    <a:pt x="587" y="384"/>
                  </a:lnTo>
                  <a:lnTo>
                    <a:pt x="587" y="412"/>
                  </a:lnTo>
                  <a:lnTo>
                    <a:pt x="587" y="1000"/>
                  </a:lnTo>
                  <a:lnTo>
                    <a:pt x="798" y="1000"/>
                  </a:lnTo>
                  <a:lnTo>
                    <a:pt x="798" y="339"/>
                  </a:lnTo>
                  <a:lnTo>
                    <a:pt x="797" y="333"/>
                  </a:lnTo>
                  <a:lnTo>
                    <a:pt x="796" y="323"/>
                  </a:lnTo>
                  <a:lnTo>
                    <a:pt x="796" y="311"/>
                  </a:lnTo>
                  <a:lnTo>
                    <a:pt x="795" y="296"/>
                  </a:lnTo>
                  <a:lnTo>
                    <a:pt x="793" y="281"/>
                  </a:lnTo>
                  <a:lnTo>
                    <a:pt x="791" y="264"/>
                  </a:lnTo>
                  <a:lnTo>
                    <a:pt x="788" y="247"/>
                  </a:lnTo>
                  <a:lnTo>
                    <a:pt x="785" y="230"/>
                  </a:lnTo>
                  <a:lnTo>
                    <a:pt x="780" y="213"/>
                  </a:lnTo>
                  <a:lnTo>
                    <a:pt x="776" y="198"/>
                  </a:lnTo>
                  <a:lnTo>
                    <a:pt x="771" y="184"/>
                  </a:lnTo>
                  <a:lnTo>
                    <a:pt x="765" y="171"/>
                  </a:lnTo>
                  <a:lnTo>
                    <a:pt x="760" y="161"/>
                  </a:lnTo>
                  <a:lnTo>
                    <a:pt x="756" y="151"/>
                  </a:lnTo>
                  <a:lnTo>
                    <a:pt x="752" y="143"/>
                  </a:lnTo>
                  <a:lnTo>
                    <a:pt x="749" y="137"/>
                  </a:lnTo>
                  <a:lnTo>
                    <a:pt x="742" y="125"/>
                  </a:lnTo>
                  <a:lnTo>
                    <a:pt x="734" y="113"/>
                  </a:lnTo>
                  <a:lnTo>
                    <a:pt x="726" y="102"/>
                  </a:lnTo>
                  <a:lnTo>
                    <a:pt x="717" y="91"/>
                  </a:lnTo>
                  <a:lnTo>
                    <a:pt x="707" y="81"/>
                  </a:lnTo>
                  <a:lnTo>
                    <a:pt x="698" y="71"/>
                  </a:lnTo>
                  <a:lnTo>
                    <a:pt x="688" y="62"/>
                  </a:lnTo>
                  <a:lnTo>
                    <a:pt x="678" y="54"/>
                  </a:lnTo>
                  <a:lnTo>
                    <a:pt x="667" y="47"/>
                  </a:lnTo>
                  <a:lnTo>
                    <a:pt x="652" y="38"/>
                  </a:lnTo>
                  <a:lnTo>
                    <a:pt x="635" y="30"/>
                  </a:lnTo>
                  <a:lnTo>
                    <a:pt x="615" y="21"/>
                  </a:lnTo>
                  <a:lnTo>
                    <a:pt x="591" y="13"/>
                  </a:lnTo>
                  <a:lnTo>
                    <a:pt x="565" y="6"/>
                  </a:lnTo>
                  <a:lnTo>
                    <a:pt x="550" y="4"/>
                  </a:lnTo>
                  <a:lnTo>
                    <a:pt x="535" y="2"/>
                  </a:lnTo>
                  <a:lnTo>
                    <a:pt x="520" y="0"/>
                  </a:lnTo>
                  <a:lnTo>
                    <a:pt x="503" y="0"/>
                  </a:lnTo>
                  <a:lnTo>
                    <a:pt x="489" y="0"/>
                  </a:lnTo>
                  <a:lnTo>
                    <a:pt x="475" y="1"/>
                  </a:lnTo>
                  <a:lnTo>
                    <a:pt x="462" y="2"/>
                  </a:lnTo>
                  <a:lnTo>
                    <a:pt x="449" y="4"/>
                  </a:lnTo>
                  <a:lnTo>
                    <a:pt x="425" y="9"/>
                  </a:lnTo>
                  <a:lnTo>
                    <a:pt x="402" y="15"/>
                  </a:lnTo>
                  <a:lnTo>
                    <a:pt x="382" y="24"/>
                  </a:lnTo>
                  <a:lnTo>
                    <a:pt x="363" y="33"/>
                  </a:lnTo>
                  <a:lnTo>
                    <a:pt x="345" y="43"/>
                  </a:lnTo>
                  <a:lnTo>
                    <a:pt x="329" y="54"/>
                  </a:lnTo>
                  <a:lnTo>
                    <a:pt x="315" y="65"/>
                  </a:lnTo>
                  <a:lnTo>
                    <a:pt x="301" y="78"/>
                  </a:lnTo>
                  <a:lnTo>
                    <a:pt x="289" y="89"/>
                  </a:lnTo>
                  <a:lnTo>
                    <a:pt x="279" y="101"/>
                  </a:lnTo>
                  <a:lnTo>
                    <a:pt x="261" y="124"/>
                  </a:lnTo>
                  <a:lnTo>
                    <a:pt x="247" y="144"/>
                  </a:lnTo>
                  <a:lnTo>
                    <a:pt x="241" y="154"/>
                  </a:lnTo>
                  <a:lnTo>
                    <a:pt x="235" y="165"/>
                  </a:lnTo>
                  <a:lnTo>
                    <a:pt x="228" y="176"/>
                  </a:lnTo>
                  <a:lnTo>
                    <a:pt x="222" y="189"/>
                  </a:lnTo>
                  <a:lnTo>
                    <a:pt x="217" y="200"/>
                  </a:lnTo>
                  <a:lnTo>
                    <a:pt x="211" y="211"/>
                  </a:lnTo>
                  <a:lnTo>
                    <a:pt x="205" y="222"/>
                  </a:lnTo>
                  <a:lnTo>
                    <a:pt x="201" y="232"/>
                  </a:lnTo>
                  <a:lnTo>
                    <a:pt x="201" y="23"/>
                  </a:lnTo>
                  <a:lnTo>
                    <a:pt x="0" y="23"/>
                  </a:lnTo>
                  <a:close/>
                </a:path>
              </a:pathLst>
            </a:custGeom>
            <a:solidFill>
              <a:srgbClr val="5E737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276" u="sng">
                <a:solidFill>
                  <a:srgbClr val="000000"/>
                </a:solidFill>
                <a:latin typeface="Arial" charset="0"/>
                <a:cs typeface="Arial"/>
              </a:endParaRPr>
            </a:p>
          </p:txBody>
        </p:sp>
        <p:sp>
          <p:nvSpPr>
            <p:cNvPr id="29" name="Freeform 75"/>
            <p:cNvSpPr>
              <a:spLocks/>
            </p:cNvSpPr>
            <p:nvPr userDrawn="1"/>
          </p:nvSpPr>
          <p:spPr bwMode="auto">
            <a:xfrm>
              <a:off x="5911" y="362"/>
              <a:ext cx="41" cy="50"/>
            </a:xfrm>
            <a:custGeom>
              <a:avLst/>
              <a:gdLst>
                <a:gd name="T0" fmla="*/ 0 w 817"/>
                <a:gd name="T1" fmla="*/ 0 h 1014"/>
                <a:gd name="T2" fmla="*/ 0 w 817"/>
                <a:gd name="T3" fmla="*/ 0 h 1014"/>
                <a:gd name="T4" fmla="*/ 0 w 817"/>
                <a:gd name="T5" fmla="*/ 0 h 1014"/>
                <a:gd name="T6" fmla="*/ 0 w 817"/>
                <a:gd name="T7" fmla="*/ 0 h 1014"/>
                <a:gd name="T8" fmla="*/ 0 w 817"/>
                <a:gd name="T9" fmla="*/ 0 h 1014"/>
                <a:gd name="T10" fmla="*/ 0 w 817"/>
                <a:gd name="T11" fmla="*/ 0 h 1014"/>
                <a:gd name="T12" fmla="*/ 0 w 817"/>
                <a:gd name="T13" fmla="*/ 0 h 1014"/>
                <a:gd name="T14" fmla="*/ 0 w 817"/>
                <a:gd name="T15" fmla="*/ 0 h 1014"/>
                <a:gd name="T16" fmla="*/ 0 w 817"/>
                <a:gd name="T17" fmla="*/ 0 h 1014"/>
                <a:gd name="T18" fmla="*/ 0 w 817"/>
                <a:gd name="T19" fmla="*/ 0 h 1014"/>
                <a:gd name="T20" fmla="*/ 0 w 817"/>
                <a:gd name="T21" fmla="*/ 0 h 1014"/>
                <a:gd name="T22" fmla="*/ 0 w 817"/>
                <a:gd name="T23" fmla="*/ 0 h 1014"/>
                <a:gd name="T24" fmla="*/ 0 w 817"/>
                <a:gd name="T25" fmla="*/ 0 h 1014"/>
                <a:gd name="T26" fmla="*/ 0 w 817"/>
                <a:gd name="T27" fmla="*/ 0 h 1014"/>
                <a:gd name="T28" fmla="*/ 0 w 817"/>
                <a:gd name="T29" fmla="*/ 0 h 1014"/>
                <a:gd name="T30" fmla="*/ 0 w 817"/>
                <a:gd name="T31" fmla="*/ 0 h 1014"/>
                <a:gd name="T32" fmla="*/ 0 w 817"/>
                <a:gd name="T33" fmla="*/ 0 h 1014"/>
                <a:gd name="T34" fmla="*/ 0 w 817"/>
                <a:gd name="T35" fmla="*/ 0 h 1014"/>
                <a:gd name="T36" fmla="*/ 0 w 817"/>
                <a:gd name="T37" fmla="*/ 0 h 1014"/>
                <a:gd name="T38" fmla="*/ 0 w 817"/>
                <a:gd name="T39" fmla="*/ 0 h 1014"/>
                <a:gd name="T40" fmla="*/ 0 w 817"/>
                <a:gd name="T41" fmla="*/ 0 h 1014"/>
                <a:gd name="T42" fmla="*/ 0 w 817"/>
                <a:gd name="T43" fmla="*/ 0 h 1014"/>
                <a:gd name="T44" fmla="*/ 0 w 817"/>
                <a:gd name="T45" fmla="*/ 0 h 1014"/>
                <a:gd name="T46" fmla="*/ 0 w 817"/>
                <a:gd name="T47" fmla="*/ 0 h 1014"/>
                <a:gd name="T48" fmla="*/ 0 w 817"/>
                <a:gd name="T49" fmla="*/ 0 h 1014"/>
                <a:gd name="T50" fmla="*/ 0 w 817"/>
                <a:gd name="T51" fmla="*/ 0 h 1014"/>
                <a:gd name="T52" fmla="*/ 0 w 817"/>
                <a:gd name="T53" fmla="*/ 0 h 1014"/>
                <a:gd name="T54" fmla="*/ 0 w 817"/>
                <a:gd name="T55" fmla="*/ 0 h 1014"/>
                <a:gd name="T56" fmla="*/ 0 w 817"/>
                <a:gd name="T57" fmla="*/ 0 h 1014"/>
                <a:gd name="T58" fmla="*/ 0 w 817"/>
                <a:gd name="T59" fmla="*/ 0 h 1014"/>
                <a:gd name="T60" fmla="*/ 0 w 817"/>
                <a:gd name="T61" fmla="*/ 0 h 1014"/>
                <a:gd name="T62" fmla="*/ 0 w 817"/>
                <a:gd name="T63" fmla="*/ 0 h 1014"/>
                <a:gd name="T64" fmla="*/ 0 w 817"/>
                <a:gd name="T65" fmla="*/ 0 h 1014"/>
                <a:gd name="T66" fmla="*/ 0 w 817"/>
                <a:gd name="T67" fmla="*/ 0 h 1014"/>
                <a:gd name="T68" fmla="*/ 0 w 817"/>
                <a:gd name="T69" fmla="*/ 0 h 1014"/>
                <a:gd name="T70" fmla="*/ 0 w 817"/>
                <a:gd name="T71" fmla="*/ 0 h 1014"/>
                <a:gd name="T72" fmla="*/ 0 w 817"/>
                <a:gd name="T73" fmla="*/ 0 h 1014"/>
                <a:gd name="T74" fmla="*/ 0 w 817"/>
                <a:gd name="T75" fmla="*/ 0 h 1014"/>
                <a:gd name="T76" fmla="*/ 0 w 817"/>
                <a:gd name="T77" fmla="*/ 0 h 1014"/>
                <a:gd name="T78" fmla="*/ 0 w 817"/>
                <a:gd name="T79" fmla="*/ 0 h 1014"/>
                <a:gd name="T80" fmla="*/ 0 w 817"/>
                <a:gd name="T81" fmla="*/ 0 h 1014"/>
                <a:gd name="T82" fmla="*/ 0 w 817"/>
                <a:gd name="T83" fmla="*/ 0 h 1014"/>
                <a:gd name="T84" fmla="*/ 0 w 817"/>
                <a:gd name="T85" fmla="*/ 0 h 1014"/>
                <a:gd name="T86" fmla="*/ 0 w 817"/>
                <a:gd name="T87" fmla="*/ 0 h 1014"/>
                <a:gd name="T88" fmla="*/ 0 w 817"/>
                <a:gd name="T89" fmla="*/ 0 h 1014"/>
                <a:gd name="T90" fmla="*/ 0 w 817"/>
                <a:gd name="T91" fmla="*/ 0 h 1014"/>
                <a:gd name="T92" fmla="*/ 0 w 817"/>
                <a:gd name="T93" fmla="*/ 0 h 1014"/>
                <a:gd name="T94" fmla="*/ 0 w 817"/>
                <a:gd name="T95" fmla="*/ 0 h 1014"/>
                <a:gd name="T96" fmla="*/ 0 w 817"/>
                <a:gd name="T97" fmla="*/ 0 h 1014"/>
                <a:gd name="T98" fmla="*/ 0 w 817"/>
                <a:gd name="T99" fmla="*/ 0 h 1014"/>
                <a:gd name="T100" fmla="*/ 0 w 817"/>
                <a:gd name="T101" fmla="*/ 0 h 1014"/>
                <a:gd name="T102" fmla="*/ 0 w 817"/>
                <a:gd name="T103" fmla="*/ 0 h 1014"/>
                <a:gd name="T104" fmla="*/ 0 w 817"/>
                <a:gd name="T105" fmla="*/ 0 h 1014"/>
                <a:gd name="T106" fmla="*/ 0 w 817"/>
                <a:gd name="T107" fmla="*/ 0 h 1014"/>
                <a:gd name="T108" fmla="*/ 0 w 817"/>
                <a:gd name="T109" fmla="*/ 0 h 1014"/>
                <a:gd name="T110" fmla="*/ 0 w 817"/>
                <a:gd name="T111" fmla="*/ 0 h 1014"/>
                <a:gd name="T112" fmla="*/ 0 w 817"/>
                <a:gd name="T113" fmla="*/ 0 h 1014"/>
                <a:gd name="T114" fmla="*/ 0 w 817"/>
                <a:gd name="T115" fmla="*/ 0 h 101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817" h="1014">
                  <a:moveTo>
                    <a:pt x="817" y="341"/>
                  </a:moveTo>
                  <a:lnTo>
                    <a:pt x="815" y="332"/>
                  </a:lnTo>
                  <a:lnTo>
                    <a:pt x="812" y="320"/>
                  </a:lnTo>
                  <a:lnTo>
                    <a:pt x="808" y="305"/>
                  </a:lnTo>
                  <a:lnTo>
                    <a:pt x="803" y="286"/>
                  </a:lnTo>
                  <a:lnTo>
                    <a:pt x="797" y="267"/>
                  </a:lnTo>
                  <a:lnTo>
                    <a:pt x="789" y="246"/>
                  </a:lnTo>
                  <a:lnTo>
                    <a:pt x="781" y="224"/>
                  </a:lnTo>
                  <a:lnTo>
                    <a:pt x="771" y="203"/>
                  </a:lnTo>
                  <a:lnTo>
                    <a:pt x="763" y="186"/>
                  </a:lnTo>
                  <a:lnTo>
                    <a:pt x="754" y="170"/>
                  </a:lnTo>
                  <a:lnTo>
                    <a:pt x="744" y="155"/>
                  </a:lnTo>
                  <a:lnTo>
                    <a:pt x="733" y="141"/>
                  </a:lnTo>
                  <a:lnTo>
                    <a:pt x="723" y="128"/>
                  </a:lnTo>
                  <a:lnTo>
                    <a:pt x="712" y="115"/>
                  </a:lnTo>
                  <a:lnTo>
                    <a:pt x="701" y="104"/>
                  </a:lnTo>
                  <a:lnTo>
                    <a:pt x="689" y="93"/>
                  </a:lnTo>
                  <a:lnTo>
                    <a:pt x="677" y="83"/>
                  </a:lnTo>
                  <a:lnTo>
                    <a:pt x="666" y="74"/>
                  </a:lnTo>
                  <a:lnTo>
                    <a:pt x="654" y="65"/>
                  </a:lnTo>
                  <a:lnTo>
                    <a:pt x="642" y="57"/>
                  </a:lnTo>
                  <a:lnTo>
                    <a:pt x="629" y="50"/>
                  </a:lnTo>
                  <a:lnTo>
                    <a:pt x="617" y="44"/>
                  </a:lnTo>
                  <a:lnTo>
                    <a:pt x="604" y="38"/>
                  </a:lnTo>
                  <a:lnTo>
                    <a:pt x="592" y="32"/>
                  </a:lnTo>
                  <a:lnTo>
                    <a:pt x="567" y="23"/>
                  </a:lnTo>
                  <a:lnTo>
                    <a:pt x="544" y="16"/>
                  </a:lnTo>
                  <a:lnTo>
                    <a:pt x="520" y="10"/>
                  </a:lnTo>
                  <a:lnTo>
                    <a:pt x="498" y="6"/>
                  </a:lnTo>
                  <a:lnTo>
                    <a:pt x="477" y="3"/>
                  </a:lnTo>
                  <a:lnTo>
                    <a:pt x="459" y="1"/>
                  </a:lnTo>
                  <a:lnTo>
                    <a:pt x="443" y="1"/>
                  </a:lnTo>
                  <a:lnTo>
                    <a:pt x="428" y="0"/>
                  </a:lnTo>
                  <a:lnTo>
                    <a:pt x="410" y="1"/>
                  </a:lnTo>
                  <a:lnTo>
                    <a:pt x="394" y="2"/>
                  </a:lnTo>
                  <a:lnTo>
                    <a:pt x="377" y="3"/>
                  </a:lnTo>
                  <a:lnTo>
                    <a:pt x="361" y="5"/>
                  </a:lnTo>
                  <a:lnTo>
                    <a:pt x="346" y="8"/>
                  </a:lnTo>
                  <a:lnTo>
                    <a:pt x="330" y="11"/>
                  </a:lnTo>
                  <a:lnTo>
                    <a:pt x="316" y="16"/>
                  </a:lnTo>
                  <a:lnTo>
                    <a:pt x="302" y="20"/>
                  </a:lnTo>
                  <a:lnTo>
                    <a:pt x="275" y="29"/>
                  </a:lnTo>
                  <a:lnTo>
                    <a:pt x="251" y="39"/>
                  </a:lnTo>
                  <a:lnTo>
                    <a:pt x="227" y="51"/>
                  </a:lnTo>
                  <a:lnTo>
                    <a:pt x="206" y="64"/>
                  </a:lnTo>
                  <a:lnTo>
                    <a:pt x="187" y="78"/>
                  </a:lnTo>
                  <a:lnTo>
                    <a:pt x="169" y="91"/>
                  </a:lnTo>
                  <a:lnTo>
                    <a:pt x="153" y="105"/>
                  </a:lnTo>
                  <a:lnTo>
                    <a:pt x="139" y="119"/>
                  </a:lnTo>
                  <a:lnTo>
                    <a:pt x="126" y="133"/>
                  </a:lnTo>
                  <a:lnTo>
                    <a:pt x="115" y="146"/>
                  </a:lnTo>
                  <a:lnTo>
                    <a:pt x="106" y="158"/>
                  </a:lnTo>
                  <a:lnTo>
                    <a:pt x="98" y="169"/>
                  </a:lnTo>
                  <a:lnTo>
                    <a:pt x="81" y="194"/>
                  </a:lnTo>
                  <a:lnTo>
                    <a:pt x="66" y="218"/>
                  </a:lnTo>
                  <a:lnTo>
                    <a:pt x="54" y="244"/>
                  </a:lnTo>
                  <a:lnTo>
                    <a:pt x="43" y="269"/>
                  </a:lnTo>
                  <a:lnTo>
                    <a:pt x="34" y="295"/>
                  </a:lnTo>
                  <a:lnTo>
                    <a:pt x="25" y="319"/>
                  </a:lnTo>
                  <a:lnTo>
                    <a:pt x="19" y="343"/>
                  </a:lnTo>
                  <a:lnTo>
                    <a:pt x="13" y="367"/>
                  </a:lnTo>
                  <a:lnTo>
                    <a:pt x="9" y="389"/>
                  </a:lnTo>
                  <a:lnTo>
                    <a:pt x="6" y="411"/>
                  </a:lnTo>
                  <a:lnTo>
                    <a:pt x="4" y="431"/>
                  </a:lnTo>
                  <a:lnTo>
                    <a:pt x="2" y="450"/>
                  </a:lnTo>
                  <a:lnTo>
                    <a:pt x="0" y="482"/>
                  </a:lnTo>
                  <a:lnTo>
                    <a:pt x="0" y="506"/>
                  </a:lnTo>
                  <a:lnTo>
                    <a:pt x="1" y="539"/>
                  </a:lnTo>
                  <a:lnTo>
                    <a:pt x="3" y="570"/>
                  </a:lnTo>
                  <a:lnTo>
                    <a:pt x="6" y="600"/>
                  </a:lnTo>
                  <a:lnTo>
                    <a:pt x="10" y="628"/>
                  </a:lnTo>
                  <a:lnTo>
                    <a:pt x="15" y="655"/>
                  </a:lnTo>
                  <a:lnTo>
                    <a:pt x="21" y="680"/>
                  </a:lnTo>
                  <a:lnTo>
                    <a:pt x="28" y="704"/>
                  </a:lnTo>
                  <a:lnTo>
                    <a:pt x="36" y="726"/>
                  </a:lnTo>
                  <a:lnTo>
                    <a:pt x="43" y="748"/>
                  </a:lnTo>
                  <a:lnTo>
                    <a:pt x="51" y="767"/>
                  </a:lnTo>
                  <a:lnTo>
                    <a:pt x="59" y="785"/>
                  </a:lnTo>
                  <a:lnTo>
                    <a:pt x="68" y="803"/>
                  </a:lnTo>
                  <a:lnTo>
                    <a:pt x="76" y="818"/>
                  </a:lnTo>
                  <a:lnTo>
                    <a:pt x="86" y="832"/>
                  </a:lnTo>
                  <a:lnTo>
                    <a:pt x="94" y="845"/>
                  </a:lnTo>
                  <a:lnTo>
                    <a:pt x="102" y="857"/>
                  </a:lnTo>
                  <a:lnTo>
                    <a:pt x="111" y="870"/>
                  </a:lnTo>
                  <a:lnTo>
                    <a:pt x="120" y="882"/>
                  </a:lnTo>
                  <a:lnTo>
                    <a:pt x="130" y="893"/>
                  </a:lnTo>
                  <a:lnTo>
                    <a:pt x="139" y="902"/>
                  </a:lnTo>
                  <a:lnTo>
                    <a:pt x="146" y="911"/>
                  </a:lnTo>
                  <a:lnTo>
                    <a:pt x="153" y="918"/>
                  </a:lnTo>
                  <a:lnTo>
                    <a:pt x="160" y="924"/>
                  </a:lnTo>
                  <a:lnTo>
                    <a:pt x="165" y="928"/>
                  </a:lnTo>
                  <a:lnTo>
                    <a:pt x="184" y="942"/>
                  </a:lnTo>
                  <a:lnTo>
                    <a:pt x="202" y="954"/>
                  </a:lnTo>
                  <a:lnTo>
                    <a:pt x="220" y="966"/>
                  </a:lnTo>
                  <a:lnTo>
                    <a:pt x="240" y="975"/>
                  </a:lnTo>
                  <a:lnTo>
                    <a:pt x="258" y="983"/>
                  </a:lnTo>
                  <a:lnTo>
                    <a:pt x="277" y="990"/>
                  </a:lnTo>
                  <a:lnTo>
                    <a:pt x="296" y="996"/>
                  </a:lnTo>
                  <a:lnTo>
                    <a:pt x="313" y="1000"/>
                  </a:lnTo>
                  <a:lnTo>
                    <a:pt x="330" y="1004"/>
                  </a:lnTo>
                  <a:lnTo>
                    <a:pt x="347" y="1007"/>
                  </a:lnTo>
                  <a:lnTo>
                    <a:pt x="362" y="1010"/>
                  </a:lnTo>
                  <a:lnTo>
                    <a:pt x="376" y="1011"/>
                  </a:lnTo>
                  <a:lnTo>
                    <a:pt x="402" y="1013"/>
                  </a:lnTo>
                  <a:lnTo>
                    <a:pt x="420" y="1014"/>
                  </a:lnTo>
                  <a:lnTo>
                    <a:pt x="442" y="1013"/>
                  </a:lnTo>
                  <a:lnTo>
                    <a:pt x="461" y="1012"/>
                  </a:lnTo>
                  <a:lnTo>
                    <a:pt x="480" y="1010"/>
                  </a:lnTo>
                  <a:lnTo>
                    <a:pt x="499" y="1007"/>
                  </a:lnTo>
                  <a:lnTo>
                    <a:pt x="516" y="1004"/>
                  </a:lnTo>
                  <a:lnTo>
                    <a:pt x="532" y="1000"/>
                  </a:lnTo>
                  <a:lnTo>
                    <a:pt x="548" y="996"/>
                  </a:lnTo>
                  <a:lnTo>
                    <a:pt x="563" y="991"/>
                  </a:lnTo>
                  <a:lnTo>
                    <a:pt x="589" y="981"/>
                  </a:lnTo>
                  <a:lnTo>
                    <a:pt x="611" y="970"/>
                  </a:lnTo>
                  <a:lnTo>
                    <a:pt x="630" y="959"/>
                  </a:lnTo>
                  <a:lnTo>
                    <a:pt x="646" y="950"/>
                  </a:lnTo>
                  <a:lnTo>
                    <a:pt x="651" y="946"/>
                  </a:lnTo>
                  <a:lnTo>
                    <a:pt x="658" y="941"/>
                  </a:lnTo>
                  <a:lnTo>
                    <a:pt x="667" y="934"/>
                  </a:lnTo>
                  <a:lnTo>
                    <a:pt x="676" y="927"/>
                  </a:lnTo>
                  <a:lnTo>
                    <a:pt x="686" y="917"/>
                  </a:lnTo>
                  <a:lnTo>
                    <a:pt x="698" y="906"/>
                  </a:lnTo>
                  <a:lnTo>
                    <a:pt x="709" y="894"/>
                  </a:lnTo>
                  <a:lnTo>
                    <a:pt x="721" y="881"/>
                  </a:lnTo>
                  <a:lnTo>
                    <a:pt x="733" y="865"/>
                  </a:lnTo>
                  <a:lnTo>
                    <a:pt x="745" y="848"/>
                  </a:lnTo>
                  <a:lnTo>
                    <a:pt x="755" y="832"/>
                  </a:lnTo>
                  <a:lnTo>
                    <a:pt x="764" y="816"/>
                  </a:lnTo>
                  <a:lnTo>
                    <a:pt x="772" y="801"/>
                  </a:lnTo>
                  <a:lnTo>
                    <a:pt x="779" y="784"/>
                  </a:lnTo>
                  <a:lnTo>
                    <a:pt x="786" y="770"/>
                  </a:lnTo>
                  <a:lnTo>
                    <a:pt x="791" y="755"/>
                  </a:lnTo>
                  <a:lnTo>
                    <a:pt x="801" y="727"/>
                  </a:lnTo>
                  <a:lnTo>
                    <a:pt x="807" y="703"/>
                  </a:lnTo>
                  <a:lnTo>
                    <a:pt x="811" y="681"/>
                  </a:lnTo>
                  <a:lnTo>
                    <a:pt x="815" y="664"/>
                  </a:lnTo>
                  <a:lnTo>
                    <a:pt x="640" y="647"/>
                  </a:lnTo>
                  <a:lnTo>
                    <a:pt x="630" y="670"/>
                  </a:lnTo>
                  <a:lnTo>
                    <a:pt x="620" y="692"/>
                  </a:lnTo>
                  <a:lnTo>
                    <a:pt x="610" y="713"/>
                  </a:lnTo>
                  <a:lnTo>
                    <a:pt x="598" y="733"/>
                  </a:lnTo>
                  <a:lnTo>
                    <a:pt x="592" y="743"/>
                  </a:lnTo>
                  <a:lnTo>
                    <a:pt x="584" y="752"/>
                  </a:lnTo>
                  <a:lnTo>
                    <a:pt x="577" y="761"/>
                  </a:lnTo>
                  <a:lnTo>
                    <a:pt x="570" y="770"/>
                  </a:lnTo>
                  <a:lnTo>
                    <a:pt x="562" y="778"/>
                  </a:lnTo>
                  <a:lnTo>
                    <a:pt x="553" y="786"/>
                  </a:lnTo>
                  <a:lnTo>
                    <a:pt x="544" y="793"/>
                  </a:lnTo>
                  <a:lnTo>
                    <a:pt x="533" y="801"/>
                  </a:lnTo>
                  <a:lnTo>
                    <a:pt x="519" y="809"/>
                  </a:lnTo>
                  <a:lnTo>
                    <a:pt x="506" y="815"/>
                  </a:lnTo>
                  <a:lnTo>
                    <a:pt x="493" y="820"/>
                  </a:lnTo>
                  <a:lnTo>
                    <a:pt x="479" y="823"/>
                  </a:lnTo>
                  <a:lnTo>
                    <a:pt x="468" y="825"/>
                  </a:lnTo>
                  <a:lnTo>
                    <a:pt x="457" y="826"/>
                  </a:lnTo>
                  <a:lnTo>
                    <a:pt x="448" y="827"/>
                  </a:lnTo>
                  <a:lnTo>
                    <a:pt x="439" y="827"/>
                  </a:lnTo>
                  <a:lnTo>
                    <a:pt x="427" y="827"/>
                  </a:lnTo>
                  <a:lnTo>
                    <a:pt x="417" y="826"/>
                  </a:lnTo>
                  <a:lnTo>
                    <a:pt x="407" y="825"/>
                  </a:lnTo>
                  <a:lnTo>
                    <a:pt x="397" y="823"/>
                  </a:lnTo>
                  <a:lnTo>
                    <a:pt x="379" y="818"/>
                  </a:lnTo>
                  <a:lnTo>
                    <a:pt x="363" y="812"/>
                  </a:lnTo>
                  <a:lnTo>
                    <a:pt x="350" y="806"/>
                  </a:lnTo>
                  <a:lnTo>
                    <a:pt x="338" y="799"/>
                  </a:lnTo>
                  <a:lnTo>
                    <a:pt x="328" y="791"/>
                  </a:lnTo>
                  <a:lnTo>
                    <a:pt x="321" y="785"/>
                  </a:lnTo>
                  <a:lnTo>
                    <a:pt x="308" y="774"/>
                  </a:lnTo>
                  <a:lnTo>
                    <a:pt x="297" y="762"/>
                  </a:lnTo>
                  <a:lnTo>
                    <a:pt x="287" y="748"/>
                  </a:lnTo>
                  <a:lnTo>
                    <a:pt x="276" y="733"/>
                  </a:lnTo>
                  <a:lnTo>
                    <a:pt x="268" y="718"/>
                  </a:lnTo>
                  <a:lnTo>
                    <a:pt x="261" y="702"/>
                  </a:lnTo>
                  <a:lnTo>
                    <a:pt x="255" y="684"/>
                  </a:lnTo>
                  <a:lnTo>
                    <a:pt x="249" y="667"/>
                  </a:lnTo>
                  <a:lnTo>
                    <a:pt x="245" y="650"/>
                  </a:lnTo>
                  <a:lnTo>
                    <a:pt x="241" y="632"/>
                  </a:lnTo>
                  <a:lnTo>
                    <a:pt x="238" y="614"/>
                  </a:lnTo>
                  <a:lnTo>
                    <a:pt x="235" y="596"/>
                  </a:lnTo>
                  <a:lnTo>
                    <a:pt x="234" y="578"/>
                  </a:lnTo>
                  <a:lnTo>
                    <a:pt x="232" y="560"/>
                  </a:lnTo>
                  <a:lnTo>
                    <a:pt x="232" y="542"/>
                  </a:lnTo>
                  <a:lnTo>
                    <a:pt x="232" y="525"/>
                  </a:lnTo>
                  <a:lnTo>
                    <a:pt x="232" y="501"/>
                  </a:lnTo>
                  <a:lnTo>
                    <a:pt x="233" y="479"/>
                  </a:lnTo>
                  <a:lnTo>
                    <a:pt x="234" y="457"/>
                  </a:lnTo>
                  <a:lnTo>
                    <a:pt x="235" y="437"/>
                  </a:lnTo>
                  <a:lnTo>
                    <a:pt x="238" y="419"/>
                  </a:lnTo>
                  <a:lnTo>
                    <a:pt x="240" y="401"/>
                  </a:lnTo>
                  <a:lnTo>
                    <a:pt x="243" y="384"/>
                  </a:lnTo>
                  <a:lnTo>
                    <a:pt x="246" y="369"/>
                  </a:lnTo>
                  <a:lnTo>
                    <a:pt x="250" y="355"/>
                  </a:lnTo>
                  <a:lnTo>
                    <a:pt x="254" y="340"/>
                  </a:lnTo>
                  <a:lnTo>
                    <a:pt x="258" y="327"/>
                  </a:lnTo>
                  <a:lnTo>
                    <a:pt x="262" y="316"/>
                  </a:lnTo>
                  <a:lnTo>
                    <a:pt x="272" y="293"/>
                  </a:lnTo>
                  <a:lnTo>
                    <a:pt x="284" y="274"/>
                  </a:lnTo>
                  <a:lnTo>
                    <a:pt x="293" y="261"/>
                  </a:lnTo>
                  <a:lnTo>
                    <a:pt x="303" y="249"/>
                  </a:lnTo>
                  <a:lnTo>
                    <a:pt x="313" y="237"/>
                  </a:lnTo>
                  <a:lnTo>
                    <a:pt x="323" y="228"/>
                  </a:lnTo>
                  <a:lnTo>
                    <a:pt x="334" y="220"/>
                  </a:lnTo>
                  <a:lnTo>
                    <a:pt x="345" y="213"/>
                  </a:lnTo>
                  <a:lnTo>
                    <a:pt x="355" y="207"/>
                  </a:lnTo>
                  <a:lnTo>
                    <a:pt x="365" y="201"/>
                  </a:lnTo>
                  <a:lnTo>
                    <a:pt x="375" y="197"/>
                  </a:lnTo>
                  <a:lnTo>
                    <a:pt x="386" y="194"/>
                  </a:lnTo>
                  <a:lnTo>
                    <a:pt x="395" y="191"/>
                  </a:lnTo>
                  <a:lnTo>
                    <a:pt x="405" y="189"/>
                  </a:lnTo>
                  <a:lnTo>
                    <a:pt x="422" y="187"/>
                  </a:lnTo>
                  <a:lnTo>
                    <a:pt x="438" y="186"/>
                  </a:lnTo>
                  <a:lnTo>
                    <a:pt x="453" y="187"/>
                  </a:lnTo>
                  <a:lnTo>
                    <a:pt x="471" y="190"/>
                  </a:lnTo>
                  <a:lnTo>
                    <a:pt x="481" y="192"/>
                  </a:lnTo>
                  <a:lnTo>
                    <a:pt x="493" y="195"/>
                  </a:lnTo>
                  <a:lnTo>
                    <a:pt x="503" y="198"/>
                  </a:lnTo>
                  <a:lnTo>
                    <a:pt x="514" y="203"/>
                  </a:lnTo>
                  <a:lnTo>
                    <a:pt x="526" y="208"/>
                  </a:lnTo>
                  <a:lnTo>
                    <a:pt x="538" y="215"/>
                  </a:lnTo>
                  <a:lnTo>
                    <a:pt x="549" y="223"/>
                  </a:lnTo>
                  <a:lnTo>
                    <a:pt x="560" y="232"/>
                  </a:lnTo>
                  <a:lnTo>
                    <a:pt x="570" y="244"/>
                  </a:lnTo>
                  <a:lnTo>
                    <a:pt x="580" y="256"/>
                  </a:lnTo>
                  <a:lnTo>
                    <a:pt x="590" y="270"/>
                  </a:lnTo>
                  <a:lnTo>
                    <a:pt x="599" y="285"/>
                  </a:lnTo>
                  <a:lnTo>
                    <a:pt x="604" y="296"/>
                  </a:lnTo>
                  <a:lnTo>
                    <a:pt x="608" y="306"/>
                  </a:lnTo>
                  <a:lnTo>
                    <a:pt x="611" y="316"/>
                  </a:lnTo>
                  <a:lnTo>
                    <a:pt x="615" y="326"/>
                  </a:lnTo>
                  <a:lnTo>
                    <a:pt x="618" y="337"/>
                  </a:lnTo>
                  <a:lnTo>
                    <a:pt x="620" y="347"/>
                  </a:lnTo>
                  <a:lnTo>
                    <a:pt x="623" y="359"/>
                  </a:lnTo>
                  <a:lnTo>
                    <a:pt x="625" y="370"/>
                  </a:lnTo>
                  <a:lnTo>
                    <a:pt x="817" y="341"/>
                  </a:lnTo>
                  <a:close/>
                </a:path>
              </a:pathLst>
            </a:custGeom>
            <a:solidFill>
              <a:srgbClr val="5E737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276" u="sng">
                <a:solidFill>
                  <a:srgbClr val="000000"/>
                </a:solidFill>
                <a:latin typeface="Arial" charset="0"/>
                <a:cs typeface="Arial"/>
              </a:endParaRPr>
            </a:p>
          </p:txBody>
        </p:sp>
        <p:sp>
          <p:nvSpPr>
            <p:cNvPr id="30" name="Freeform 76"/>
            <p:cNvSpPr>
              <a:spLocks noEditPoints="1"/>
            </p:cNvSpPr>
            <p:nvPr userDrawn="1"/>
          </p:nvSpPr>
          <p:spPr bwMode="auto">
            <a:xfrm>
              <a:off x="5957" y="362"/>
              <a:ext cx="44" cy="50"/>
            </a:xfrm>
            <a:custGeom>
              <a:avLst/>
              <a:gdLst>
                <a:gd name="T0" fmla="*/ 0 w 872"/>
                <a:gd name="T1" fmla="*/ 0 h 1017"/>
                <a:gd name="T2" fmla="*/ 0 w 872"/>
                <a:gd name="T3" fmla="*/ 0 h 1017"/>
                <a:gd name="T4" fmla="*/ 0 w 872"/>
                <a:gd name="T5" fmla="*/ 0 h 1017"/>
                <a:gd name="T6" fmla="*/ 0 w 872"/>
                <a:gd name="T7" fmla="*/ 0 h 1017"/>
                <a:gd name="T8" fmla="*/ 0 w 872"/>
                <a:gd name="T9" fmla="*/ 0 h 1017"/>
                <a:gd name="T10" fmla="*/ 0 w 872"/>
                <a:gd name="T11" fmla="*/ 0 h 1017"/>
                <a:gd name="T12" fmla="*/ 0 w 872"/>
                <a:gd name="T13" fmla="*/ 0 h 1017"/>
                <a:gd name="T14" fmla="*/ 0 w 872"/>
                <a:gd name="T15" fmla="*/ 0 h 1017"/>
                <a:gd name="T16" fmla="*/ 0 w 872"/>
                <a:gd name="T17" fmla="*/ 0 h 1017"/>
                <a:gd name="T18" fmla="*/ 0 w 872"/>
                <a:gd name="T19" fmla="*/ 0 h 1017"/>
                <a:gd name="T20" fmla="*/ 0 w 872"/>
                <a:gd name="T21" fmla="*/ 0 h 1017"/>
                <a:gd name="T22" fmla="*/ 0 w 872"/>
                <a:gd name="T23" fmla="*/ 0 h 1017"/>
                <a:gd name="T24" fmla="*/ 0 w 872"/>
                <a:gd name="T25" fmla="*/ 0 h 1017"/>
                <a:gd name="T26" fmla="*/ 0 w 872"/>
                <a:gd name="T27" fmla="*/ 0 h 1017"/>
                <a:gd name="T28" fmla="*/ 0 w 872"/>
                <a:gd name="T29" fmla="*/ 0 h 1017"/>
                <a:gd name="T30" fmla="*/ 0 w 872"/>
                <a:gd name="T31" fmla="*/ 0 h 1017"/>
                <a:gd name="T32" fmla="*/ 0 w 872"/>
                <a:gd name="T33" fmla="*/ 0 h 1017"/>
                <a:gd name="T34" fmla="*/ 0 w 872"/>
                <a:gd name="T35" fmla="*/ 0 h 1017"/>
                <a:gd name="T36" fmla="*/ 0 w 872"/>
                <a:gd name="T37" fmla="*/ 0 h 1017"/>
                <a:gd name="T38" fmla="*/ 0 w 872"/>
                <a:gd name="T39" fmla="*/ 0 h 1017"/>
                <a:gd name="T40" fmla="*/ 0 w 872"/>
                <a:gd name="T41" fmla="*/ 0 h 1017"/>
                <a:gd name="T42" fmla="*/ 0 w 872"/>
                <a:gd name="T43" fmla="*/ 0 h 1017"/>
                <a:gd name="T44" fmla="*/ 0 w 872"/>
                <a:gd name="T45" fmla="*/ 0 h 1017"/>
                <a:gd name="T46" fmla="*/ 0 w 872"/>
                <a:gd name="T47" fmla="*/ 0 h 1017"/>
                <a:gd name="T48" fmla="*/ 0 w 872"/>
                <a:gd name="T49" fmla="*/ 0 h 1017"/>
                <a:gd name="T50" fmla="*/ 0 w 872"/>
                <a:gd name="T51" fmla="*/ 0 h 1017"/>
                <a:gd name="T52" fmla="*/ 0 w 872"/>
                <a:gd name="T53" fmla="*/ 0 h 1017"/>
                <a:gd name="T54" fmla="*/ 0 w 872"/>
                <a:gd name="T55" fmla="*/ 0 h 1017"/>
                <a:gd name="T56" fmla="*/ 0 w 872"/>
                <a:gd name="T57" fmla="*/ 0 h 1017"/>
                <a:gd name="T58" fmla="*/ 0 w 872"/>
                <a:gd name="T59" fmla="*/ 0 h 1017"/>
                <a:gd name="T60" fmla="*/ 0 w 872"/>
                <a:gd name="T61" fmla="*/ 0 h 1017"/>
                <a:gd name="T62" fmla="*/ 0 w 872"/>
                <a:gd name="T63" fmla="*/ 0 h 1017"/>
                <a:gd name="T64" fmla="*/ 0 w 872"/>
                <a:gd name="T65" fmla="*/ 0 h 1017"/>
                <a:gd name="T66" fmla="*/ 0 w 872"/>
                <a:gd name="T67" fmla="*/ 0 h 1017"/>
                <a:gd name="T68" fmla="*/ 0 w 872"/>
                <a:gd name="T69" fmla="*/ 0 h 1017"/>
                <a:gd name="T70" fmla="*/ 0 w 872"/>
                <a:gd name="T71" fmla="*/ 0 h 1017"/>
                <a:gd name="T72" fmla="*/ 0 w 872"/>
                <a:gd name="T73" fmla="*/ 0 h 1017"/>
                <a:gd name="T74" fmla="*/ 0 w 872"/>
                <a:gd name="T75" fmla="*/ 0 h 1017"/>
                <a:gd name="T76" fmla="*/ 0 w 872"/>
                <a:gd name="T77" fmla="*/ 0 h 1017"/>
                <a:gd name="T78" fmla="*/ 0 w 872"/>
                <a:gd name="T79" fmla="*/ 0 h 1017"/>
                <a:gd name="T80" fmla="*/ 0 w 872"/>
                <a:gd name="T81" fmla="*/ 0 h 1017"/>
                <a:gd name="T82" fmla="*/ 0 w 872"/>
                <a:gd name="T83" fmla="*/ 0 h 1017"/>
                <a:gd name="T84" fmla="*/ 0 w 872"/>
                <a:gd name="T85" fmla="*/ 0 h 1017"/>
                <a:gd name="T86" fmla="*/ 0 w 872"/>
                <a:gd name="T87" fmla="*/ 0 h 1017"/>
                <a:gd name="T88" fmla="*/ 0 w 872"/>
                <a:gd name="T89" fmla="*/ 0 h 1017"/>
                <a:gd name="T90" fmla="*/ 0 w 872"/>
                <a:gd name="T91" fmla="*/ 0 h 1017"/>
                <a:gd name="T92" fmla="*/ 0 w 872"/>
                <a:gd name="T93" fmla="*/ 0 h 1017"/>
                <a:gd name="T94" fmla="*/ 0 w 872"/>
                <a:gd name="T95" fmla="*/ 0 h 1017"/>
                <a:gd name="T96" fmla="*/ 0 w 872"/>
                <a:gd name="T97" fmla="*/ 0 h 1017"/>
                <a:gd name="T98" fmla="*/ 0 w 872"/>
                <a:gd name="T99" fmla="*/ 0 h 1017"/>
                <a:gd name="T100" fmla="*/ 0 w 872"/>
                <a:gd name="T101" fmla="*/ 0 h 1017"/>
                <a:gd name="T102" fmla="*/ 0 w 872"/>
                <a:gd name="T103" fmla="*/ 0 h 1017"/>
                <a:gd name="T104" fmla="*/ 0 w 872"/>
                <a:gd name="T105" fmla="*/ 0 h 1017"/>
                <a:gd name="T106" fmla="*/ 0 w 872"/>
                <a:gd name="T107" fmla="*/ 0 h 1017"/>
                <a:gd name="T108" fmla="*/ 0 w 872"/>
                <a:gd name="T109" fmla="*/ 0 h 1017"/>
                <a:gd name="T110" fmla="*/ 0 w 872"/>
                <a:gd name="T111" fmla="*/ 0 h 1017"/>
                <a:gd name="T112" fmla="*/ 0 w 872"/>
                <a:gd name="T113" fmla="*/ 0 h 1017"/>
                <a:gd name="T114" fmla="*/ 0 w 872"/>
                <a:gd name="T115" fmla="*/ 0 h 1017"/>
                <a:gd name="T116" fmla="*/ 0 w 872"/>
                <a:gd name="T117" fmla="*/ 0 h 1017"/>
                <a:gd name="T118" fmla="*/ 0 w 872"/>
                <a:gd name="T119" fmla="*/ 0 h 1017"/>
                <a:gd name="T120" fmla="*/ 0 w 872"/>
                <a:gd name="T121" fmla="*/ 0 h 1017"/>
                <a:gd name="T122" fmla="*/ 0 w 872"/>
                <a:gd name="T123" fmla="*/ 0 h 1017"/>
                <a:gd name="T124" fmla="*/ 0 w 872"/>
                <a:gd name="T125" fmla="*/ 0 h 101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872" h="1017">
                  <a:moveTo>
                    <a:pt x="872" y="537"/>
                  </a:moveTo>
                  <a:lnTo>
                    <a:pt x="872" y="509"/>
                  </a:lnTo>
                  <a:lnTo>
                    <a:pt x="872" y="481"/>
                  </a:lnTo>
                  <a:lnTo>
                    <a:pt x="871" y="451"/>
                  </a:lnTo>
                  <a:lnTo>
                    <a:pt x="869" y="423"/>
                  </a:lnTo>
                  <a:lnTo>
                    <a:pt x="867" y="394"/>
                  </a:lnTo>
                  <a:lnTo>
                    <a:pt x="863" y="366"/>
                  </a:lnTo>
                  <a:lnTo>
                    <a:pt x="858" y="338"/>
                  </a:lnTo>
                  <a:lnTo>
                    <a:pt x="852" y="311"/>
                  </a:lnTo>
                  <a:lnTo>
                    <a:pt x="849" y="301"/>
                  </a:lnTo>
                  <a:lnTo>
                    <a:pt x="845" y="287"/>
                  </a:lnTo>
                  <a:lnTo>
                    <a:pt x="840" y="273"/>
                  </a:lnTo>
                  <a:lnTo>
                    <a:pt x="833" y="256"/>
                  </a:lnTo>
                  <a:lnTo>
                    <a:pt x="825" y="238"/>
                  </a:lnTo>
                  <a:lnTo>
                    <a:pt x="815" y="219"/>
                  </a:lnTo>
                  <a:lnTo>
                    <a:pt x="804" y="199"/>
                  </a:lnTo>
                  <a:lnTo>
                    <a:pt x="790" y="178"/>
                  </a:lnTo>
                  <a:lnTo>
                    <a:pt x="780" y="163"/>
                  </a:lnTo>
                  <a:lnTo>
                    <a:pt x="768" y="150"/>
                  </a:lnTo>
                  <a:lnTo>
                    <a:pt x="757" y="137"/>
                  </a:lnTo>
                  <a:lnTo>
                    <a:pt x="746" y="124"/>
                  </a:lnTo>
                  <a:lnTo>
                    <a:pt x="735" y="112"/>
                  </a:lnTo>
                  <a:lnTo>
                    <a:pt x="723" y="102"/>
                  </a:lnTo>
                  <a:lnTo>
                    <a:pt x="711" y="92"/>
                  </a:lnTo>
                  <a:lnTo>
                    <a:pt x="699" y="82"/>
                  </a:lnTo>
                  <a:lnTo>
                    <a:pt x="687" y="74"/>
                  </a:lnTo>
                  <a:lnTo>
                    <a:pt x="674" y="65"/>
                  </a:lnTo>
                  <a:lnTo>
                    <a:pt x="662" y="57"/>
                  </a:lnTo>
                  <a:lnTo>
                    <a:pt x="650" y="51"/>
                  </a:lnTo>
                  <a:lnTo>
                    <a:pt x="627" y="39"/>
                  </a:lnTo>
                  <a:lnTo>
                    <a:pt x="602" y="29"/>
                  </a:lnTo>
                  <a:lnTo>
                    <a:pt x="579" y="21"/>
                  </a:lnTo>
                  <a:lnTo>
                    <a:pt x="555" y="13"/>
                  </a:lnTo>
                  <a:lnTo>
                    <a:pt x="534" y="8"/>
                  </a:lnTo>
                  <a:lnTo>
                    <a:pt x="512" y="5"/>
                  </a:lnTo>
                  <a:lnTo>
                    <a:pt x="493" y="2"/>
                  </a:lnTo>
                  <a:lnTo>
                    <a:pt x="475" y="1"/>
                  </a:lnTo>
                  <a:lnTo>
                    <a:pt x="459" y="0"/>
                  </a:lnTo>
                  <a:lnTo>
                    <a:pt x="445" y="0"/>
                  </a:lnTo>
                  <a:lnTo>
                    <a:pt x="426" y="0"/>
                  </a:lnTo>
                  <a:lnTo>
                    <a:pt x="407" y="1"/>
                  </a:lnTo>
                  <a:lnTo>
                    <a:pt x="390" y="3"/>
                  </a:lnTo>
                  <a:lnTo>
                    <a:pt x="372" y="5"/>
                  </a:lnTo>
                  <a:lnTo>
                    <a:pt x="354" y="8"/>
                  </a:lnTo>
                  <a:lnTo>
                    <a:pt x="337" y="12"/>
                  </a:lnTo>
                  <a:lnTo>
                    <a:pt x="320" y="17"/>
                  </a:lnTo>
                  <a:lnTo>
                    <a:pt x="303" y="22"/>
                  </a:lnTo>
                  <a:lnTo>
                    <a:pt x="287" y="28"/>
                  </a:lnTo>
                  <a:lnTo>
                    <a:pt x="272" y="34"/>
                  </a:lnTo>
                  <a:lnTo>
                    <a:pt x="255" y="41"/>
                  </a:lnTo>
                  <a:lnTo>
                    <a:pt x="241" y="48"/>
                  </a:lnTo>
                  <a:lnTo>
                    <a:pt x="226" y="56"/>
                  </a:lnTo>
                  <a:lnTo>
                    <a:pt x="211" y="65"/>
                  </a:lnTo>
                  <a:lnTo>
                    <a:pt x="197" y="75"/>
                  </a:lnTo>
                  <a:lnTo>
                    <a:pt x="184" y="84"/>
                  </a:lnTo>
                  <a:lnTo>
                    <a:pt x="171" y="95"/>
                  </a:lnTo>
                  <a:lnTo>
                    <a:pt x="157" y="105"/>
                  </a:lnTo>
                  <a:lnTo>
                    <a:pt x="145" y="117"/>
                  </a:lnTo>
                  <a:lnTo>
                    <a:pt x="134" y="129"/>
                  </a:lnTo>
                  <a:lnTo>
                    <a:pt x="122" y="142"/>
                  </a:lnTo>
                  <a:lnTo>
                    <a:pt x="111" y="154"/>
                  </a:lnTo>
                  <a:lnTo>
                    <a:pt x="100" y="168"/>
                  </a:lnTo>
                  <a:lnTo>
                    <a:pt x="90" y="181"/>
                  </a:lnTo>
                  <a:lnTo>
                    <a:pt x="81" y="196"/>
                  </a:lnTo>
                  <a:lnTo>
                    <a:pt x="72" y="211"/>
                  </a:lnTo>
                  <a:lnTo>
                    <a:pt x="63" y="226"/>
                  </a:lnTo>
                  <a:lnTo>
                    <a:pt x="55" y="242"/>
                  </a:lnTo>
                  <a:lnTo>
                    <a:pt x="47" y="258"/>
                  </a:lnTo>
                  <a:lnTo>
                    <a:pt x="41" y="275"/>
                  </a:lnTo>
                  <a:lnTo>
                    <a:pt x="34" y="291"/>
                  </a:lnTo>
                  <a:lnTo>
                    <a:pt x="28" y="309"/>
                  </a:lnTo>
                  <a:lnTo>
                    <a:pt x="20" y="341"/>
                  </a:lnTo>
                  <a:lnTo>
                    <a:pt x="12" y="373"/>
                  </a:lnTo>
                  <a:lnTo>
                    <a:pt x="7" y="402"/>
                  </a:lnTo>
                  <a:lnTo>
                    <a:pt x="4" y="431"/>
                  </a:lnTo>
                  <a:lnTo>
                    <a:pt x="2" y="456"/>
                  </a:lnTo>
                  <a:lnTo>
                    <a:pt x="1" y="478"/>
                  </a:lnTo>
                  <a:lnTo>
                    <a:pt x="0" y="497"/>
                  </a:lnTo>
                  <a:lnTo>
                    <a:pt x="0" y="511"/>
                  </a:lnTo>
                  <a:lnTo>
                    <a:pt x="0" y="536"/>
                  </a:lnTo>
                  <a:lnTo>
                    <a:pt x="1" y="560"/>
                  </a:lnTo>
                  <a:lnTo>
                    <a:pt x="3" y="584"/>
                  </a:lnTo>
                  <a:lnTo>
                    <a:pt x="5" y="606"/>
                  </a:lnTo>
                  <a:lnTo>
                    <a:pt x="7" y="627"/>
                  </a:lnTo>
                  <a:lnTo>
                    <a:pt x="10" y="648"/>
                  </a:lnTo>
                  <a:lnTo>
                    <a:pt x="15" y="668"/>
                  </a:lnTo>
                  <a:lnTo>
                    <a:pt x="19" y="688"/>
                  </a:lnTo>
                  <a:lnTo>
                    <a:pt x="24" y="706"/>
                  </a:lnTo>
                  <a:lnTo>
                    <a:pt x="29" y="723"/>
                  </a:lnTo>
                  <a:lnTo>
                    <a:pt x="34" y="739"/>
                  </a:lnTo>
                  <a:lnTo>
                    <a:pt x="40" y="756"/>
                  </a:lnTo>
                  <a:lnTo>
                    <a:pt x="46" y="771"/>
                  </a:lnTo>
                  <a:lnTo>
                    <a:pt x="53" y="786"/>
                  </a:lnTo>
                  <a:lnTo>
                    <a:pt x="60" y="801"/>
                  </a:lnTo>
                  <a:lnTo>
                    <a:pt x="68" y="814"/>
                  </a:lnTo>
                  <a:lnTo>
                    <a:pt x="75" y="827"/>
                  </a:lnTo>
                  <a:lnTo>
                    <a:pt x="83" y="839"/>
                  </a:lnTo>
                  <a:lnTo>
                    <a:pt x="91" y="850"/>
                  </a:lnTo>
                  <a:lnTo>
                    <a:pt x="99" y="862"/>
                  </a:lnTo>
                  <a:lnTo>
                    <a:pt x="118" y="882"/>
                  </a:lnTo>
                  <a:lnTo>
                    <a:pt x="135" y="900"/>
                  </a:lnTo>
                  <a:lnTo>
                    <a:pt x="154" y="918"/>
                  </a:lnTo>
                  <a:lnTo>
                    <a:pt x="174" y="932"/>
                  </a:lnTo>
                  <a:lnTo>
                    <a:pt x="193" y="945"/>
                  </a:lnTo>
                  <a:lnTo>
                    <a:pt x="212" y="957"/>
                  </a:lnTo>
                  <a:lnTo>
                    <a:pt x="230" y="967"/>
                  </a:lnTo>
                  <a:lnTo>
                    <a:pt x="247" y="976"/>
                  </a:lnTo>
                  <a:lnTo>
                    <a:pt x="264" y="983"/>
                  </a:lnTo>
                  <a:lnTo>
                    <a:pt x="281" y="990"/>
                  </a:lnTo>
                  <a:lnTo>
                    <a:pt x="297" y="995"/>
                  </a:lnTo>
                  <a:lnTo>
                    <a:pt x="313" y="1000"/>
                  </a:lnTo>
                  <a:lnTo>
                    <a:pt x="329" y="1004"/>
                  </a:lnTo>
                  <a:lnTo>
                    <a:pt x="344" y="1007"/>
                  </a:lnTo>
                  <a:lnTo>
                    <a:pt x="373" y="1012"/>
                  </a:lnTo>
                  <a:lnTo>
                    <a:pt x="398" y="1015"/>
                  </a:lnTo>
                  <a:lnTo>
                    <a:pt x="419" y="1016"/>
                  </a:lnTo>
                  <a:lnTo>
                    <a:pt x="437" y="1017"/>
                  </a:lnTo>
                  <a:lnTo>
                    <a:pt x="463" y="1016"/>
                  </a:lnTo>
                  <a:lnTo>
                    <a:pt x="490" y="1014"/>
                  </a:lnTo>
                  <a:lnTo>
                    <a:pt x="516" y="1010"/>
                  </a:lnTo>
                  <a:lnTo>
                    <a:pt x="542" y="1005"/>
                  </a:lnTo>
                  <a:lnTo>
                    <a:pt x="567" y="999"/>
                  </a:lnTo>
                  <a:lnTo>
                    <a:pt x="593" y="991"/>
                  </a:lnTo>
                  <a:lnTo>
                    <a:pt x="617" y="982"/>
                  </a:lnTo>
                  <a:lnTo>
                    <a:pt x="641" y="972"/>
                  </a:lnTo>
                  <a:lnTo>
                    <a:pt x="663" y="959"/>
                  </a:lnTo>
                  <a:lnTo>
                    <a:pt x="686" y="946"/>
                  </a:lnTo>
                  <a:lnTo>
                    <a:pt x="707" y="932"/>
                  </a:lnTo>
                  <a:lnTo>
                    <a:pt x="728" y="916"/>
                  </a:lnTo>
                  <a:lnTo>
                    <a:pt x="747" y="898"/>
                  </a:lnTo>
                  <a:lnTo>
                    <a:pt x="764" y="880"/>
                  </a:lnTo>
                  <a:lnTo>
                    <a:pt x="782" y="861"/>
                  </a:lnTo>
                  <a:lnTo>
                    <a:pt x="798" y="839"/>
                  </a:lnTo>
                  <a:lnTo>
                    <a:pt x="809" y="821"/>
                  </a:lnTo>
                  <a:lnTo>
                    <a:pt x="820" y="802"/>
                  </a:lnTo>
                  <a:lnTo>
                    <a:pt x="831" y="783"/>
                  </a:lnTo>
                  <a:lnTo>
                    <a:pt x="840" y="765"/>
                  </a:lnTo>
                  <a:lnTo>
                    <a:pt x="847" y="748"/>
                  </a:lnTo>
                  <a:lnTo>
                    <a:pt x="854" y="733"/>
                  </a:lnTo>
                  <a:lnTo>
                    <a:pt x="858" y="722"/>
                  </a:lnTo>
                  <a:lnTo>
                    <a:pt x="861" y="715"/>
                  </a:lnTo>
                  <a:lnTo>
                    <a:pt x="660" y="683"/>
                  </a:lnTo>
                  <a:lnTo>
                    <a:pt x="658" y="692"/>
                  </a:lnTo>
                  <a:lnTo>
                    <a:pt x="655" y="700"/>
                  </a:lnTo>
                  <a:lnTo>
                    <a:pt x="652" y="708"/>
                  </a:lnTo>
                  <a:lnTo>
                    <a:pt x="649" y="715"/>
                  </a:lnTo>
                  <a:lnTo>
                    <a:pt x="645" y="723"/>
                  </a:lnTo>
                  <a:lnTo>
                    <a:pt x="642" y="730"/>
                  </a:lnTo>
                  <a:lnTo>
                    <a:pt x="637" y="737"/>
                  </a:lnTo>
                  <a:lnTo>
                    <a:pt x="633" y="746"/>
                  </a:lnTo>
                  <a:lnTo>
                    <a:pt x="624" y="757"/>
                  </a:lnTo>
                  <a:lnTo>
                    <a:pt x="615" y="767"/>
                  </a:lnTo>
                  <a:lnTo>
                    <a:pt x="606" y="776"/>
                  </a:lnTo>
                  <a:lnTo>
                    <a:pt x="597" y="786"/>
                  </a:lnTo>
                  <a:lnTo>
                    <a:pt x="587" y="794"/>
                  </a:lnTo>
                  <a:lnTo>
                    <a:pt x="576" y="803"/>
                  </a:lnTo>
                  <a:lnTo>
                    <a:pt x="564" y="810"/>
                  </a:lnTo>
                  <a:lnTo>
                    <a:pt x="553" y="817"/>
                  </a:lnTo>
                  <a:lnTo>
                    <a:pt x="541" y="823"/>
                  </a:lnTo>
                  <a:lnTo>
                    <a:pt x="529" y="828"/>
                  </a:lnTo>
                  <a:lnTo>
                    <a:pt x="516" y="832"/>
                  </a:lnTo>
                  <a:lnTo>
                    <a:pt x="503" y="836"/>
                  </a:lnTo>
                  <a:lnTo>
                    <a:pt x="490" y="839"/>
                  </a:lnTo>
                  <a:lnTo>
                    <a:pt x="477" y="841"/>
                  </a:lnTo>
                  <a:lnTo>
                    <a:pt x="463" y="842"/>
                  </a:lnTo>
                  <a:lnTo>
                    <a:pt x="450" y="842"/>
                  </a:lnTo>
                  <a:lnTo>
                    <a:pt x="439" y="842"/>
                  </a:lnTo>
                  <a:lnTo>
                    <a:pt x="426" y="841"/>
                  </a:lnTo>
                  <a:lnTo>
                    <a:pt x="411" y="839"/>
                  </a:lnTo>
                  <a:lnTo>
                    <a:pt x="396" y="835"/>
                  </a:lnTo>
                  <a:lnTo>
                    <a:pt x="388" y="833"/>
                  </a:lnTo>
                  <a:lnTo>
                    <a:pt x="380" y="829"/>
                  </a:lnTo>
                  <a:lnTo>
                    <a:pt x="371" y="826"/>
                  </a:lnTo>
                  <a:lnTo>
                    <a:pt x="361" y="821"/>
                  </a:lnTo>
                  <a:lnTo>
                    <a:pt x="352" y="816"/>
                  </a:lnTo>
                  <a:lnTo>
                    <a:pt x="343" y="810"/>
                  </a:lnTo>
                  <a:lnTo>
                    <a:pt x="334" y="803"/>
                  </a:lnTo>
                  <a:lnTo>
                    <a:pt x="325" y="794"/>
                  </a:lnTo>
                  <a:lnTo>
                    <a:pt x="310" y="781"/>
                  </a:lnTo>
                  <a:lnTo>
                    <a:pt x="298" y="767"/>
                  </a:lnTo>
                  <a:lnTo>
                    <a:pt x="287" y="753"/>
                  </a:lnTo>
                  <a:lnTo>
                    <a:pt x="277" y="737"/>
                  </a:lnTo>
                  <a:lnTo>
                    <a:pt x="269" y="723"/>
                  </a:lnTo>
                  <a:lnTo>
                    <a:pt x="261" y="708"/>
                  </a:lnTo>
                  <a:lnTo>
                    <a:pt x="255" y="694"/>
                  </a:lnTo>
                  <a:lnTo>
                    <a:pt x="251" y="679"/>
                  </a:lnTo>
                  <a:lnTo>
                    <a:pt x="247" y="666"/>
                  </a:lnTo>
                  <a:lnTo>
                    <a:pt x="243" y="653"/>
                  </a:lnTo>
                  <a:lnTo>
                    <a:pt x="241" y="641"/>
                  </a:lnTo>
                  <a:lnTo>
                    <a:pt x="239" y="629"/>
                  </a:lnTo>
                  <a:lnTo>
                    <a:pt x="236" y="609"/>
                  </a:lnTo>
                  <a:lnTo>
                    <a:pt x="235" y="594"/>
                  </a:lnTo>
                  <a:lnTo>
                    <a:pt x="234" y="587"/>
                  </a:lnTo>
                  <a:lnTo>
                    <a:pt x="233" y="580"/>
                  </a:lnTo>
                  <a:lnTo>
                    <a:pt x="233" y="572"/>
                  </a:lnTo>
                  <a:lnTo>
                    <a:pt x="232" y="565"/>
                  </a:lnTo>
                  <a:lnTo>
                    <a:pt x="232" y="559"/>
                  </a:lnTo>
                  <a:lnTo>
                    <a:pt x="231" y="552"/>
                  </a:lnTo>
                  <a:lnTo>
                    <a:pt x="231" y="546"/>
                  </a:lnTo>
                  <a:lnTo>
                    <a:pt x="231" y="540"/>
                  </a:lnTo>
                  <a:lnTo>
                    <a:pt x="872" y="537"/>
                  </a:lnTo>
                  <a:close/>
                  <a:moveTo>
                    <a:pt x="226" y="397"/>
                  </a:moveTo>
                  <a:lnTo>
                    <a:pt x="228" y="380"/>
                  </a:lnTo>
                  <a:lnTo>
                    <a:pt x="229" y="365"/>
                  </a:lnTo>
                  <a:lnTo>
                    <a:pt x="231" y="353"/>
                  </a:lnTo>
                  <a:lnTo>
                    <a:pt x="234" y="342"/>
                  </a:lnTo>
                  <a:lnTo>
                    <a:pt x="236" y="332"/>
                  </a:lnTo>
                  <a:lnTo>
                    <a:pt x="239" y="323"/>
                  </a:lnTo>
                  <a:lnTo>
                    <a:pt x="242" y="315"/>
                  </a:lnTo>
                  <a:lnTo>
                    <a:pt x="246" y="306"/>
                  </a:lnTo>
                  <a:lnTo>
                    <a:pt x="252" y="290"/>
                  </a:lnTo>
                  <a:lnTo>
                    <a:pt x="258" y="277"/>
                  </a:lnTo>
                  <a:lnTo>
                    <a:pt x="265" y="265"/>
                  </a:lnTo>
                  <a:lnTo>
                    <a:pt x="273" y="253"/>
                  </a:lnTo>
                  <a:lnTo>
                    <a:pt x="281" y="243"/>
                  </a:lnTo>
                  <a:lnTo>
                    <a:pt x="289" y="232"/>
                  </a:lnTo>
                  <a:lnTo>
                    <a:pt x="297" y="223"/>
                  </a:lnTo>
                  <a:lnTo>
                    <a:pt x="305" y="215"/>
                  </a:lnTo>
                  <a:lnTo>
                    <a:pt x="322" y="201"/>
                  </a:lnTo>
                  <a:lnTo>
                    <a:pt x="337" y="190"/>
                  </a:lnTo>
                  <a:lnTo>
                    <a:pt x="351" y="180"/>
                  </a:lnTo>
                  <a:lnTo>
                    <a:pt x="364" y="174"/>
                  </a:lnTo>
                  <a:lnTo>
                    <a:pt x="369" y="171"/>
                  </a:lnTo>
                  <a:lnTo>
                    <a:pt x="376" y="168"/>
                  </a:lnTo>
                  <a:lnTo>
                    <a:pt x="384" y="165"/>
                  </a:lnTo>
                  <a:lnTo>
                    <a:pt x="393" y="162"/>
                  </a:lnTo>
                  <a:lnTo>
                    <a:pt x="404" y="160"/>
                  </a:lnTo>
                  <a:lnTo>
                    <a:pt x="415" y="157"/>
                  </a:lnTo>
                  <a:lnTo>
                    <a:pt x="428" y="156"/>
                  </a:lnTo>
                  <a:lnTo>
                    <a:pt x="441" y="155"/>
                  </a:lnTo>
                  <a:lnTo>
                    <a:pt x="450" y="155"/>
                  </a:lnTo>
                  <a:lnTo>
                    <a:pt x="461" y="156"/>
                  </a:lnTo>
                  <a:lnTo>
                    <a:pt x="475" y="158"/>
                  </a:lnTo>
                  <a:lnTo>
                    <a:pt x="488" y="162"/>
                  </a:lnTo>
                  <a:lnTo>
                    <a:pt x="504" y="167"/>
                  </a:lnTo>
                  <a:lnTo>
                    <a:pt x="520" y="174"/>
                  </a:lnTo>
                  <a:lnTo>
                    <a:pt x="538" y="185"/>
                  </a:lnTo>
                  <a:lnTo>
                    <a:pt x="555" y="197"/>
                  </a:lnTo>
                  <a:lnTo>
                    <a:pt x="568" y="207"/>
                  </a:lnTo>
                  <a:lnTo>
                    <a:pt x="580" y="217"/>
                  </a:lnTo>
                  <a:lnTo>
                    <a:pt x="590" y="227"/>
                  </a:lnTo>
                  <a:lnTo>
                    <a:pt x="599" y="238"/>
                  </a:lnTo>
                  <a:lnTo>
                    <a:pt x="607" y="250"/>
                  </a:lnTo>
                  <a:lnTo>
                    <a:pt x="614" y="261"/>
                  </a:lnTo>
                  <a:lnTo>
                    <a:pt x="620" y="273"/>
                  </a:lnTo>
                  <a:lnTo>
                    <a:pt x="627" y="285"/>
                  </a:lnTo>
                  <a:lnTo>
                    <a:pt x="631" y="299"/>
                  </a:lnTo>
                  <a:lnTo>
                    <a:pt x="636" y="311"/>
                  </a:lnTo>
                  <a:lnTo>
                    <a:pt x="639" y="324"/>
                  </a:lnTo>
                  <a:lnTo>
                    <a:pt x="642" y="338"/>
                  </a:lnTo>
                  <a:lnTo>
                    <a:pt x="648" y="367"/>
                  </a:lnTo>
                  <a:lnTo>
                    <a:pt x="653" y="397"/>
                  </a:lnTo>
                  <a:lnTo>
                    <a:pt x="226" y="397"/>
                  </a:lnTo>
                  <a:close/>
                </a:path>
              </a:pathLst>
            </a:custGeom>
            <a:solidFill>
              <a:srgbClr val="5E737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276" u="sng">
                <a:solidFill>
                  <a:srgbClr val="000000"/>
                </a:solidFill>
                <a:latin typeface="Arial" charset="0"/>
                <a:cs typeface="Arial"/>
              </a:endParaRPr>
            </a:p>
          </p:txBody>
        </p:sp>
        <p:sp>
          <p:nvSpPr>
            <p:cNvPr id="31" name="Rectangle 77"/>
            <p:cNvSpPr>
              <a:spLocks noChangeArrowheads="1"/>
            </p:cNvSpPr>
            <p:nvPr userDrawn="1"/>
          </p:nvSpPr>
          <p:spPr bwMode="auto">
            <a:xfrm>
              <a:off x="6011" y="399"/>
              <a:ext cx="12" cy="12"/>
            </a:xfrm>
            <a:prstGeom prst="rect">
              <a:avLst/>
            </a:prstGeom>
            <a:solidFill>
              <a:srgbClr val="5E737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700" u="sng">
                  <a:solidFill>
                    <a:schemeClr val="tx1"/>
                  </a:solidFill>
                  <a:latin typeface="Arial" charset="0"/>
                  <a:cs typeface="Arial" charset="0"/>
                </a:defRPr>
              </a:lvl1pPr>
              <a:lvl2pPr marL="742950" indent="-285750" eaLnBrk="0" hangingPunct="0">
                <a:defRPr sz="1700" u="sng">
                  <a:solidFill>
                    <a:schemeClr val="tx1"/>
                  </a:solidFill>
                  <a:latin typeface="Arial" charset="0"/>
                  <a:cs typeface="Arial" charset="0"/>
                </a:defRPr>
              </a:lvl2pPr>
              <a:lvl3pPr marL="1143000" indent="-228600" eaLnBrk="0" hangingPunct="0">
                <a:defRPr sz="1700" u="sng">
                  <a:solidFill>
                    <a:schemeClr val="tx1"/>
                  </a:solidFill>
                  <a:latin typeface="Arial" charset="0"/>
                  <a:cs typeface="Arial" charset="0"/>
                </a:defRPr>
              </a:lvl3pPr>
              <a:lvl4pPr marL="1600200" indent="-228600" eaLnBrk="0" hangingPunct="0">
                <a:defRPr sz="1700" u="sng">
                  <a:solidFill>
                    <a:schemeClr val="tx1"/>
                  </a:solidFill>
                  <a:latin typeface="Arial" charset="0"/>
                  <a:cs typeface="Arial" charset="0"/>
                </a:defRPr>
              </a:lvl4pPr>
              <a:lvl5pPr marL="2057400" indent="-228600" eaLnBrk="0" hangingPunct="0">
                <a:defRPr sz="1700" u="sng">
                  <a:solidFill>
                    <a:schemeClr val="tx1"/>
                  </a:solidFill>
                  <a:latin typeface="Arial" charset="0"/>
                  <a:cs typeface="Arial" charset="0"/>
                </a:defRPr>
              </a:lvl5pPr>
              <a:lvl6pPr marL="2514600" indent="-228600" eaLnBrk="0" fontAlgn="base" hangingPunct="0">
                <a:spcBef>
                  <a:spcPct val="0"/>
                </a:spcBef>
                <a:spcAft>
                  <a:spcPct val="0"/>
                </a:spcAft>
                <a:defRPr sz="1700" u="sng">
                  <a:solidFill>
                    <a:schemeClr val="tx1"/>
                  </a:solidFill>
                  <a:latin typeface="Arial" charset="0"/>
                  <a:cs typeface="Arial" charset="0"/>
                </a:defRPr>
              </a:lvl6pPr>
              <a:lvl7pPr marL="2971800" indent="-228600" eaLnBrk="0" fontAlgn="base" hangingPunct="0">
                <a:spcBef>
                  <a:spcPct val="0"/>
                </a:spcBef>
                <a:spcAft>
                  <a:spcPct val="0"/>
                </a:spcAft>
                <a:defRPr sz="1700" u="sng">
                  <a:solidFill>
                    <a:schemeClr val="tx1"/>
                  </a:solidFill>
                  <a:latin typeface="Arial" charset="0"/>
                  <a:cs typeface="Arial" charset="0"/>
                </a:defRPr>
              </a:lvl7pPr>
              <a:lvl8pPr marL="3429000" indent="-228600" eaLnBrk="0" fontAlgn="base" hangingPunct="0">
                <a:spcBef>
                  <a:spcPct val="0"/>
                </a:spcBef>
                <a:spcAft>
                  <a:spcPct val="0"/>
                </a:spcAft>
                <a:defRPr sz="1700" u="sng">
                  <a:solidFill>
                    <a:schemeClr val="tx1"/>
                  </a:solidFill>
                  <a:latin typeface="Arial" charset="0"/>
                  <a:cs typeface="Arial" charset="0"/>
                </a:defRPr>
              </a:lvl8pPr>
              <a:lvl9pPr marL="3886200" indent="-228600" eaLnBrk="0" fontAlgn="base" hangingPunct="0">
                <a:spcBef>
                  <a:spcPct val="0"/>
                </a:spcBef>
                <a:spcAft>
                  <a:spcPct val="0"/>
                </a:spcAft>
                <a:defRPr sz="1700" u="sng">
                  <a:solidFill>
                    <a:schemeClr val="tx1"/>
                  </a:solidFill>
                  <a:latin typeface="Arial" charset="0"/>
                  <a:cs typeface="Arial" charset="0"/>
                </a:defRPr>
              </a:lvl9pPr>
            </a:lstStyle>
            <a:p>
              <a:pPr eaLnBrk="1" hangingPunct="1">
                <a:spcBef>
                  <a:spcPct val="20000"/>
                </a:spcBef>
                <a:buClr>
                  <a:srgbClr val="0084C2"/>
                </a:buClr>
                <a:buSzPct val="130000"/>
                <a:buFont typeface="Times New Roman" pitchFamily="18" charset="0"/>
                <a:buNone/>
                <a:defRPr/>
              </a:pPr>
              <a:endParaRPr lang="en-US" altLang="en-US" sz="1276">
                <a:solidFill>
                  <a:srgbClr val="000000"/>
                </a:solidFill>
              </a:endParaRPr>
            </a:p>
          </p:txBody>
        </p:sp>
      </p:grpSp>
      <p:sp>
        <p:nvSpPr>
          <p:cNvPr id="4102" name="Rectangle 6"/>
          <p:cNvSpPr>
            <a:spLocks noGrp="1" noChangeArrowheads="1"/>
          </p:cNvSpPr>
          <p:nvPr>
            <p:ph type="subTitle" idx="1"/>
          </p:nvPr>
        </p:nvSpPr>
        <p:spPr>
          <a:xfrm>
            <a:off x="548054" y="3492955"/>
            <a:ext cx="7057292" cy="735296"/>
          </a:xfrm>
          <a:extLst>
            <a:ext uri="{909E8E84-426E-40DD-AFC4-6F175D3DCCD1}">
              <a14:hiddenFill xmlns:a14="http://schemas.microsoft.com/office/drawing/2010/main">
                <a:solidFill>
                  <a:schemeClr val="bg1">
                    <a:alpha val="50000"/>
                  </a:schemeClr>
                </a:solidFill>
              </a14:hiddenFill>
            </a:ext>
            <a:ext uri="{91240B29-F687-4F45-9708-019B960494DF}">
              <a14:hiddenLine xmlns:a14="http://schemas.microsoft.com/office/drawing/2010/main" w="9525">
                <a:solidFill>
                  <a:schemeClr val="bg2"/>
                </a:solidFill>
                <a:miter lim="800000"/>
                <a:headEnd/>
                <a:tailEnd/>
              </a14:hiddenLine>
            </a:ext>
          </a:extLst>
        </p:spPr>
        <p:txBody>
          <a:bodyPr tIns="0"/>
          <a:lstStyle>
            <a:lvl1pPr marL="199020" indent="0">
              <a:buFont typeface="Arial" charset="0"/>
              <a:buNone/>
              <a:defRPr/>
            </a:lvl1pPr>
          </a:lstStyle>
          <a:p>
            <a:pPr lvl="0"/>
            <a:r>
              <a:rPr lang="en-US" noProof="0"/>
              <a:t>Formatvorlage des Untertitelmasters durch Klicken bearbeiten</a:t>
            </a:r>
          </a:p>
        </p:txBody>
      </p:sp>
      <p:sp>
        <p:nvSpPr>
          <p:cNvPr id="4104" name="Rectangle 8"/>
          <p:cNvSpPr>
            <a:spLocks noGrp="1" noChangeArrowheads="1"/>
          </p:cNvSpPr>
          <p:nvPr>
            <p:ph type="ctrTitle"/>
          </p:nvPr>
        </p:nvSpPr>
        <p:spPr>
          <a:xfrm>
            <a:off x="548054" y="3094917"/>
            <a:ext cx="7058758" cy="365860"/>
          </a:xfrm>
        </p:spPr>
        <p:txBody>
          <a:bodyPr tIns="45720"/>
          <a:lstStyle>
            <a:lvl1pPr marL="199020" indent="-199020">
              <a:buClr>
                <a:srgbClr val="0084C2"/>
              </a:buClr>
              <a:buSzPct val="130000"/>
              <a:buFont typeface="Arial" charset="0"/>
              <a:buChar char=":"/>
              <a:defRPr>
                <a:solidFill>
                  <a:schemeClr val="tx1"/>
                </a:solidFill>
              </a:defRPr>
            </a:lvl1pPr>
          </a:lstStyle>
          <a:p>
            <a:pPr lvl="0"/>
            <a:r>
              <a:rPr lang="en-US" noProof="0"/>
              <a:t>Titelmasterformat durch Klicken bearbeiten</a:t>
            </a:r>
          </a:p>
        </p:txBody>
      </p:sp>
    </p:spTree>
    <p:extLst>
      <p:ext uri="{BB962C8B-B14F-4D97-AF65-F5344CB8AC3E}">
        <p14:creationId xmlns:p14="http://schemas.microsoft.com/office/powerpoint/2010/main" val="245141016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Rectangle 4"/>
          <p:cNvSpPr>
            <a:spLocks noGrp="1" noChangeArrowheads="1"/>
          </p:cNvSpPr>
          <p:nvPr>
            <p:ph type="ftr" sz="quarter" idx="10"/>
          </p:nvPr>
        </p:nvSpPr>
        <p:spPr>
          <a:ln/>
        </p:spPr>
        <p:txBody>
          <a:bodyPr/>
          <a:lstStyle>
            <a:lvl1pPr>
              <a:defRPr/>
            </a:lvl1pPr>
          </a:lstStyle>
          <a:p>
            <a:pPr>
              <a:defRPr/>
            </a:pPr>
            <a:r>
              <a:rPr lang="en-US">
                <a:solidFill>
                  <a:srgbClr val="808080"/>
                </a:solidFill>
              </a:rPr>
              <a:t>: Name (Date)</a:t>
            </a:r>
          </a:p>
        </p:txBody>
      </p:sp>
      <p:sp>
        <p:nvSpPr>
          <p:cNvPr id="5" name="Rectangle 5"/>
          <p:cNvSpPr>
            <a:spLocks noGrp="1" noChangeArrowheads="1"/>
          </p:cNvSpPr>
          <p:nvPr>
            <p:ph type="sldNum" sz="quarter" idx="11"/>
          </p:nvPr>
        </p:nvSpPr>
        <p:spPr>
          <a:ln/>
        </p:spPr>
        <p:txBody>
          <a:bodyPr/>
          <a:lstStyle>
            <a:lvl1pPr>
              <a:defRPr/>
            </a:lvl1pPr>
          </a:lstStyle>
          <a:p>
            <a:pPr>
              <a:defRPr/>
            </a:pPr>
            <a:fld id="{B0BEEF0F-AEDB-48B7-A4E5-07B96D93FAA6}" type="slidenum">
              <a:rPr lang="en-US">
                <a:solidFill>
                  <a:srgbClr val="808080"/>
                </a:solidFill>
              </a:rPr>
              <a:pPr>
                <a:defRPr/>
              </a:pPr>
              <a:t>‹#›</a:t>
            </a:fld>
            <a:endParaRPr lang="en-US">
              <a:solidFill>
                <a:srgbClr val="808080"/>
              </a:solidFill>
            </a:endParaRPr>
          </a:p>
        </p:txBody>
      </p:sp>
    </p:spTree>
    <p:extLst>
      <p:ext uri="{BB962C8B-B14F-4D97-AF65-F5344CB8AC3E}">
        <p14:creationId xmlns:p14="http://schemas.microsoft.com/office/powerpoint/2010/main" val="13762686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22435" y="3308237"/>
            <a:ext cx="7772400" cy="1022502"/>
          </a:xfrm>
        </p:spPr>
        <p:txBody>
          <a:bodyPr/>
          <a:lstStyle>
            <a:lvl1pPr algn="l">
              <a:defRPr sz="3003" b="1" cap="all"/>
            </a:lvl1pPr>
          </a:lstStyle>
          <a:p>
            <a:r>
              <a:rPr lang="de-DE"/>
              <a:t>Titelmasterformat durch Klicken bearbeiten</a:t>
            </a:r>
          </a:p>
        </p:txBody>
      </p:sp>
      <p:sp>
        <p:nvSpPr>
          <p:cNvPr id="3" name="Textplatzhalter 2"/>
          <p:cNvSpPr>
            <a:spLocks noGrp="1"/>
          </p:cNvSpPr>
          <p:nvPr>
            <p:ph type="body" idx="1"/>
          </p:nvPr>
        </p:nvSpPr>
        <p:spPr>
          <a:xfrm>
            <a:off x="722435" y="2182054"/>
            <a:ext cx="7772400" cy="1126182"/>
          </a:xfrm>
        </p:spPr>
        <p:txBody>
          <a:bodyPr anchor="b"/>
          <a:lstStyle>
            <a:lvl1pPr marL="0" indent="0">
              <a:buNone/>
              <a:defRPr sz="1501"/>
            </a:lvl1pPr>
            <a:lvl2pPr marL="343220" indent="0">
              <a:buNone/>
              <a:defRPr sz="1351"/>
            </a:lvl2pPr>
            <a:lvl3pPr marL="686440" indent="0">
              <a:buNone/>
              <a:defRPr sz="1201"/>
            </a:lvl3pPr>
            <a:lvl4pPr marL="1029660" indent="0">
              <a:buNone/>
              <a:defRPr sz="1051"/>
            </a:lvl4pPr>
            <a:lvl5pPr marL="1372880" indent="0">
              <a:buNone/>
              <a:defRPr sz="1051"/>
            </a:lvl5pPr>
            <a:lvl6pPr marL="1716100" indent="0">
              <a:buNone/>
              <a:defRPr sz="1051"/>
            </a:lvl6pPr>
            <a:lvl7pPr marL="2059320" indent="0">
              <a:buNone/>
              <a:defRPr sz="1051"/>
            </a:lvl7pPr>
            <a:lvl8pPr marL="2402540" indent="0">
              <a:buNone/>
              <a:defRPr sz="1051"/>
            </a:lvl8pPr>
            <a:lvl9pPr marL="2745760" indent="0">
              <a:buNone/>
              <a:defRPr sz="1051"/>
            </a:lvl9pPr>
          </a:lstStyle>
          <a:p>
            <a:pPr lvl="0"/>
            <a:r>
              <a:rPr lang="de-DE"/>
              <a:t>Textmasterformat bearbeiten</a:t>
            </a:r>
          </a:p>
        </p:txBody>
      </p:sp>
      <p:sp>
        <p:nvSpPr>
          <p:cNvPr id="4" name="Rectangle 4"/>
          <p:cNvSpPr>
            <a:spLocks noGrp="1" noChangeArrowheads="1"/>
          </p:cNvSpPr>
          <p:nvPr>
            <p:ph type="ftr" sz="quarter" idx="10"/>
          </p:nvPr>
        </p:nvSpPr>
        <p:spPr>
          <a:ln/>
        </p:spPr>
        <p:txBody>
          <a:bodyPr/>
          <a:lstStyle>
            <a:lvl1pPr>
              <a:defRPr/>
            </a:lvl1pPr>
          </a:lstStyle>
          <a:p>
            <a:pPr>
              <a:defRPr/>
            </a:pPr>
            <a:r>
              <a:rPr lang="en-US">
                <a:solidFill>
                  <a:srgbClr val="808080"/>
                </a:solidFill>
              </a:rPr>
              <a:t>: Name (Date)</a:t>
            </a:r>
          </a:p>
        </p:txBody>
      </p:sp>
      <p:sp>
        <p:nvSpPr>
          <p:cNvPr id="5" name="Rectangle 5"/>
          <p:cNvSpPr>
            <a:spLocks noGrp="1" noChangeArrowheads="1"/>
          </p:cNvSpPr>
          <p:nvPr>
            <p:ph type="sldNum" sz="quarter" idx="11"/>
          </p:nvPr>
        </p:nvSpPr>
        <p:spPr>
          <a:ln/>
        </p:spPr>
        <p:txBody>
          <a:bodyPr/>
          <a:lstStyle>
            <a:lvl1pPr>
              <a:defRPr/>
            </a:lvl1pPr>
          </a:lstStyle>
          <a:p>
            <a:pPr>
              <a:defRPr/>
            </a:pPr>
            <a:fld id="{572BFAF1-947B-416E-AFA3-7563D61CD333}" type="slidenum">
              <a:rPr lang="en-US">
                <a:solidFill>
                  <a:srgbClr val="808080"/>
                </a:solidFill>
              </a:rPr>
              <a:pPr>
                <a:defRPr/>
              </a:pPr>
              <a:t>‹#›</a:t>
            </a:fld>
            <a:endParaRPr lang="en-US">
              <a:solidFill>
                <a:srgbClr val="808080"/>
              </a:solidFill>
            </a:endParaRPr>
          </a:p>
        </p:txBody>
      </p:sp>
    </p:spTree>
    <p:extLst>
      <p:ext uri="{BB962C8B-B14F-4D97-AF65-F5344CB8AC3E}">
        <p14:creationId xmlns:p14="http://schemas.microsoft.com/office/powerpoint/2010/main" val="160972889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half" idx="1"/>
          </p:nvPr>
        </p:nvSpPr>
        <p:spPr>
          <a:xfrm>
            <a:off x="197828" y="732913"/>
            <a:ext cx="4309696" cy="4165087"/>
          </a:xfrm>
        </p:spPr>
        <p:txBody>
          <a:bodyPr/>
          <a:lstStyle>
            <a:lvl1pPr>
              <a:defRPr sz="2102"/>
            </a:lvl1pPr>
            <a:lvl2pPr>
              <a:defRPr sz="1802"/>
            </a:lvl2pPr>
            <a:lvl3pPr>
              <a:defRPr sz="1501"/>
            </a:lvl3pPr>
            <a:lvl4pPr>
              <a:defRPr sz="1351"/>
            </a:lvl4pPr>
            <a:lvl5pPr>
              <a:defRPr sz="1351"/>
            </a:lvl5pPr>
            <a:lvl6pPr>
              <a:defRPr sz="1351"/>
            </a:lvl6pPr>
            <a:lvl7pPr>
              <a:defRPr sz="1351"/>
            </a:lvl7pPr>
            <a:lvl8pPr>
              <a:defRPr sz="1351"/>
            </a:lvl8pPr>
            <a:lvl9pPr>
              <a:defRPr sz="1351"/>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a:xfrm>
            <a:off x="4648200" y="732913"/>
            <a:ext cx="4311162" cy="4165087"/>
          </a:xfrm>
        </p:spPr>
        <p:txBody>
          <a:bodyPr/>
          <a:lstStyle>
            <a:lvl1pPr>
              <a:defRPr sz="2102"/>
            </a:lvl1pPr>
            <a:lvl2pPr>
              <a:defRPr sz="1802"/>
            </a:lvl2pPr>
            <a:lvl3pPr>
              <a:defRPr sz="1501"/>
            </a:lvl3pPr>
            <a:lvl4pPr>
              <a:defRPr sz="1351"/>
            </a:lvl4pPr>
            <a:lvl5pPr>
              <a:defRPr sz="1351"/>
            </a:lvl5pPr>
            <a:lvl6pPr>
              <a:defRPr sz="1351"/>
            </a:lvl6pPr>
            <a:lvl7pPr>
              <a:defRPr sz="1351"/>
            </a:lvl7pPr>
            <a:lvl8pPr>
              <a:defRPr sz="1351"/>
            </a:lvl8pPr>
            <a:lvl9pPr>
              <a:defRPr sz="1351"/>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Rectangle 4"/>
          <p:cNvSpPr>
            <a:spLocks noGrp="1" noChangeArrowheads="1"/>
          </p:cNvSpPr>
          <p:nvPr>
            <p:ph type="ftr" sz="quarter" idx="10"/>
          </p:nvPr>
        </p:nvSpPr>
        <p:spPr>
          <a:ln/>
        </p:spPr>
        <p:txBody>
          <a:bodyPr/>
          <a:lstStyle>
            <a:lvl1pPr>
              <a:defRPr/>
            </a:lvl1pPr>
          </a:lstStyle>
          <a:p>
            <a:pPr>
              <a:defRPr/>
            </a:pPr>
            <a:r>
              <a:rPr lang="en-US">
                <a:solidFill>
                  <a:srgbClr val="808080"/>
                </a:solidFill>
              </a:rPr>
              <a:t>: Name (Date)</a:t>
            </a:r>
          </a:p>
        </p:txBody>
      </p:sp>
      <p:sp>
        <p:nvSpPr>
          <p:cNvPr id="6" name="Rectangle 5"/>
          <p:cNvSpPr>
            <a:spLocks noGrp="1" noChangeArrowheads="1"/>
          </p:cNvSpPr>
          <p:nvPr>
            <p:ph type="sldNum" sz="quarter" idx="11"/>
          </p:nvPr>
        </p:nvSpPr>
        <p:spPr>
          <a:ln/>
        </p:spPr>
        <p:txBody>
          <a:bodyPr/>
          <a:lstStyle>
            <a:lvl1pPr>
              <a:defRPr/>
            </a:lvl1pPr>
          </a:lstStyle>
          <a:p>
            <a:pPr>
              <a:defRPr/>
            </a:pPr>
            <a:fld id="{601CB291-B015-4140-8738-2281C7B05DC6}" type="slidenum">
              <a:rPr lang="en-US">
                <a:solidFill>
                  <a:srgbClr val="808080"/>
                </a:solidFill>
              </a:rPr>
              <a:pPr>
                <a:defRPr/>
              </a:pPr>
              <a:t>‹#›</a:t>
            </a:fld>
            <a:endParaRPr lang="en-US">
              <a:solidFill>
                <a:srgbClr val="808080"/>
              </a:solidFill>
            </a:endParaRPr>
          </a:p>
        </p:txBody>
      </p:sp>
    </p:spTree>
    <p:extLst>
      <p:ext uri="{BB962C8B-B14F-4D97-AF65-F5344CB8AC3E}">
        <p14:creationId xmlns:p14="http://schemas.microsoft.com/office/powerpoint/2010/main" val="310002371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457200" y="206169"/>
            <a:ext cx="8229600" cy="858044"/>
          </a:xfrm>
        </p:spPr>
        <p:txBody>
          <a:bodyPr/>
          <a:lstStyle>
            <a:lvl1pPr>
              <a:defRPr/>
            </a:lvl1pPr>
          </a:lstStyle>
          <a:p>
            <a:r>
              <a:rPr lang="de-DE"/>
              <a:t>Titelmasterformat durch Klicken bearbeiten</a:t>
            </a:r>
          </a:p>
        </p:txBody>
      </p:sp>
      <p:sp>
        <p:nvSpPr>
          <p:cNvPr id="3" name="Textplatzhalter 2"/>
          <p:cNvSpPr>
            <a:spLocks noGrp="1"/>
          </p:cNvSpPr>
          <p:nvPr>
            <p:ph type="body" idx="1"/>
          </p:nvPr>
        </p:nvSpPr>
        <p:spPr>
          <a:xfrm>
            <a:off x="457200" y="1152401"/>
            <a:ext cx="4040066" cy="480266"/>
          </a:xfrm>
        </p:spPr>
        <p:txBody>
          <a:bodyPr anchor="b"/>
          <a:lstStyle>
            <a:lvl1pPr marL="0" indent="0">
              <a:buNone/>
              <a:defRPr sz="1802" b="1"/>
            </a:lvl1pPr>
            <a:lvl2pPr marL="343220" indent="0">
              <a:buNone/>
              <a:defRPr sz="1501" b="1"/>
            </a:lvl2pPr>
            <a:lvl3pPr marL="686440" indent="0">
              <a:buNone/>
              <a:defRPr sz="1351" b="1"/>
            </a:lvl3pPr>
            <a:lvl4pPr marL="1029660" indent="0">
              <a:buNone/>
              <a:defRPr sz="1201" b="1"/>
            </a:lvl4pPr>
            <a:lvl5pPr marL="1372880" indent="0">
              <a:buNone/>
              <a:defRPr sz="1201" b="1"/>
            </a:lvl5pPr>
            <a:lvl6pPr marL="1716100" indent="0">
              <a:buNone/>
              <a:defRPr sz="1201" b="1"/>
            </a:lvl6pPr>
            <a:lvl7pPr marL="2059320" indent="0">
              <a:buNone/>
              <a:defRPr sz="1201" b="1"/>
            </a:lvl7pPr>
            <a:lvl8pPr marL="2402540" indent="0">
              <a:buNone/>
              <a:defRPr sz="1201" b="1"/>
            </a:lvl8pPr>
            <a:lvl9pPr marL="2745760" indent="0">
              <a:buNone/>
              <a:defRPr sz="1201" b="1"/>
            </a:lvl9pPr>
          </a:lstStyle>
          <a:p>
            <a:pPr lvl="0"/>
            <a:r>
              <a:rPr lang="de-DE"/>
              <a:t>Textmasterformat bearbeiten</a:t>
            </a:r>
          </a:p>
        </p:txBody>
      </p:sp>
      <p:sp>
        <p:nvSpPr>
          <p:cNvPr id="4" name="Inhaltsplatzhalter 3"/>
          <p:cNvSpPr>
            <a:spLocks noGrp="1"/>
          </p:cNvSpPr>
          <p:nvPr>
            <p:ph sz="half" idx="2"/>
          </p:nvPr>
        </p:nvSpPr>
        <p:spPr>
          <a:xfrm>
            <a:off x="457200" y="1632667"/>
            <a:ext cx="4040066" cy="2966210"/>
          </a:xfrm>
        </p:spPr>
        <p:txBody>
          <a:bodyPr/>
          <a:lstStyle>
            <a:lvl1pPr>
              <a:defRPr sz="1802"/>
            </a:lvl1pPr>
            <a:lvl2pPr>
              <a:defRPr sz="1501"/>
            </a:lvl2pPr>
            <a:lvl3pPr>
              <a:defRPr sz="1351"/>
            </a:lvl3pPr>
            <a:lvl4pPr>
              <a:defRPr sz="1201"/>
            </a:lvl4pPr>
            <a:lvl5pPr>
              <a:defRPr sz="1201"/>
            </a:lvl5pPr>
            <a:lvl6pPr>
              <a:defRPr sz="1201"/>
            </a:lvl6pPr>
            <a:lvl7pPr>
              <a:defRPr sz="1201"/>
            </a:lvl7pPr>
            <a:lvl8pPr>
              <a:defRPr sz="1201"/>
            </a:lvl8pPr>
            <a:lvl9pPr>
              <a:defRPr sz="1201"/>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p:cNvSpPr>
            <a:spLocks noGrp="1"/>
          </p:cNvSpPr>
          <p:nvPr>
            <p:ph type="body" sz="quarter" idx="3"/>
          </p:nvPr>
        </p:nvSpPr>
        <p:spPr>
          <a:xfrm>
            <a:off x="4645271" y="1152401"/>
            <a:ext cx="4041531" cy="480266"/>
          </a:xfrm>
        </p:spPr>
        <p:txBody>
          <a:bodyPr anchor="b"/>
          <a:lstStyle>
            <a:lvl1pPr marL="0" indent="0">
              <a:buNone/>
              <a:defRPr sz="1802" b="1"/>
            </a:lvl1pPr>
            <a:lvl2pPr marL="343220" indent="0">
              <a:buNone/>
              <a:defRPr sz="1501" b="1"/>
            </a:lvl2pPr>
            <a:lvl3pPr marL="686440" indent="0">
              <a:buNone/>
              <a:defRPr sz="1351" b="1"/>
            </a:lvl3pPr>
            <a:lvl4pPr marL="1029660" indent="0">
              <a:buNone/>
              <a:defRPr sz="1201" b="1"/>
            </a:lvl4pPr>
            <a:lvl5pPr marL="1372880" indent="0">
              <a:buNone/>
              <a:defRPr sz="1201" b="1"/>
            </a:lvl5pPr>
            <a:lvl6pPr marL="1716100" indent="0">
              <a:buNone/>
              <a:defRPr sz="1201" b="1"/>
            </a:lvl6pPr>
            <a:lvl7pPr marL="2059320" indent="0">
              <a:buNone/>
              <a:defRPr sz="1201" b="1"/>
            </a:lvl7pPr>
            <a:lvl8pPr marL="2402540" indent="0">
              <a:buNone/>
              <a:defRPr sz="1201" b="1"/>
            </a:lvl8pPr>
            <a:lvl9pPr marL="2745760" indent="0">
              <a:buNone/>
              <a:defRPr sz="1201" b="1"/>
            </a:lvl9pPr>
          </a:lstStyle>
          <a:p>
            <a:pPr lvl="0"/>
            <a:r>
              <a:rPr lang="de-DE"/>
              <a:t>Textmasterformat bearbeiten</a:t>
            </a:r>
          </a:p>
        </p:txBody>
      </p:sp>
      <p:sp>
        <p:nvSpPr>
          <p:cNvPr id="6" name="Inhaltsplatzhalter 5"/>
          <p:cNvSpPr>
            <a:spLocks noGrp="1"/>
          </p:cNvSpPr>
          <p:nvPr>
            <p:ph sz="quarter" idx="4"/>
          </p:nvPr>
        </p:nvSpPr>
        <p:spPr>
          <a:xfrm>
            <a:off x="4645271" y="1632667"/>
            <a:ext cx="4041531" cy="2966210"/>
          </a:xfrm>
        </p:spPr>
        <p:txBody>
          <a:bodyPr/>
          <a:lstStyle>
            <a:lvl1pPr>
              <a:defRPr sz="1802"/>
            </a:lvl1pPr>
            <a:lvl2pPr>
              <a:defRPr sz="1501"/>
            </a:lvl2pPr>
            <a:lvl3pPr>
              <a:defRPr sz="1351"/>
            </a:lvl3pPr>
            <a:lvl4pPr>
              <a:defRPr sz="1201"/>
            </a:lvl4pPr>
            <a:lvl5pPr>
              <a:defRPr sz="1201"/>
            </a:lvl5pPr>
            <a:lvl6pPr>
              <a:defRPr sz="1201"/>
            </a:lvl6pPr>
            <a:lvl7pPr>
              <a:defRPr sz="1201"/>
            </a:lvl7pPr>
            <a:lvl8pPr>
              <a:defRPr sz="1201"/>
            </a:lvl8pPr>
            <a:lvl9pPr>
              <a:defRPr sz="1201"/>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7" name="Rectangle 4"/>
          <p:cNvSpPr>
            <a:spLocks noGrp="1" noChangeArrowheads="1"/>
          </p:cNvSpPr>
          <p:nvPr>
            <p:ph type="ftr" sz="quarter" idx="10"/>
          </p:nvPr>
        </p:nvSpPr>
        <p:spPr>
          <a:ln/>
        </p:spPr>
        <p:txBody>
          <a:bodyPr/>
          <a:lstStyle>
            <a:lvl1pPr>
              <a:defRPr/>
            </a:lvl1pPr>
          </a:lstStyle>
          <a:p>
            <a:pPr>
              <a:defRPr/>
            </a:pPr>
            <a:r>
              <a:rPr lang="en-US">
                <a:solidFill>
                  <a:srgbClr val="808080"/>
                </a:solidFill>
              </a:rPr>
              <a:t>: Name (Date)</a:t>
            </a:r>
          </a:p>
        </p:txBody>
      </p:sp>
      <p:sp>
        <p:nvSpPr>
          <p:cNvPr id="8" name="Rectangle 5"/>
          <p:cNvSpPr>
            <a:spLocks noGrp="1" noChangeArrowheads="1"/>
          </p:cNvSpPr>
          <p:nvPr>
            <p:ph type="sldNum" sz="quarter" idx="11"/>
          </p:nvPr>
        </p:nvSpPr>
        <p:spPr>
          <a:ln/>
        </p:spPr>
        <p:txBody>
          <a:bodyPr/>
          <a:lstStyle>
            <a:lvl1pPr>
              <a:defRPr/>
            </a:lvl1pPr>
          </a:lstStyle>
          <a:p>
            <a:pPr>
              <a:defRPr/>
            </a:pPr>
            <a:fld id="{DFC78139-D6A6-4BDB-BD8B-13AF5D52F342}" type="slidenum">
              <a:rPr lang="en-US">
                <a:solidFill>
                  <a:srgbClr val="808080"/>
                </a:solidFill>
              </a:rPr>
              <a:pPr>
                <a:defRPr/>
              </a:pPr>
              <a:t>‹#›</a:t>
            </a:fld>
            <a:endParaRPr lang="en-US">
              <a:solidFill>
                <a:srgbClr val="808080"/>
              </a:solidFill>
            </a:endParaRPr>
          </a:p>
        </p:txBody>
      </p:sp>
    </p:spTree>
    <p:extLst>
      <p:ext uri="{BB962C8B-B14F-4D97-AF65-F5344CB8AC3E}">
        <p14:creationId xmlns:p14="http://schemas.microsoft.com/office/powerpoint/2010/main" val="198226819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Rectangle 4"/>
          <p:cNvSpPr>
            <a:spLocks noGrp="1" noChangeArrowheads="1"/>
          </p:cNvSpPr>
          <p:nvPr>
            <p:ph type="ftr" sz="quarter" idx="10"/>
          </p:nvPr>
        </p:nvSpPr>
        <p:spPr>
          <a:ln/>
        </p:spPr>
        <p:txBody>
          <a:bodyPr/>
          <a:lstStyle>
            <a:lvl1pPr>
              <a:defRPr/>
            </a:lvl1pPr>
          </a:lstStyle>
          <a:p>
            <a:pPr>
              <a:defRPr/>
            </a:pPr>
            <a:r>
              <a:rPr lang="en-US">
                <a:solidFill>
                  <a:srgbClr val="808080"/>
                </a:solidFill>
              </a:rPr>
              <a:t>: Name (Date)</a:t>
            </a:r>
          </a:p>
        </p:txBody>
      </p:sp>
      <p:sp>
        <p:nvSpPr>
          <p:cNvPr id="4" name="Rectangle 5"/>
          <p:cNvSpPr>
            <a:spLocks noGrp="1" noChangeArrowheads="1"/>
          </p:cNvSpPr>
          <p:nvPr>
            <p:ph type="sldNum" sz="quarter" idx="11"/>
          </p:nvPr>
        </p:nvSpPr>
        <p:spPr>
          <a:ln/>
        </p:spPr>
        <p:txBody>
          <a:bodyPr/>
          <a:lstStyle>
            <a:lvl1pPr>
              <a:defRPr/>
            </a:lvl1pPr>
          </a:lstStyle>
          <a:p>
            <a:pPr>
              <a:defRPr/>
            </a:pPr>
            <a:fld id="{33034523-B156-4780-81FC-59F2BC5ACA6C}" type="slidenum">
              <a:rPr lang="en-US">
                <a:solidFill>
                  <a:srgbClr val="808080"/>
                </a:solidFill>
              </a:rPr>
              <a:pPr>
                <a:defRPr/>
              </a:pPr>
              <a:t>‹#›</a:t>
            </a:fld>
            <a:endParaRPr lang="en-US">
              <a:solidFill>
                <a:srgbClr val="808080"/>
              </a:solidFill>
            </a:endParaRPr>
          </a:p>
        </p:txBody>
      </p:sp>
    </p:spTree>
    <p:extLst>
      <p:ext uri="{BB962C8B-B14F-4D97-AF65-F5344CB8AC3E}">
        <p14:creationId xmlns:p14="http://schemas.microsoft.com/office/powerpoint/2010/main" val="207936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361950" y="291431"/>
            <a:ext cx="8229600" cy="461665"/>
          </a:xfrm>
          <a:prstGeom prst="rect">
            <a:avLst/>
          </a:prstGeom>
        </p:spPr>
        <p:txBody>
          <a:bodyPr vert="horz" lIns="91440" tIns="45720" rIns="91440" bIns="45720" rtlCol="0" anchor="ctr">
            <a:spAutoFit/>
          </a:bodyPr>
          <a:lstStyle/>
          <a:p>
            <a:r>
              <a:rPr lang="en-US" dirty="0"/>
              <a:t>Click to edit Master title style</a:t>
            </a:r>
          </a:p>
        </p:txBody>
      </p:sp>
      <p:sp>
        <p:nvSpPr>
          <p:cNvPr id="6" name="Text Placeholder 3"/>
          <p:cNvSpPr>
            <a:spLocks noGrp="1"/>
          </p:cNvSpPr>
          <p:nvPr>
            <p:ph type="body" sz="quarter" idx="16" hasCustomPrompt="1"/>
          </p:nvPr>
        </p:nvSpPr>
        <p:spPr>
          <a:xfrm>
            <a:off x="361950" y="1162750"/>
            <a:ext cx="8229600" cy="2622550"/>
          </a:xfrm>
          <a:prstGeom prst="rect">
            <a:avLst/>
          </a:prstGeom>
        </p:spPr>
        <p:txBody>
          <a:bodyPr vert="horz"/>
          <a:lstStyle>
            <a:lvl1pPr marL="0" marR="0" indent="0" algn="l" defTabSz="456789" rtl="0" eaLnBrk="1" fontAlgn="auto" latinLnBrk="0" hangingPunct="1">
              <a:lnSpc>
                <a:spcPct val="100000"/>
              </a:lnSpc>
              <a:spcBef>
                <a:spcPct val="20000"/>
              </a:spcBef>
              <a:spcAft>
                <a:spcPts val="0"/>
              </a:spcAft>
              <a:buClr>
                <a:srgbClr val="D02124"/>
              </a:buClr>
              <a:buSzTx/>
              <a:buFont typeface="Lucida Grande"/>
              <a:buNone/>
              <a:tabLst/>
              <a:defRPr sz="1399">
                <a:solidFill>
                  <a:schemeClr val="bg1"/>
                </a:solidFill>
              </a:defRPr>
            </a:lvl1pPr>
            <a:lvl2pPr marL="171296" indent="0">
              <a:buNone/>
              <a:defRPr sz="1399">
                <a:solidFill>
                  <a:schemeClr val="bg1"/>
                </a:solidFill>
              </a:defRPr>
            </a:lvl2pPr>
            <a:lvl3pPr marL="285493" indent="0">
              <a:buNone/>
              <a:defRPr sz="1399">
                <a:solidFill>
                  <a:schemeClr val="bg1"/>
                </a:solidFill>
              </a:defRPr>
            </a:lvl3pPr>
            <a:lvl4pPr marL="456789" indent="0">
              <a:buNone/>
              <a:defRPr sz="1399">
                <a:solidFill>
                  <a:schemeClr val="bg1"/>
                </a:solidFill>
              </a:defRPr>
            </a:lvl4pPr>
            <a:lvl5pPr marL="628084" indent="0">
              <a:buNone/>
              <a:defRPr sz="1399">
                <a:solidFill>
                  <a:schemeClr val="bg1"/>
                </a:solidFill>
              </a:defRPr>
            </a:lvl5pPr>
          </a:lstStyle>
          <a:p>
            <a:pPr marL="0" marR="0" lvl="0" indent="0" algn="l" defTabSz="456789" rtl="0" eaLnBrk="1" fontAlgn="auto" latinLnBrk="0" hangingPunct="1">
              <a:lnSpc>
                <a:spcPct val="100000"/>
              </a:lnSpc>
              <a:spcBef>
                <a:spcPct val="20000"/>
              </a:spcBef>
              <a:spcAft>
                <a:spcPts val="0"/>
              </a:spcAft>
              <a:buClr>
                <a:srgbClr val="D02124"/>
              </a:buClr>
              <a:buSzTx/>
              <a:buFont typeface="Lucida Grande"/>
              <a:buNone/>
              <a:tabLst/>
              <a:defRPr/>
            </a:pPr>
            <a:r>
              <a:rPr lang="en-US" dirty="0"/>
              <a:t>Click to edit Master text styles. Click to edit Master text styles. Click to edit Master text styles.</a:t>
            </a:r>
          </a:p>
          <a:p>
            <a:pPr marL="0" marR="0" lvl="0" indent="0" algn="l" defTabSz="456789" rtl="0" eaLnBrk="1" fontAlgn="auto" latinLnBrk="0" hangingPunct="1">
              <a:lnSpc>
                <a:spcPct val="100000"/>
              </a:lnSpc>
              <a:spcBef>
                <a:spcPct val="20000"/>
              </a:spcBef>
              <a:spcAft>
                <a:spcPts val="0"/>
              </a:spcAft>
              <a:buClr>
                <a:srgbClr val="D02124"/>
              </a:buClr>
              <a:buSzTx/>
              <a:buFont typeface="Lucida Grande"/>
              <a:buNone/>
              <a:tabLst/>
              <a:defRPr/>
            </a:pPr>
            <a:r>
              <a:rPr lang="en-US" dirty="0"/>
              <a:t>Click to edit Master text styles. Click to edit Master text styles. Click to edit Master text styles.</a:t>
            </a:r>
          </a:p>
          <a:p>
            <a:pPr marL="0" marR="0" lvl="0" indent="0" algn="l" defTabSz="456789" rtl="0" eaLnBrk="1" fontAlgn="auto" latinLnBrk="0" hangingPunct="1">
              <a:lnSpc>
                <a:spcPct val="100000"/>
              </a:lnSpc>
              <a:spcBef>
                <a:spcPct val="20000"/>
              </a:spcBef>
              <a:spcAft>
                <a:spcPts val="0"/>
              </a:spcAft>
              <a:buClr>
                <a:srgbClr val="D02124"/>
              </a:buClr>
              <a:buSzTx/>
              <a:buFont typeface="Lucida Grande"/>
              <a:buNone/>
              <a:tabLst/>
              <a:defRPr/>
            </a:pPr>
            <a:endParaRPr lang="en-US" dirty="0"/>
          </a:p>
          <a:p>
            <a:pPr lvl="0"/>
            <a:endParaRPr lang="en-US" dirty="0"/>
          </a:p>
        </p:txBody>
      </p:sp>
      <p:sp>
        <p:nvSpPr>
          <p:cNvPr id="7" name="Footer Placeholder 5">
            <a:extLst>
              <a:ext uri="{FF2B5EF4-FFF2-40B4-BE49-F238E27FC236}">
                <a16:creationId xmlns:a16="http://schemas.microsoft.com/office/drawing/2014/main" id="{892C4BA2-4956-4A8F-AD76-3F1F667B4400}"/>
              </a:ext>
            </a:extLst>
          </p:cNvPr>
          <p:cNvSpPr>
            <a:spLocks noGrp="1"/>
          </p:cNvSpPr>
          <p:nvPr>
            <p:ph type="ftr" sz="quarter" idx="3"/>
          </p:nvPr>
        </p:nvSpPr>
        <p:spPr>
          <a:xfrm>
            <a:off x="5778500" y="4809501"/>
            <a:ext cx="3086100" cy="273050"/>
          </a:xfrm>
          <a:prstGeom prst="rect">
            <a:avLst/>
          </a:prstGeom>
        </p:spPr>
        <p:txBody>
          <a:bodyPr vert="horz" lIns="91440" tIns="45720" rIns="91440" bIns="45720" rtlCol="0" anchor="ctr"/>
          <a:lstStyle>
            <a:lvl1pPr algn="r">
              <a:defRPr sz="799">
                <a:solidFill>
                  <a:schemeClr val="tx2"/>
                </a:solidFill>
              </a:defRPr>
            </a:lvl1pPr>
          </a:lstStyle>
          <a:p>
            <a:endParaRPr lang="en-US" dirty="0"/>
          </a:p>
        </p:txBody>
      </p:sp>
    </p:spTree>
    <p:extLst>
      <p:ext uri="{BB962C8B-B14F-4D97-AF65-F5344CB8AC3E}">
        <p14:creationId xmlns:p14="http://schemas.microsoft.com/office/powerpoint/2010/main" val="1695332864"/>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4"/>
          <p:cNvSpPr>
            <a:spLocks noGrp="1" noChangeArrowheads="1"/>
          </p:cNvSpPr>
          <p:nvPr>
            <p:ph type="ftr" sz="quarter" idx="10"/>
          </p:nvPr>
        </p:nvSpPr>
        <p:spPr>
          <a:ln/>
        </p:spPr>
        <p:txBody>
          <a:bodyPr/>
          <a:lstStyle>
            <a:lvl1pPr>
              <a:defRPr/>
            </a:lvl1pPr>
          </a:lstStyle>
          <a:p>
            <a:pPr>
              <a:defRPr/>
            </a:pPr>
            <a:r>
              <a:rPr lang="en-US">
                <a:solidFill>
                  <a:srgbClr val="808080"/>
                </a:solidFill>
              </a:rPr>
              <a:t>: Name (Date)</a:t>
            </a:r>
          </a:p>
        </p:txBody>
      </p:sp>
      <p:sp>
        <p:nvSpPr>
          <p:cNvPr id="3" name="Rectangle 5"/>
          <p:cNvSpPr>
            <a:spLocks noGrp="1" noChangeArrowheads="1"/>
          </p:cNvSpPr>
          <p:nvPr>
            <p:ph type="sldNum" sz="quarter" idx="11"/>
          </p:nvPr>
        </p:nvSpPr>
        <p:spPr>
          <a:ln/>
        </p:spPr>
        <p:txBody>
          <a:bodyPr/>
          <a:lstStyle>
            <a:lvl1pPr>
              <a:defRPr/>
            </a:lvl1pPr>
          </a:lstStyle>
          <a:p>
            <a:pPr>
              <a:defRPr/>
            </a:pPr>
            <a:fld id="{2E70381E-0143-405B-88F3-68BC750D2AF0}" type="slidenum">
              <a:rPr lang="en-US">
                <a:solidFill>
                  <a:srgbClr val="808080"/>
                </a:solidFill>
              </a:rPr>
              <a:pPr>
                <a:defRPr/>
              </a:pPr>
              <a:t>‹#›</a:t>
            </a:fld>
            <a:endParaRPr lang="en-US">
              <a:solidFill>
                <a:srgbClr val="808080"/>
              </a:solidFill>
            </a:endParaRPr>
          </a:p>
        </p:txBody>
      </p:sp>
    </p:spTree>
    <p:extLst>
      <p:ext uri="{BB962C8B-B14F-4D97-AF65-F5344CB8AC3E}">
        <p14:creationId xmlns:p14="http://schemas.microsoft.com/office/powerpoint/2010/main" val="62052164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457201" y="204977"/>
            <a:ext cx="3008435" cy="872345"/>
          </a:xfrm>
        </p:spPr>
        <p:txBody>
          <a:bodyPr anchor="b"/>
          <a:lstStyle>
            <a:lvl1pPr algn="l">
              <a:defRPr sz="1501" b="1"/>
            </a:lvl1pPr>
          </a:lstStyle>
          <a:p>
            <a:r>
              <a:rPr lang="de-DE"/>
              <a:t>Titelmasterformat durch Klicken bearbeiten</a:t>
            </a:r>
          </a:p>
        </p:txBody>
      </p:sp>
      <p:sp>
        <p:nvSpPr>
          <p:cNvPr id="3" name="Inhaltsplatzhalter 2"/>
          <p:cNvSpPr>
            <a:spLocks noGrp="1"/>
          </p:cNvSpPr>
          <p:nvPr>
            <p:ph idx="1"/>
          </p:nvPr>
        </p:nvSpPr>
        <p:spPr>
          <a:xfrm>
            <a:off x="3575538" y="204978"/>
            <a:ext cx="5111262" cy="4393900"/>
          </a:xfrm>
        </p:spPr>
        <p:txBody>
          <a:bodyPr/>
          <a:lstStyle>
            <a:lvl1pPr>
              <a:defRPr sz="2402"/>
            </a:lvl1pPr>
            <a:lvl2pPr>
              <a:defRPr sz="2102"/>
            </a:lvl2pPr>
            <a:lvl3pPr>
              <a:defRPr sz="1802"/>
            </a:lvl3pPr>
            <a:lvl4pPr>
              <a:defRPr sz="1501"/>
            </a:lvl4pPr>
            <a:lvl5pPr>
              <a:defRPr sz="1501"/>
            </a:lvl5pPr>
            <a:lvl6pPr>
              <a:defRPr sz="1501"/>
            </a:lvl6pPr>
            <a:lvl7pPr>
              <a:defRPr sz="1501"/>
            </a:lvl7pPr>
            <a:lvl8pPr>
              <a:defRPr sz="1501"/>
            </a:lvl8pPr>
            <a:lvl9pPr>
              <a:defRPr sz="1501"/>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p:cNvSpPr>
            <a:spLocks noGrp="1"/>
          </p:cNvSpPr>
          <p:nvPr>
            <p:ph type="body" sz="half" idx="2"/>
          </p:nvPr>
        </p:nvSpPr>
        <p:spPr>
          <a:xfrm>
            <a:off x="457201" y="1077323"/>
            <a:ext cx="3008435" cy="3521555"/>
          </a:xfrm>
        </p:spPr>
        <p:txBody>
          <a:bodyPr/>
          <a:lstStyle>
            <a:lvl1pPr marL="0" indent="0">
              <a:buNone/>
              <a:defRPr sz="1051"/>
            </a:lvl1pPr>
            <a:lvl2pPr marL="343220" indent="0">
              <a:buNone/>
              <a:defRPr sz="901"/>
            </a:lvl2pPr>
            <a:lvl3pPr marL="686440" indent="0">
              <a:buNone/>
              <a:defRPr sz="751"/>
            </a:lvl3pPr>
            <a:lvl4pPr marL="1029660" indent="0">
              <a:buNone/>
              <a:defRPr sz="676"/>
            </a:lvl4pPr>
            <a:lvl5pPr marL="1372880" indent="0">
              <a:buNone/>
              <a:defRPr sz="676"/>
            </a:lvl5pPr>
            <a:lvl6pPr marL="1716100" indent="0">
              <a:buNone/>
              <a:defRPr sz="676"/>
            </a:lvl6pPr>
            <a:lvl7pPr marL="2059320" indent="0">
              <a:buNone/>
              <a:defRPr sz="676"/>
            </a:lvl7pPr>
            <a:lvl8pPr marL="2402540" indent="0">
              <a:buNone/>
              <a:defRPr sz="676"/>
            </a:lvl8pPr>
            <a:lvl9pPr marL="2745760" indent="0">
              <a:buNone/>
              <a:defRPr sz="676"/>
            </a:lvl9pPr>
          </a:lstStyle>
          <a:p>
            <a:pPr lvl="0"/>
            <a:r>
              <a:rPr lang="de-DE"/>
              <a:t>Textmasterformat bearbeiten</a:t>
            </a:r>
          </a:p>
        </p:txBody>
      </p:sp>
      <p:sp>
        <p:nvSpPr>
          <p:cNvPr id="5" name="Rectangle 4"/>
          <p:cNvSpPr>
            <a:spLocks noGrp="1" noChangeArrowheads="1"/>
          </p:cNvSpPr>
          <p:nvPr>
            <p:ph type="ftr" sz="quarter" idx="10"/>
          </p:nvPr>
        </p:nvSpPr>
        <p:spPr>
          <a:ln/>
        </p:spPr>
        <p:txBody>
          <a:bodyPr/>
          <a:lstStyle>
            <a:lvl1pPr>
              <a:defRPr/>
            </a:lvl1pPr>
          </a:lstStyle>
          <a:p>
            <a:pPr>
              <a:defRPr/>
            </a:pPr>
            <a:r>
              <a:rPr lang="en-US">
                <a:solidFill>
                  <a:srgbClr val="808080"/>
                </a:solidFill>
              </a:rPr>
              <a:t>: Name (Date)</a:t>
            </a:r>
          </a:p>
        </p:txBody>
      </p:sp>
      <p:sp>
        <p:nvSpPr>
          <p:cNvPr id="6" name="Rectangle 5"/>
          <p:cNvSpPr>
            <a:spLocks noGrp="1" noChangeArrowheads="1"/>
          </p:cNvSpPr>
          <p:nvPr>
            <p:ph type="sldNum" sz="quarter" idx="11"/>
          </p:nvPr>
        </p:nvSpPr>
        <p:spPr>
          <a:ln/>
        </p:spPr>
        <p:txBody>
          <a:bodyPr/>
          <a:lstStyle>
            <a:lvl1pPr>
              <a:defRPr/>
            </a:lvl1pPr>
          </a:lstStyle>
          <a:p>
            <a:pPr>
              <a:defRPr/>
            </a:pPr>
            <a:fld id="{8AF9A7F4-1B43-457F-8461-B7EC069240B8}" type="slidenum">
              <a:rPr lang="en-US">
                <a:solidFill>
                  <a:srgbClr val="808080"/>
                </a:solidFill>
              </a:rPr>
              <a:pPr>
                <a:defRPr/>
              </a:pPr>
              <a:t>‹#›</a:t>
            </a:fld>
            <a:endParaRPr lang="en-US">
              <a:solidFill>
                <a:srgbClr val="808080"/>
              </a:solidFill>
            </a:endParaRPr>
          </a:p>
        </p:txBody>
      </p:sp>
    </p:spTree>
    <p:extLst>
      <p:ext uri="{BB962C8B-B14F-4D97-AF65-F5344CB8AC3E}">
        <p14:creationId xmlns:p14="http://schemas.microsoft.com/office/powerpoint/2010/main" val="132058294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792166" y="3603784"/>
            <a:ext cx="5486400" cy="425447"/>
          </a:xfrm>
        </p:spPr>
        <p:txBody>
          <a:bodyPr anchor="b"/>
          <a:lstStyle>
            <a:lvl1pPr algn="l">
              <a:defRPr sz="1501" b="1"/>
            </a:lvl1pPr>
          </a:lstStyle>
          <a:p>
            <a:r>
              <a:rPr lang="de-DE"/>
              <a:t>Titelmasterformat durch Klicken bearbeiten</a:t>
            </a:r>
          </a:p>
        </p:txBody>
      </p:sp>
      <p:sp>
        <p:nvSpPr>
          <p:cNvPr id="3" name="Bildplatzhalter 2"/>
          <p:cNvSpPr>
            <a:spLocks noGrp="1"/>
          </p:cNvSpPr>
          <p:nvPr>
            <p:ph type="pic" idx="1"/>
          </p:nvPr>
        </p:nvSpPr>
        <p:spPr>
          <a:xfrm>
            <a:off x="1792166" y="460007"/>
            <a:ext cx="5486400" cy="3088958"/>
          </a:xfrm>
        </p:spPr>
        <p:txBody>
          <a:bodyPr/>
          <a:lstStyle>
            <a:lvl1pPr marL="0" indent="0">
              <a:buNone/>
              <a:defRPr sz="2402"/>
            </a:lvl1pPr>
            <a:lvl2pPr marL="343220" indent="0">
              <a:buNone/>
              <a:defRPr sz="2102"/>
            </a:lvl2pPr>
            <a:lvl3pPr marL="686440" indent="0">
              <a:buNone/>
              <a:defRPr sz="1802"/>
            </a:lvl3pPr>
            <a:lvl4pPr marL="1029660" indent="0">
              <a:buNone/>
              <a:defRPr sz="1501"/>
            </a:lvl4pPr>
            <a:lvl5pPr marL="1372880" indent="0">
              <a:buNone/>
              <a:defRPr sz="1501"/>
            </a:lvl5pPr>
            <a:lvl6pPr marL="1716100" indent="0">
              <a:buNone/>
              <a:defRPr sz="1501"/>
            </a:lvl6pPr>
            <a:lvl7pPr marL="2059320" indent="0">
              <a:buNone/>
              <a:defRPr sz="1501"/>
            </a:lvl7pPr>
            <a:lvl8pPr marL="2402540" indent="0">
              <a:buNone/>
              <a:defRPr sz="1501"/>
            </a:lvl8pPr>
            <a:lvl9pPr marL="2745760" indent="0">
              <a:buNone/>
              <a:defRPr sz="1501"/>
            </a:lvl9pPr>
          </a:lstStyle>
          <a:p>
            <a:pPr lvl="0"/>
            <a:endParaRPr lang="de-DE" noProof="0"/>
          </a:p>
        </p:txBody>
      </p:sp>
      <p:sp>
        <p:nvSpPr>
          <p:cNvPr id="4" name="Textplatzhalter 3"/>
          <p:cNvSpPr>
            <a:spLocks noGrp="1"/>
          </p:cNvSpPr>
          <p:nvPr>
            <p:ph type="body" sz="half" idx="2"/>
          </p:nvPr>
        </p:nvSpPr>
        <p:spPr>
          <a:xfrm>
            <a:off x="1792166" y="4029231"/>
            <a:ext cx="5486400" cy="604205"/>
          </a:xfrm>
        </p:spPr>
        <p:txBody>
          <a:bodyPr/>
          <a:lstStyle>
            <a:lvl1pPr marL="0" indent="0">
              <a:buNone/>
              <a:defRPr sz="1051"/>
            </a:lvl1pPr>
            <a:lvl2pPr marL="343220" indent="0">
              <a:buNone/>
              <a:defRPr sz="901"/>
            </a:lvl2pPr>
            <a:lvl3pPr marL="686440" indent="0">
              <a:buNone/>
              <a:defRPr sz="751"/>
            </a:lvl3pPr>
            <a:lvl4pPr marL="1029660" indent="0">
              <a:buNone/>
              <a:defRPr sz="676"/>
            </a:lvl4pPr>
            <a:lvl5pPr marL="1372880" indent="0">
              <a:buNone/>
              <a:defRPr sz="676"/>
            </a:lvl5pPr>
            <a:lvl6pPr marL="1716100" indent="0">
              <a:buNone/>
              <a:defRPr sz="676"/>
            </a:lvl6pPr>
            <a:lvl7pPr marL="2059320" indent="0">
              <a:buNone/>
              <a:defRPr sz="676"/>
            </a:lvl7pPr>
            <a:lvl8pPr marL="2402540" indent="0">
              <a:buNone/>
              <a:defRPr sz="676"/>
            </a:lvl8pPr>
            <a:lvl9pPr marL="2745760" indent="0">
              <a:buNone/>
              <a:defRPr sz="676"/>
            </a:lvl9pPr>
          </a:lstStyle>
          <a:p>
            <a:pPr lvl="0"/>
            <a:r>
              <a:rPr lang="de-DE"/>
              <a:t>Textmasterformat bearbeiten</a:t>
            </a:r>
          </a:p>
        </p:txBody>
      </p:sp>
      <p:sp>
        <p:nvSpPr>
          <p:cNvPr id="5" name="Rectangle 4"/>
          <p:cNvSpPr>
            <a:spLocks noGrp="1" noChangeArrowheads="1"/>
          </p:cNvSpPr>
          <p:nvPr>
            <p:ph type="ftr" sz="quarter" idx="10"/>
          </p:nvPr>
        </p:nvSpPr>
        <p:spPr>
          <a:ln/>
        </p:spPr>
        <p:txBody>
          <a:bodyPr/>
          <a:lstStyle>
            <a:lvl1pPr>
              <a:defRPr/>
            </a:lvl1pPr>
          </a:lstStyle>
          <a:p>
            <a:pPr>
              <a:defRPr/>
            </a:pPr>
            <a:r>
              <a:rPr lang="en-US">
                <a:solidFill>
                  <a:srgbClr val="808080"/>
                </a:solidFill>
              </a:rPr>
              <a:t>: Name (Date)</a:t>
            </a:r>
          </a:p>
        </p:txBody>
      </p:sp>
      <p:sp>
        <p:nvSpPr>
          <p:cNvPr id="6" name="Rectangle 5"/>
          <p:cNvSpPr>
            <a:spLocks noGrp="1" noChangeArrowheads="1"/>
          </p:cNvSpPr>
          <p:nvPr>
            <p:ph type="sldNum" sz="quarter" idx="11"/>
          </p:nvPr>
        </p:nvSpPr>
        <p:spPr>
          <a:ln/>
        </p:spPr>
        <p:txBody>
          <a:bodyPr/>
          <a:lstStyle>
            <a:lvl1pPr>
              <a:defRPr/>
            </a:lvl1pPr>
          </a:lstStyle>
          <a:p>
            <a:pPr>
              <a:defRPr/>
            </a:pPr>
            <a:fld id="{D2C8BA93-3574-4C25-87E5-1F5588D5CB2A}" type="slidenum">
              <a:rPr lang="en-US">
                <a:solidFill>
                  <a:srgbClr val="808080"/>
                </a:solidFill>
              </a:rPr>
              <a:pPr>
                <a:defRPr/>
              </a:pPr>
              <a:t>‹#›</a:t>
            </a:fld>
            <a:endParaRPr lang="en-US">
              <a:solidFill>
                <a:srgbClr val="808080"/>
              </a:solidFill>
            </a:endParaRPr>
          </a:p>
        </p:txBody>
      </p:sp>
    </p:spTree>
    <p:extLst>
      <p:ext uri="{BB962C8B-B14F-4D97-AF65-F5344CB8AC3E}">
        <p14:creationId xmlns:p14="http://schemas.microsoft.com/office/powerpoint/2010/main" val="362109909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Vertikaler Textplatzhalter 2"/>
          <p:cNvSpPr>
            <a:spLocks noGrp="1"/>
          </p:cNvSpPr>
          <p:nvPr>
            <p:ph type="body" orient="vert" idx="1"/>
          </p:nvPr>
        </p:nvSpPr>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Rectangle 4"/>
          <p:cNvSpPr>
            <a:spLocks noGrp="1" noChangeArrowheads="1"/>
          </p:cNvSpPr>
          <p:nvPr>
            <p:ph type="ftr" sz="quarter" idx="10"/>
          </p:nvPr>
        </p:nvSpPr>
        <p:spPr>
          <a:ln/>
        </p:spPr>
        <p:txBody>
          <a:bodyPr/>
          <a:lstStyle>
            <a:lvl1pPr>
              <a:defRPr/>
            </a:lvl1pPr>
          </a:lstStyle>
          <a:p>
            <a:pPr>
              <a:defRPr/>
            </a:pPr>
            <a:r>
              <a:rPr lang="en-US">
                <a:solidFill>
                  <a:srgbClr val="808080"/>
                </a:solidFill>
              </a:rPr>
              <a:t>: Name (Date)</a:t>
            </a:r>
          </a:p>
        </p:txBody>
      </p:sp>
      <p:sp>
        <p:nvSpPr>
          <p:cNvPr id="5" name="Rectangle 5"/>
          <p:cNvSpPr>
            <a:spLocks noGrp="1" noChangeArrowheads="1"/>
          </p:cNvSpPr>
          <p:nvPr>
            <p:ph type="sldNum" sz="quarter" idx="11"/>
          </p:nvPr>
        </p:nvSpPr>
        <p:spPr>
          <a:ln/>
        </p:spPr>
        <p:txBody>
          <a:bodyPr/>
          <a:lstStyle>
            <a:lvl1pPr>
              <a:defRPr/>
            </a:lvl1pPr>
          </a:lstStyle>
          <a:p>
            <a:pPr>
              <a:defRPr/>
            </a:pPr>
            <a:fld id="{439D4615-3A1B-43D7-98CE-76EBCBD222BD}" type="slidenum">
              <a:rPr lang="en-US">
                <a:solidFill>
                  <a:srgbClr val="808080"/>
                </a:solidFill>
              </a:rPr>
              <a:pPr>
                <a:defRPr/>
              </a:pPr>
              <a:t>‹#›</a:t>
            </a:fld>
            <a:endParaRPr lang="en-US">
              <a:solidFill>
                <a:srgbClr val="808080"/>
              </a:solidFill>
            </a:endParaRPr>
          </a:p>
        </p:txBody>
      </p:sp>
    </p:spTree>
    <p:extLst>
      <p:ext uri="{BB962C8B-B14F-4D97-AF65-F5344CB8AC3E}">
        <p14:creationId xmlns:p14="http://schemas.microsoft.com/office/powerpoint/2010/main" val="221660237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6770078" y="58396"/>
            <a:ext cx="2189285" cy="4839605"/>
          </a:xfrm>
        </p:spPr>
        <p:txBody>
          <a:bodyPr vert="eaVert"/>
          <a:lstStyle/>
          <a:p>
            <a:r>
              <a:rPr lang="de-DE"/>
              <a:t>Titelmasterformat durch Klicken bearbeiten</a:t>
            </a:r>
          </a:p>
        </p:txBody>
      </p:sp>
      <p:sp>
        <p:nvSpPr>
          <p:cNvPr id="3" name="Vertikaler Textplatzhalter 2"/>
          <p:cNvSpPr>
            <a:spLocks noGrp="1"/>
          </p:cNvSpPr>
          <p:nvPr>
            <p:ph type="body" orient="vert" idx="1"/>
          </p:nvPr>
        </p:nvSpPr>
        <p:spPr>
          <a:xfrm>
            <a:off x="197829" y="58396"/>
            <a:ext cx="6431573" cy="4839605"/>
          </a:xfrm>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Rectangle 4"/>
          <p:cNvSpPr>
            <a:spLocks noGrp="1" noChangeArrowheads="1"/>
          </p:cNvSpPr>
          <p:nvPr>
            <p:ph type="ftr" sz="quarter" idx="10"/>
          </p:nvPr>
        </p:nvSpPr>
        <p:spPr>
          <a:ln/>
        </p:spPr>
        <p:txBody>
          <a:bodyPr/>
          <a:lstStyle>
            <a:lvl1pPr>
              <a:defRPr/>
            </a:lvl1pPr>
          </a:lstStyle>
          <a:p>
            <a:pPr>
              <a:defRPr/>
            </a:pPr>
            <a:r>
              <a:rPr lang="en-US">
                <a:solidFill>
                  <a:srgbClr val="808080"/>
                </a:solidFill>
              </a:rPr>
              <a:t>: Name (Date)</a:t>
            </a:r>
          </a:p>
        </p:txBody>
      </p:sp>
      <p:sp>
        <p:nvSpPr>
          <p:cNvPr id="5" name="Rectangle 5"/>
          <p:cNvSpPr>
            <a:spLocks noGrp="1" noChangeArrowheads="1"/>
          </p:cNvSpPr>
          <p:nvPr>
            <p:ph type="sldNum" sz="quarter" idx="11"/>
          </p:nvPr>
        </p:nvSpPr>
        <p:spPr>
          <a:ln/>
        </p:spPr>
        <p:txBody>
          <a:bodyPr/>
          <a:lstStyle>
            <a:lvl1pPr>
              <a:defRPr/>
            </a:lvl1pPr>
          </a:lstStyle>
          <a:p>
            <a:pPr>
              <a:defRPr/>
            </a:pPr>
            <a:fld id="{385615B3-CD9A-4C4E-B5B2-D4C379A1B6F7}" type="slidenum">
              <a:rPr lang="en-US">
                <a:solidFill>
                  <a:srgbClr val="808080"/>
                </a:solidFill>
              </a:rPr>
              <a:pPr>
                <a:defRPr/>
              </a:pPr>
              <a:t>‹#›</a:t>
            </a:fld>
            <a:endParaRPr lang="en-US">
              <a:solidFill>
                <a:srgbClr val="808080"/>
              </a:solidFill>
            </a:endParaRPr>
          </a:p>
        </p:txBody>
      </p:sp>
    </p:spTree>
    <p:extLst>
      <p:ext uri="{BB962C8B-B14F-4D97-AF65-F5344CB8AC3E}">
        <p14:creationId xmlns:p14="http://schemas.microsoft.com/office/powerpoint/2010/main" val="370591611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1" y="58396"/>
            <a:ext cx="7171592" cy="541044"/>
          </a:xfrm>
        </p:spPr>
        <p:txBody>
          <a:bodyPr/>
          <a:lstStyle/>
          <a:p>
            <a:r>
              <a:rPr lang="en-US"/>
              <a:t>Click to edit Master title style</a:t>
            </a:r>
          </a:p>
        </p:txBody>
      </p:sp>
      <p:sp>
        <p:nvSpPr>
          <p:cNvPr id="3" name="Text Placeholder 2"/>
          <p:cNvSpPr>
            <a:spLocks noGrp="1"/>
          </p:cNvSpPr>
          <p:nvPr>
            <p:ph type="body" sz="half" idx="1"/>
          </p:nvPr>
        </p:nvSpPr>
        <p:spPr>
          <a:xfrm>
            <a:off x="197828" y="732913"/>
            <a:ext cx="4309696" cy="41650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732913"/>
            <a:ext cx="4311162" cy="41650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0"/>
          </p:nvPr>
        </p:nvSpPr>
        <p:spPr/>
        <p:txBody>
          <a:bodyPr/>
          <a:lstStyle>
            <a:lvl1pPr>
              <a:defRPr/>
            </a:lvl1pPr>
          </a:lstStyle>
          <a:p>
            <a:pPr>
              <a:defRPr/>
            </a:pPr>
            <a:r>
              <a:rPr lang="de-DE">
                <a:solidFill>
                  <a:srgbClr val="808080"/>
                </a:solidFill>
              </a:rPr>
              <a:t>: Name (Datum)</a:t>
            </a:r>
          </a:p>
        </p:txBody>
      </p:sp>
      <p:sp>
        <p:nvSpPr>
          <p:cNvPr id="6" name="Slide Number Placeholder 5"/>
          <p:cNvSpPr>
            <a:spLocks noGrp="1"/>
          </p:cNvSpPr>
          <p:nvPr>
            <p:ph type="sldNum" sz="quarter" idx="11"/>
          </p:nvPr>
        </p:nvSpPr>
        <p:spPr/>
        <p:txBody>
          <a:bodyPr/>
          <a:lstStyle>
            <a:lvl1pPr>
              <a:defRPr/>
            </a:lvl1pPr>
          </a:lstStyle>
          <a:p>
            <a:pPr>
              <a:defRPr/>
            </a:pPr>
            <a:fld id="{D2B7EE0C-A7CA-4972-B347-966E37484B66}" type="slidenum">
              <a:rPr lang="en-US">
                <a:solidFill>
                  <a:srgbClr val="808080"/>
                </a:solidFill>
              </a:rPr>
              <a:pPr>
                <a:defRPr/>
              </a:pPr>
              <a:t>‹#›</a:t>
            </a:fld>
            <a:endParaRPr lang="en-US">
              <a:solidFill>
                <a:srgbClr val="808080"/>
              </a:solidFill>
            </a:endParaRPr>
          </a:p>
        </p:txBody>
      </p:sp>
    </p:spTree>
    <p:extLst>
      <p:ext uri="{BB962C8B-B14F-4D97-AF65-F5344CB8AC3E}">
        <p14:creationId xmlns:p14="http://schemas.microsoft.com/office/powerpoint/2010/main" val="6393005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png"/></Relationships>
</file>

<file path=ppt/slideMasters/_rels/slideMaster10.xml.rels><?xml version="1.0" encoding="UTF-8" standalone="yes"?>
<Relationships xmlns="http://schemas.openxmlformats.org/package/2006/relationships"><Relationship Id="rId3" Type="http://schemas.openxmlformats.org/officeDocument/2006/relationships/slideLayout" Target="../slideLayouts/slideLayout40.xml"/><Relationship Id="rId2" Type="http://schemas.openxmlformats.org/officeDocument/2006/relationships/slideLayout" Target="../slideLayouts/slideLayout39.xml"/><Relationship Id="rId1" Type="http://schemas.openxmlformats.org/officeDocument/2006/relationships/slideLayout" Target="../slideLayouts/slideLayout38.xml"/><Relationship Id="rId5" Type="http://schemas.openxmlformats.org/officeDocument/2006/relationships/theme" Target="../theme/theme10.xml"/><Relationship Id="rId4" Type="http://schemas.openxmlformats.org/officeDocument/2006/relationships/slideLayout" Target="../slideLayouts/slideLayout41.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slideLayout" Target="../slideLayouts/slideLayout59.xml"/><Relationship Id="rId3" Type="http://schemas.openxmlformats.org/officeDocument/2006/relationships/slideLayout" Target="../slideLayouts/slideLayout44.xml"/><Relationship Id="rId21" Type="http://schemas.openxmlformats.org/officeDocument/2006/relationships/slideLayout" Target="../slideLayouts/slideLayout62.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slideLayout" Target="../slideLayouts/slideLayout61.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23" Type="http://schemas.openxmlformats.org/officeDocument/2006/relationships/image" Target="../media/image10.jpeg"/><Relationship Id="rId10" Type="http://schemas.openxmlformats.org/officeDocument/2006/relationships/slideLayout" Target="../slideLayouts/slideLayout51.xml"/><Relationship Id="rId19" Type="http://schemas.openxmlformats.org/officeDocument/2006/relationships/slideLayout" Target="../slideLayouts/slideLayout60.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 Id="rId22"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18" Type="http://schemas.openxmlformats.org/officeDocument/2006/relationships/slideLayout" Target="../slideLayouts/slideLayout80.xml"/><Relationship Id="rId3" Type="http://schemas.openxmlformats.org/officeDocument/2006/relationships/slideLayout" Target="../slideLayouts/slideLayout65.xml"/><Relationship Id="rId21" Type="http://schemas.openxmlformats.org/officeDocument/2006/relationships/slideLayout" Target="../slideLayouts/slideLayout83.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 Type="http://schemas.openxmlformats.org/officeDocument/2006/relationships/slideLayout" Target="../slideLayouts/slideLayout64.xml"/><Relationship Id="rId16" Type="http://schemas.openxmlformats.org/officeDocument/2006/relationships/slideLayout" Target="../slideLayouts/slideLayout78.xml"/><Relationship Id="rId20" Type="http://schemas.openxmlformats.org/officeDocument/2006/relationships/slideLayout" Target="../slideLayouts/slideLayout82.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23" Type="http://schemas.openxmlformats.org/officeDocument/2006/relationships/image" Target="../media/image15.jpeg"/><Relationship Id="rId10" Type="http://schemas.openxmlformats.org/officeDocument/2006/relationships/slideLayout" Target="../slideLayouts/slideLayout72.xml"/><Relationship Id="rId19" Type="http://schemas.openxmlformats.org/officeDocument/2006/relationships/slideLayout" Target="../slideLayouts/slideLayout81.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 Id="rId22"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91.xml"/><Relationship Id="rId13" Type="http://schemas.openxmlformats.org/officeDocument/2006/relationships/theme" Target="../theme/theme13.xml"/><Relationship Id="rId3" Type="http://schemas.openxmlformats.org/officeDocument/2006/relationships/slideLayout" Target="../slideLayouts/slideLayout86.xml"/><Relationship Id="rId7" Type="http://schemas.openxmlformats.org/officeDocument/2006/relationships/slideLayout" Target="../slideLayouts/slideLayout90.xml"/><Relationship Id="rId12" Type="http://schemas.openxmlformats.org/officeDocument/2006/relationships/slideLayout" Target="../slideLayouts/slideLayout95.xml"/><Relationship Id="rId2" Type="http://schemas.openxmlformats.org/officeDocument/2006/relationships/slideLayout" Target="../slideLayouts/slideLayout85.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5" Type="http://schemas.openxmlformats.org/officeDocument/2006/relationships/slideLayout" Target="../slideLayouts/slideLayout88.xml"/><Relationship Id="rId10" Type="http://schemas.openxmlformats.org/officeDocument/2006/relationships/slideLayout" Target="../slideLayouts/slideLayout93.xml"/><Relationship Id="rId4" Type="http://schemas.openxmlformats.org/officeDocument/2006/relationships/slideLayout" Target="../slideLayouts/slideLayout87.xml"/><Relationship Id="rId9" Type="http://schemas.openxmlformats.org/officeDocument/2006/relationships/slideLayout" Target="../slideLayouts/slideLayout92.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slideLayout" Target="../slideLayouts/slideLayout16.xml"/><Relationship Id="rId7" Type="http://schemas.openxmlformats.org/officeDocument/2006/relationships/slideLayout" Target="../slideLayouts/slideLayout20.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5" Type="http://schemas.openxmlformats.org/officeDocument/2006/relationships/slideLayout" Target="../slideLayouts/slideLayout18.xml"/><Relationship Id="rId4" Type="http://schemas.openxmlformats.org/officeDocument/2006/relationships/slideLayout" Target="../slideLayouts/slideLayout17.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theme" Target="../theme/theme4.xml"/><Relationship Id="rId1" Type="http://schemas.openxmlformats.org/officeDocument/2006/relationships/slideLayout" Target="../slideLayouts/slideLayout22.xml"/><Relationship Id="rId4" Type="http://schemas.openxmlformats.org/officeDocument/2006/relationships/image" Target="../media/image6.png"/></Relationships>
</file>

<file path=ppt/slideMasters/_rels/slideMaster5.xml.rels><?xml version="1.0" encoding="UTF-8" standalone="yes"?>
<Relationships xmlns="http://schemas.openxmlformats.org/package/2006/relationships"><Relationship Id="rId2" Type="http://schemas.openxmlformats.org/officeDocument/2006/relationships/theme" Target="../theme/theme5.xml"/><Relationship Id="rId1" Type="http://schemas.openxmlformats.org/officeDocument/2006/relationships/slideLayout" Target="../slideLayouts/slideLayout23.xml"/></Relationships>
</file>

<file path=ppt/slideMasters/_rels/slideMaster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6.xml"/><Relationship Id="rId1" Type="http://schemas.openxmlformats.org/officeDocument/2006/relationships/slideLayout" Target="../slideLayouts/slideLayout24.xml"/><Relationship Id="rId4" Type="http://schemas.openxmlformats.org/officeDocument/2006/relationships/image" Target="../media/image2.png"/></Relationships>
</file>

<file path=ppt/slideMasters/_rels/slideMaster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7.xml"/><Relationship Id="rId1" Type="http://schemas.openxmlformats.org/officeDocument/2006/relationships/slideLayout" Target="../slideLayouts/slideLayout25.xml"/><Relationship Id="rId4" Type="http://schemas.openxmlformats.org/officeDocument/2006/relationships/image" Target="../media/image2.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3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image" Target="../media/image2.png"/><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image" Target="../media/image1.png"/><Relationship Id="rId5" Type="http://schemas.openxmlformats.org/officeDocument/2006/relationships/slideLayout" Target="../slideLayouts/slideLayout30.xml"/><Relationship Id="rId10" Type="http://schemas.openxmlformats.org/officeDocument/2006/relationships/theme" Target="../theme/theme8.xml"/><Relationship Id="rId4" Type="http://schemas.openxmlformats.org/officeDocument/2006/relationships/slideLayout" Target="../slideLayouts/slideLayout29.xml"/><Relationship Id="rId9" Type="http://schemas.openxmlformats.org/officeDocument/2006/relationships/slideLayout" Target="../slideLayouts/slideLayout34.xml"/></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37.xml"/><Relationship Id="rId2" Type="http://schemas.openxmlformats.org/officeDocument/2006/relationships/slideLayout" Target="../slideLayouts/slideLayout36.xml"/><Relationship Id="rId1" Type="http://schemas.openxmlformats.org/officeDocument/2006/relationships/slideLayout" Target="../slideLayouts/slideLayout35.xml"/><Relationship Id="rId4"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A498333D-4413-FDB2-23E6-22C678E87668}"/>
              </a:ext>
            </a:extLst>
          </p:cNvPr>
          <p:cNvSpPr txBox="1"/>
          <p:nvPr userDrawn="1"/>
        </p:nvSpPr>
        <p:spPr>
          <a:xfrm>
            <a:off x="8475386" y="4753803"/>
            <a:ext cx="455782" cy="200055"/>
          </a:xfrm>
          <a:prstGeom prst="rect">
            <a:avLst/>
          </a:prstGeom>
          <a:noFill/>
        </p:spPr>
        <p:txBody>
          <a:bodyPr wrap="square" rtlCol="0">
            <a:spAutoFit/>
          </a:bodyPr>
          <a:lstStyle/>
          <a:p>
            <a:pPr algn="r"/>
            <a:fld id="{18F304E0-9389-474D-9F39-0E8F22127D84}" type="slidenum">
              <a:rPr lang="en-US" sz="700" b="1" smtClean="0">
                <a:solidFill>
                  <a:srgbClr val="FFFFFF"/>
                </a:solidFill>
              </a:rPr>
              <a:t>‹#›</a:t>
            </a:fld>
            <a:endParaRPr lang="en-US" sz="700" b="1" dirty="0">
              <a:solidFill>
                <a:srgbClr val="FFFFFF"/>
              </a:solidFill>
            </a:endParaRPr>
          </a:p>
        </p:txBody>
      </p:sp>
      <p:grpSp>
        <p:nvGrpSpPr>
          <p:cNvPr id="4" name="Group 3">
            <a:extLst>
              <a:ext uri="{FF2B5EF4-FFF2-40B4-BE49-F238E27FC236}">
                <a16:creationId xmlns:a16="http://schemas.microsoft.com/office/drawing/2014/main" id="{F88186C4-8DE2-0DE0-61BE-303BA9E7E7ED}"/>
              </a:ext>
            </a:extLst>
          </p:cNvPr>
          <p:cNvGrpSpPr/>
          <p:nvPr userDrawn="1"/>
        </p:nvGrpSpPr>
        <p:grpSpPr>
          <a:xfrm>
            <a:off x="1142100" y="4837988"/>
            <a:ext cx="3173267" cy="230239"/>
            <a:chOff x="1014620" y="4864974"/>
            <a:chExt cx="3116163" cy="230239"/>
          </a:xfrm>
        </p:grpSpPr>
        <p:pic>
          <p:nvPicPr>
            <p:cNvPr id="5" name="Picture 4" descr="Itron_Solo_Pos_RGB.png">
              <a:extLst>
                <a:ext uri="{FF2B5EF4-FFF2-40B4-BE49-F238E27FC236}">
                  <a16:creationId xmlns:a16="http://schemas.microsoft.com/office/drawing/2014/main" id="{A1B48D13-05A2-1DE6-E3C4-EF039204CE23}"/>
                </a:ext>
              </a:extLst>
            </p:cNvPr>
            <p:cNvPicPr>
              <a:picLocks/>
            </p:cNvPicPr>
            <p:nvPr userDrawn="1"/>
          </p:nvPicPr>
          <p:blipFill>
            <a:blip r:embed="rId13" cstate="email">
              <a:extLst>
                <a:ext uri="{28A0092B-C50C-407E-A947-70E740481C1C}">
                  <a14:useLocalDpi xmlns:a14="http://schemas.microsoft.com/office/drawing/2010/main"/>
                </a:ext>
              </a:extLst>
            </a:blip>
            <a:stretch>
              <a:fillRect/>
            </a:stretch>
          </p:blipFill>
          <p:spPr>
            <a:xfrm>
              <a:off x="1014620" y="4864974"/>
              <a:ext cx="389862" cy="182402"/>
            </a:xfrm>
            <a:prstGeom prst="rect">
              <a:avLst/>
            </a:prstGeom>
          </p:spPr>
        </p:pic>
        <p:sp>
          <p:nvSpPr>
            <p:cNvPr id="6" name="TextBox 5">
              <a:extLst>
                <a:ext uri="{FF2B5EF4-FFF2-40B4-BE49-F238E27FC236}">
                  <a16:creationId xmlns:a16="http://schemas.microsoft.com/office/drawing/2014/main" id="{A3FDB2C1-4EB8-30B6-5A5A-D8650430E772}"/>
                </a:ext>
              </a:extLst>
            </p:cNvPr>
            <p:cNvSpPr txBox="1"/>
            <p:nvPr userDrawn="1"/>
          </p:nvSpPr>
          <p:spPr>
            <a:xfrm>
              <a:off x="1419333" y="4910547"/>
              <a:ext cx="2711450" cy="184666"/>
            </a:xfrm>
            <a:prstGeom prst="rect">
              <a:avLst/>
            </a:prstGeom>
            <a:noFill/>
          </p:spPr>
          <p:txBody>
            <a:bodyPr wrap="square" rtlCol="0">
              <a:spAutoFit/>
            </a:bodyPr>
            <a:lstStyle/>
            <a:p>
              <a:pPr algn="l"/>
              <a:r>
                <a:rPr lang="en-US" sz="599" kern="1200" dirty="0">
                  <a:solidFill>
                    <a:schemeClr val="tx2">
                      <a:lumMod val="60000"/>
                      <a:lumOff val="40000"/>
                    </a:schemeClr>
                  </a:solidFill>
                  <a:latin typeface="+mn-lt"/>
                  <a:ea typeface="+mn-ea"/>
                  <a:cs typeface="+mn-cs"/>
                </a:rPr>
                <a:t>©2025  ITRON CONFIDENTIAL PROPRIETARY</a:t>
              </a:r>
              <a:endParaRPr lang="en-US" sz="599" dirty="0">
                <a:solidFill>
                  <a:schemeClr val="tx2">
                    <a:lumMod val="60000"/>
                    <a:lumOff val="40000"/>
                  </a:schemeClr>
                </a:solidFill>
              </a:endParaRPr>
            </a:p>
          </p:txBody>
        </p:sp>
      </p:grpSp>
      <p:sp>
        <p:nvSpPr>
          <p:cNvPr id="15" name="Footer Placeholder 5">
            <a:extLst>
              <a:ext uri="{FF2B5EF4-FFF2-40B4-BE49-F238E27FC236}">
                <a16:creationId xmlns:a16="http://schemas.microsoft.com/office/drawing/2014/main" id="{CB7B9781-B51C-3780-F325-D5409F33641D}"/>
              </a:ext>
            </a:extLst>
          </p:cNvPr>
          <p:cNvSpPr>
            <a:spLocks noGrp="1"/>
          </p:cNvSpPr>
          <p:nvPr>
            <p:ph type="ftr" sz="quarter" idx="3"/>
          </p:nvPr>
        </p:nvSpPr>
        <p:spPr>
          <a:xfrm>
            <a:off x="5778500" y="4839481"/>
            <a:ext cx="3086100" cy="273050"/>
          </a:xfrm>
          <a:prstGeom prst="rect">
            <a:avLst/>
          </a:prstGeom>
        </p:spPr>
        <p:txBody>
          <a:bodyPr vert="horz" lIns="91440" tIns="45720" rIns="91440" bIns="45720" rtlCol="0" anchor="ctr"/>
          <a:lstStyle>
            <a:lvl1pPr algn="r">
              <a:defRPr sz="799">
                <a:solidFill>
                  <a:schemeClr val="tx2"/>
                </a:solidFill>
              </a:defRPr>
            </a:lvl1pPr>
          </a:lstStyle>
          <a:p>
            <a:endParaRPr lang="en-US" dirty="0"/>
          </a:p>
        </p:txBody>
      </p:sp>
      <p:pic>
        <p:nvPicPr>
          <p:cNvPr id="3" name="Picture 2" descr="A logo for a company&#10;&#10;AI-generated content may be incorrect.">
            <a:extLst>
              <a:ext uri="{FF2B5EF4-FFF2-40B4-BE49-F238E27FC236}">
                <a16:creationId xmlns:a16="http://schemas.microsoft.com/office/drawing/2014/main" id="{F5090E4C-40EA-1347-A668-F681EC319FCD}"/>
              </a:ext>
            </a:extLst>
          </p:cNvPr>
          <p:cNvPicPr>
            <a:picLocks noChangeAspect="1"/>
          </p:cNvPicPr>
          <p:nvPr userDrawn="1"/>
        </p:nvPicPr>
        <p:blipFill>
          <a:blip r:embed="rId14"/>
          <a:stretch>
            <a:fillRect/>
          </a:stretch>
        </p:blipFill>
        <p:spPr>
          <a:xfrm>
            <a:off x="315390" y="4871090"/>
            <a:ext cx="546099" cy="197137"/>
          </a:xfrm>
          <a:prstGeom prst="rect">
            <a:avLst/>
          </a:prstGeom>
        </p:spPr>
      </p:pic>
    </p:spTree>
    <p:extLst>
      <p:ext uri="{BB962C8B-B14F-4D97-AF65-F5344CB8AC3E}">
        <p14:creationId xmlns:p14="http://schemas.microsoft.com/office/powerpoint/2010/main" val="2768119132"/>
      </p:ext>
    </p:extLst>
  </p:cSld>
  <p:clrMap bg1="lt1" tx1="dk1" bg2="lt2" tx2="dk2" accent1="accent1" accent2="accent2" accent3="accent3" accent4="accent4" accent5="accent5" accent6="accent6" hlink="hlink" folHlink="folHlink"/>
  <p:sldLayoutIdLst>
    <p:sldLayoutId id="2147483659" r:id="rId1"/>
    <p:sldLayoutId id="2147485198" r:id="rId2"/>
    <p:sldLayoutId id="2147485200" r:id="rId3"/>
    <p:sldLayoutId id="2147483660" r:id="rId4"/>
    <p:sldLayoutId id="2147483661" r:id="rId5"/>
    <p:sldLayoutId id="2147483662" r:id="rId6"/>
    <p:sldLayoutId id="2147483663" r:id="rId7"/>
    <p:sldLayoutId id="2147485171" r:id="rId8"/>
    <p:sldLayoutId id="2147485172" r:id="rId9"/>
    <p:sldLayoutId id="2147485173" r:id="rId10"/>
    <p:sldLayoutId id="2147485174" r:id="rId11"/>
  </p:sldLayoutIdLst>
  <p:transition>
    <p:fade/>
  </p:transition>
  <p:hf hdr="0" dt="0"/>
  <p:txStyles>
    <p:titleStyle>
      <a:lvl1pPr algn="l" defTabSz="456777" rtl="0" eaLnBrk="1" latinLnBrk="0" hangingPunct="1">
        <a:spcBef>
          <a:spcPct val="0"/>
        </a:spcBef>
        <a:buNone/>
        <a:defRPr sz="2398" b="1" kern="1200" cap="all">
          <a:solidFill>
            <a:srgbClr val="CF2124"/>
          </a:solidFill>
          <a:latin typeface="Arial"/>
          <a:ea typeface="+mj-ea"/>
          <a:cs typeface="Arial"/>
        </a:defRPr>
      </a:lvl1pPr>
    </p:titleStyle>
    <p:bodyStyle>
      <a:lvl1pPr marL="171292" indent="-171292" algn="l" defTabSz="456777" rtl="0" eaLnBrk="1" latinLnBrk="0" hangingPunct="1">
        <a:spcBef>
          <a:spcPct val="20000"/>
        </a:spcBef>
        <a:buClr>
          <a:srgbClr val="D02124"/>
        </a:buClr>
        <a:buFont typeface="Lucida Grande"/>
        <a:buChar char="»"/>
        <a:defRPr sz="1598" kern="1200">
          <a:solidFill>
            <a:schemeClr val="tx1"/>
          </a:solidFill>
          <a:latin typeface="Arial"/>
          <a:ea typeface="+mn-ea"/>
          <a:cs typeface="Arial"/>
        </a:defRPr>
      </a:lvl1pPr>
      <a:lvl2pPr marL="285486" indent="-114194" algn="l" defTabSz="456777" rtl="0" eaLnBrk="1" latinLnBrk="0" hangingPunct="1">
        <a:spcBef>
          <a:spcPct val="20000"/>
        </a:spcBef>
        <a:buClr>
          <a:srgbClr val="D02124"/>
        </a:buClr>
        <a:buSzPct val="100000"/>
        <a:buFont typeface="Arial"/>
        <a:buChar char="•"/>
        <a:defRPr sz="1598" kern="1200">
          <a:solidFill>
            <a:schemeClr val="tx1"/>
          </a:solidFill>
          <a:latin typeface="Arial"/>
          <a:ea typeface="+mn-ea"/>
          <a:cs typeface="Arial"/>
        </a:defRPr>
      </a:lvl2pPr>
      <a:lvl3pPr marL="456777" indent="-171292" algn="l" defTabSz="456777" rtl="0" eaLnBrk="1" latinLnBrk="0" hangingPunct="1">
        <a:spcBef>
          <a:spcPct val="20000"/>
        </a:spcBef>
        <a:buClr>
          <a:srgbClr val="D02124"/>
        </a:buClr>
        <a:buSzPct val="80000"/>
        <a:buFont typeface="Lucida Grande"/>
        <a:buChar char="-"/>
        <a:defRPr sz="1598" kern="1200" baseline="0">
          <a:solidFill>
            <a:schemeClr val="tx1"/>
          </a:solidFill>
          <a:latin typeface="Arial"/>
          <a:ea typeface="+mn-ea"/>
          <a:cs typeface="+mn-cs"/>
        </a:defRPr>
      </a:lvl3pPr>
      <a:lvl4pPr marL="1598720" indent="-228389" algn="l" defTabSz="456777" rtl="0" eaLnBrk="1" latinLnBrk="0" hangingPunct="1">
        <a:spcBef>
          <a:spcPct val="20000"/>
        </a:spcBef>
        <a:buFont typeface="Arial"/>
        <a:buChar char="–"/>
        <a:defRPr sz="1998" kern="1200">
          <a:solidFill>
            <a:schemeClr val="tx1"/>
          </a:solidFill>
          <a:latin typeface="+mn-lt"/>
          <a:ea typeface="+mn-ea"/>
          <a:cs typeface="+mn-cs"/>
        </a:defRPr>
      </a:lvl4pPr>
      <a:lvl5pPr marL="2055497" indent="-228389" algn="l" defTabSz="456777" rtl="0" eaLnBrk="1" latinLnBrk="0" hangingPunct="1">
        <a:spcBef>
          <a:spcPct val="20000"/>
        </a:spcBef>
        <a:buFont typeface="Arial"/>
        <a:buChar char="»"/>
        <a:defRPr sz="1998" kern="1200">
          <a:solidFill>
            <a:schemeClr val="tx1"/>
          </a:solidFill>
          <a:latin typeface="+mn-lt"/>
          <a:ea typeface="+mn-ea"/>
          <a:cs typeface="+mn-cs"/>
        </a:defRPr>
      </a:lvl5pPr>
      <a:lvl6pPr marL="2512274" indent="-228389" algn="l" defTabSz="456777" rtl="0" eaLnBrk="1" latinLnBrk="0" hangingPunct="1">
        <a:spcBef>
          <a:spcPct val="20000"/>
        </a:spcBef>
        <a:buFont typeface="Arial"/>
        <a:buChar char="•"/>
        <a:defRPr sz="1998" kern="1200">
          <a:solidFill>
            <a:schemeClr val="tx1"/>
          </a:solidFill>
          <a:latin typeface="+mn-lt"/>
          <a:ea typeface="+mn-ea"/>
          <a:cs typeface="+mn-cs"/>
        </a:defRPr>
      </a:lvl6pPr>
      <a:lvl7pPr marL="2969051" indent="-228389" algn="l" defTabSz="456777" rtl="0" eaLnBrk="1" latinLnBrk="0" hangingPunct="1">
        <a:spcBef>
          <a:spcPct val="20000"/>
        </a:spcBef>
        <a:buFont typeface="Arial"/>
        <a:buChar char="•"/>
        <a:defRPr sz="1998" kern="1200">
          <a:solidFill>
            <a:schemeClr val="tx1"/>
          </a:solidFill>
          <a:latin typeface="+mn-lt"/>
          <a:ea typeface="+mn-ea"/>
          <a:cs typeface="+mn-cs"/>
        </a:defRPr>
      </a:lvl7pPr>
      <a:lvl8pPr marL="3425828" indent="-228389" algn="l" defTabSz="456777" rtl="0" eaLnBrk="1" latinLnBrk="0" hangingPunct="1">
        <a:spcBef>
          <a:spcPct val="20000"/>
        </a:spcBef>
        <a:buFont typeface="Arial"/>
        <a:buChar char="•"/>
        <a:defRPr sz="1998" kern="1200">
          <a:solidFill>
            <a:schemeClr val="tx1"/>
          </a:solidFill>
          <a:latin typeface="+mn-lt"/>
          <a:ea typeface="+mn-ea"/>
          <a:cs typeface="+mn-cs"/>
        </a:defRPr>
      </a:lvl8pPr>
      <a:lvl9pPr marL="3882605" indent="-228389" algn="l" defTabSz="456777" rtl="0" eaLnBrk="1" latinLnBrk="0" hangingPunct="1">
        <a:spcBef>
          <a:spcPct val="20000"/>
        </a:spcBef>
        <a:buFont typeface="Arial"/>
        <a:buChar char="•"/>
        <a:defRPr sz="1998" kern="1200">
          <a:solidFill>
            <a:schemeClr val="tx1"/>
          </a:solidFill>
          <a:latin typeface="+mn-lt"/>
          <a:ea typeface="+mn-ea"/>
          <a:cs typeface="+mn-cs"/>
        </a:defRPr>
      </a:lvl9pPr>
    </p:bodyStyle>
    <p:otherStyle>
      <a:defPPr>
        <a:defRPr lang="en-US"/>
      </a:defPPr>
      <a:lvl1pPr marL="0" algn="l" defTabSz="456777" rtl="0" eaLnBrk="1" latinLnBrk="0" hangingPunct="1">
        <a:defRPr sz="1799" kern="1200">
          <a:solidFill>
            <a:schemeClr val="tx1"/>
          </a:solidFill>
          <a:latin typeface="+mn-lt"/>
          <a:ea typeface="+mn-ea"/>
          <a:cs typeface="+mn-cs"/>
        </a:defRPr>
      </a:lvl1pPr>
      <a:lvl2pPr marL="456777" algn="l" defTabSz="456777" rtl="0" eaLnBrk="1" latinLnBrk="0" hangingPunct="1">
        <a:defRPr sz="1799" kern="1200">
          <a:solidFill>
            <a:schemeClr val="tx1"/>
          </a:solidFill>
          <a:latin typeface="+mn-lt"/>
          <a:ea typeface="+mn-ea"/>
          <a:cs typeface="+mn-cs"/>
        </a:defRPr>
      </a:lvl2pPr>
      <a:lvl3pPr marL="913554" algn="l" defTabSz="456777" rtl="0" eaLnBrk="1" latinLnBrk="0" hangingPunct="1">
        <a:defRPr sz="1799" kern="1200">
          <a:solidFill>
            <a:schemeClr val="tx1"/>
          </a:solidFill>
          <a:latin typeface="+mn-lt"/>
          <a:ea typeface="+mn-ea"/>
          <a:cs typeface="+mn-cs"/>
        </a:defRPr>
      </a:lvl3pPr>
      <a:lvl4pPr marL="1370331" algn="l" defTabSz="456777" rtl="0" eaLnBrk="1" latinLnBrk="0" hangingPunct="1">
        <a:defRPr sz="1799" kern="1200">
          <a:solidFill>
            <a:schemeClr val="tx1"/>
          </a:solidFill>
          <a:latin typeface="+mn-lt"/>
          <a:ea typeface="+mn-ea"/>
          <a:cs typeface="+mn-cs"/>
        </a:defRPr>
      </a:lvl4pPr>
      <a:lvl5pPr marL="1827108" algn="l" defTabSz="456777" rtl="0" eaLnBrk="1" latinLnBrk="0" hangingPunct="1">
        <a:defRPr sz="1799" kern="1200">
          <a:solidFill>
            <a:schemeClr val="tx1"/>
          </a:solidFill>
          <a:latin typeface="+mn-lt"/>
          <a:ea typeface="+mn-ea"/>
          <a:cs typeface="+mn-cs"/>
        </a:defRPr>
      </a:lvl5pPr>
      <a:lvl6pPr marL="2283886" algn="l" defTabSz="456777" rtl="0" eaLnBrk="1" latinLnBrk="0" hangingPunct="1">
        <a:defRPr sz="1799" kern="1200">
          <a:solidFill>
            <a:schemeClr val="tx1"/>
          </a:solidFill>
          <a:latin typeface="+mn-lt"/>
          <a:ea typeface="+mn-ea"/>
          <a:cs typeface="+mn-cs"/>
        </a:defRPr>
      </a:lvl6pPr>
      <a:lvl7pPr marL="2740663" algn="l" defTabSz="456777" rtl="0" eaLnBrk="1" latinLnBrk="0" hangingPunct="1">
        <a:defRPr sz="1799" kern="1200">
          <a:solidFill>
            <a:schemeClr val="tx1"/>
          </a:solidFill>
          <a:latin typeface="+mn-lt"/>
          <a:ea typeface="+mn-ea"/>
          <a:cs typeface="+mn-cs"/>
        </a:defRPr>
      </a:lvl7pPr>
      <a:lvl8pPr marL="3197440" algn="l" defTabSz="456777" rtl="0" eaLnBrk="1" latinLnBrk="0" hangingPunct="1">
        <a:defRPr sz="1799" kern="1200">
          <a:solidFill>
            <a:schemeClr val="tx1"/>
          </a:solidFill>
          <a:latin typeface="+mn-lt"/>
          <a:ea typeface="+mn-ea"/>
          <a:cs typeface="+mn-cs"/>
        </a:defRPr>
      </a:lvl8pPr>
      <a:lvl9pPr marL="3654217" algn="l" defTabSz="456777" rtl="0" eaLnBrk="1" latinLnBrk="0" hangingPunct="1">
        <a:defRPr sz="1799"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6608876"/>
      </p:ext>
    </p:extLst>
  </p:cSld>
  <p:clrMap bg1="lt1" tx1="dk1" bg2="lt2" tx2="dk2" accent1="accent1" accent2="accent2" accent3="accent3" accent4="accent4" accent5="accent5" accent6="accent6" hlink="hlink" folHlink="folHlink"/>
  <p:sldLayoutIdLst>
    <p:sldLayoutId id="2147485186" r:id="rId1"/>
    <p:sldLayoutId id="2147485187" r:id="rId2"/>
    <p:sldLayoutId id="2147485188" r:id="rId3"/>
    <p:sldLayoutId id="2147485189"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383931" y="215703"/>
            <a:ext cx="7136423" cy="460007"/>
          </a:xfrm>
          <a:prstGeom prst="rect">
            <a:avLst/>
          </a:prstGeom>
        </p:spPr>
        <p:txBody>
          <a:bodyPr vert="horz" lIns="0" tIns="0" rIns="0" bIns="0" rtlCol="0" anchor="t" anchorCtr="0">
            <a:noAutofit/>
          </a:bodyPr>
          <a:lstStyle/>
          <a:p>
            <a:r>
              <a:rPr lang="de-DE"/>
              <a:t>TITELMASTERFORMAT</a:t>
            </a:r>
            <a:br>
              <a:rPr lang="de-DE"/>
            </a:br>
            <a:r>
              <a:rPr lang="de-DE"/>
              <a:t>DURCH KLICKEN BEARBEITEN</a:t>
            </a:r>
          </a:p>
        </p:txBody>
      </p:sp>
      <p:sp>
        <p:nvSpPr>
          <p:cNvPr id="1027" name="Textplatzhalter 2"/>
          <p:cNvSpPr>
            <a:spLocks noGrp="1"/>
          </p:cNvSpPr>
          <p:nvPr>
            <p:ph type="body" idx="1"/>
          </p:nvPr>
        </p:nvSpPr>
        <p:spPr bwMode="auto">
          <a:xfrm>
            <a:off x="381000" y="709079"/>
            <a:ext cx="8374674" cy="42437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144000" rIns="0" bIns="0" numCol="1" anchor="t" anchorCtr="0" compatLnSpc="1">
            <a:prstTxWarp prst="textNoShape">
              <a:avLst/>
            </a:prstTxWarp>
          </a:bodyPr>
          <a:lstStyle/>
          <a:p>
            <a:pPr lvl="0"/>
            <a:r>
              <a:rPr lang="de-DE" altLang="de-DE"/>
              <a:t>Textmasterformat bearbeiten</a:t>
            </a:r>
          </a:p>
          <a:p>
            <a:pPr lvl="1"/>
            <a:r>
              <a:rPr lang="de-DE" altLang="de-DE"/>
              <a:t>Zweite Ebene</a:t>
            </a:r>
          </a:p>
          <a:p>
            <a:pPr lvl="2"/>
            <a:r>
              <a:rPr lang="de-DE" altLang="de-DE"/>
              <a:t>Dritte Ebene</a:t>
            </a:r>
          </a:p>
          <a:p>
            <a:pPr lvl="3"/>
            <a:r>
              <a:rPr lang="de-DE" altLang="de-DE"/>
              <a:t>Vierte Ebene</a:t>
            </a:r>
          </a:p>
        </p:txBody>
      </p:sp>
      <p:sp>
        <p:nvSpPr>
          <p:cNvPr id="4" name="Datumsplatzhalter 3"/>
          <p:cNvSpPr>
            <a:spLocks noGrp="1"/>
          </p:cNvSpPr>
          <p:nvPr>
            <p:ph type="dt" sz="half" idx="2"/>
          </p:nvPr>
        </p:nvSpPr>
        <p:spPr>
          <a:xfrm>
            <a:off x="383931" y="4999298"/>
            <a:ext cx="899746" cy="135857"/>
          </a:xfrm>
          <a:prstGeom prst="rect">
            <a:avLst/>
          </a:prstGeom>
        </p:spPr>
        <p:txBody>
          <a:bodyPr vert="horz" lIns="0" tIns="0" rIns="0" bIns="0" rtlCol="0" anchor="ctr" anchorCtr="0"/>
          <a:lstStyle>
            <a:lvl1pPr algn="l" fontAlgn="auto">
              <a:spcBef>
                <a:spcPts val="0"/>
              </a:spcBef>
              <a:spcAft>
                <a:spcPts val="0"/>
              </a:spcAft>
              <a:defRPr sz="676">
                <a:solidFill>
                  <a:schemeClr val="accent4"/>
                </a:solidFill>
                <a:latin typeface="+mn-lt"/>
                <a:cs typeface="+mn-cs"/>
              </a:defRPr>
            </a:lvl1pPr>
          </a:lstStyle>
          <a:p>
            <a:pPr>
              <a:defRPr/>
            </a:pPr>
            <a:endParaRPr lang="de-DE">
              <a:solidFill>
                <a:srgbClr val="6E7A82"/>
              </a:solidFill>
            </a:endParaRPr>
          </a:p>
        </p:txBody>
      </p:sp>
      <p:sp>
        <p:nvSpPr>
          <p:cNvPr id="5" name="Fußzeilenplatzhalter 4"/>
          <p:cNvSpPr>
            <a:spLocks noGrp="1"/>
          </p:cNvSpPr>
          <p:nvPr>
            <p:ph type="ftr" sz="quarter" idx="3"/>
          </p:nvPr>
        </p:nvSpPr>
        <p:spPr>
          <a:xfrm>
            <a:off x="1440474" y="4999298"/>
            <a:ext cx="6263054" cy="135857"/>
          </a:xfrm>
          <a:prstGeom prst="rect">
            <a:avLst/>
          </a:prstGeom>
        </p:spPr>
        <p:txBody>
          <a:bodyPr vert="horz" lIns="0" tIns="0" rIns="0" bIns="0" rtlCol="0" anchor="ctr" anchorCtr="0"/>
          <a:lstStyle>
            <a:lvl1pPr algn="l" fontAlgn="auto">
              <a:spcBef>
                <a:spcPts val="0"/>
              </a:spcBef>
              <a:spcAft>
                <a:spcPts val="0"/>
              </a:spcAft>
              <a:defRPr sz="676">
                <a:solidFill>
                  <a:schemeClr val="tx2"/>
                </a:solidFill>
                <a:latin typeface="+mn-lt"/>
                <a:cs typeface="+mn-cs"/>
              </a:defRPr>
            </a:lvl1pPr>
          </a:lstStyle>
          <a:p>
            <a:pPr>
              <a:defRPr/>
            </a:pPr>
            <a:r>
              <a:rPr lang="de-DE">
                <a:solidFill>
                  <a:srgbClr val="007FC3"/>
                </a:solidFill>
              </a:rPr>
              <a:t>SICK | January 2015 | Confidential</a:t>
            </a:r>
          </a:p>
        </p:txBody>
      </p:sp>
      <p:sp>
        <p:nvSpPr>
          <p:cNvPr id="6" name="Foliennummernplatzhalter 5"/>
          <p:cNvSpPr>
            <a:spLocks noGrp="1"/>
          </p:cNvSpPr>
          <p:nvPr>
            <p:ph type="sldNum" sz="quarter" idx="4"/>
          </p:nvPr>
        </p:nvSpPr>
        <p:spPr>
          <a:xfrm>
            <a:off x="7860324" y="4999298"/>
            <a:ext cx="899746" cy="135857"/>
          </a:xfrm>
          <a:prstGeom prst="rect">
            <a:avLst/>
          </a:prstGeom>
        </p:spPr>
        <p:txBody>
          <a:bodyPr vert="horz" lIns="0" tIns="0" rIns="0" bIns="0" rtlCol="0" anchor="ctr" anchorCtr="0"/>
          <a:lstStyle>
            <a:lvl1pPr algn="r" fontAlgn="auto">
              <a:spcBef>
                <a:spcPts val="0"/>
              </a:spcBef>
              <a:spcAft>
                <a:spcPts val="0"/>
              </a:spcAft>
              <a:defRPr sz="676" b="0">
                <a:solidFill>
                  <a:schemeClr val="accent4"/>
                </a:solidFill>
                <a:latin typeface="+mn-lt"/>
                <a:cs typeface="+mn-cs"/>
              </a:defRPr>
            </a:lvl1pPr>
          </a:lstStyle>
          <a:p>
            <a:pPr>
              <a:defRPr/>
            </a:pPr>
            <a:fld id="{4A1BDF94-408B-40C2-A6A2-28B24714DA31}" type="slidenum">
              <a:rPr lang="de-DE">
                <a:solidFill>
                  <a:srgbClr val="6E7A82"/>
                </a:solidFill>
              </a:rPr>
              <a:pPr>
                <a:defRPr/>
              </a:pPr>
              <a:t>‹#›</a:t>
            </a:fld>
            <a:endParaRPr lang="de-DE">
              <a:solidFill>
                <a:srgbClr val="6E7A82"/>
              </a:solidFill>
            </a:endParaRPr>
          </a:p>
        </p:txBody>
      </p:sp>
      <p:cxnSp>
        <p:nvCxnSpPr>
          <p:cNvPr id="7" name="Gerade Verbindung 6"/>
          <p:cNvCxnSpPr/>
          <p:nvPr/>
        </p:nvCxnSpPr>
        <p:spPr>
          <a:xfrm>
            <a:off x="0" y="675710"/>
            <a:ext cx="9144000" cy="0"/>
          </a:xfrm>
          <a:prstGeom prst="line">
            <a:avLst/>
          </a:prstGeom>
          <a:ln w="9525" cap="sq">
            <a:solidFill>
              <a:schemeClr val="accent4">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pic>
        <p:nvPicPr>
          <p:cNvPr id="1032" name="Grafik 7"/>
          <p:cNvPicPr>
            <a:picLocks noChangeAspect="1"/>
          </p:cNvPicPr>
          <p:nvPr/>
        </p:nvPicPr>
        <p:blipFill>
          <a:blip r:embed="rId23">
            <a:extLst>
              <a:ext uri="{28A0092B-C50C-407E-A947-70E740481C1C}">
                <a14:useLocalDpi xmlns:a14="http://schemas.microsoft.com/office/drawing/2010/main" val="0"/>
              </a:ext>
            </a:extLst>
          </a:blip>
          <a:srcRect/>
          <a:stretch>
            <a:fillRect/>
          </a:stretch>
        </p:blipFill>
        <p:spPr bwMode="auto">
          <a:xfrm>
            <a:off x="7624396" y="230004"/>
            <a:ext cx="1135673" cy="3789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Rechteck 13"/>
          <p:cNvSpPr/>
          <p:nvPr/>
        </p:nvSpPr>
        <p:spPr>
          <a:xfrm>
            <a:off x="0" y="4973080"/>
            <a:ext cx="9144000" cy="26218"/>
          </a:xfrm>
          <a:prstGeom prst="rect">
            <a:avLst/>
          </a:prstGeom>
          <a:gradFill flip="none" rotWithShape="1">
            <a:gsLst>
              <a:gs pos="0">
                <a:schemeClr val="tx2"/>
              </a:gs>
              <a:gs pos="100000">
                <a:schemeClr val="tx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1351">
              <a:solidFill>
                <a:srgbClr val="FFFFFF"/>
              </a:solidFill>
            </a:endParaRPr>
          </a:p>
        </p:txBody>
      </p:sp>
      <p:cxnSp>
        <p:nvCxnSpPr>
          <p:cNvPr id="17" name="Gerade Verbindung 16"/>
          <p:cNvCxnSpPr/>
          <p:nvPr/>
        </p:nvCxnSpPr>
        <p:spPr>
          <a:xfrm>
            <a:off x="-360484" y="703119"/>
            <a:ext cx="288680" cy="0"/>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18" name="Gerade Verbindung 17"/>
          <p:cNvCxnSpPr/>
          <p:nvPr/>
        </p:nvCxnSpPr>
        <p:spPr>
          <a:xfrm>
            <a:off x="9215805" y="703119"/>
            <a:ext cx="288680" cy="0"/>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19" name="Gerade Verbindung 18"/>
          <p:cNvCxnSpPr/>
          <p:nvPr/>
        </p:nvCxnSpPr>
        <p:spPr>
          <a:xfrm>
            <a:off x="9227528" y="4945669"/>
            <a:ext cx="288680" cy="0"/>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20" name="Gerade Verbindung 19"/>
          <p:cNvCxnSpPr/>
          <p:nvPr/>
        </p:nvCxnSpPr>
        <p:spPr>
          <a:xfrm>
            <a:off x="-360484" y="4945669"/>
            <a:ext cx="288680" cy="0"/>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22" name="Gerade Verbindung 21"/>
          <p:cNvCxnSpPr/>
          <p:nvPr/>
        </p:nvCxnSpPr>
        <p:spPr>
          <a:xfrm>
            <a:off x="395654" y="5201892"/>
            <a:ext cx="0" cy="216894"/>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23" name="Gerade Verbindung 22"/>
          <p:cNvCxnSpPr/>
          <p:nvPr/>
        </p:nvCxnSpPr>
        <p:spPr>
          <a:xfrm>
            <a:off x="8748346" y="5201892"/>
            <a:ext cx="0" cy="216894"/>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24" name="Gerade Verbindung 23"/>
          <p:cNvCxnSpPr/>
          <p:nvPr/>
        </p:nvCxnSpPr>
        <p:spPr>
          <a:xfrm>
            <a:off x="8760069" y="-270522"/>
            <a:ext cx="0" cy="216894"/>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p:nvCxnSpPr>
        <p:spPr>
          <a:xfrm>
            <a:off x="383931" y="-270522"/>
            <a:ext cx="0" cy="216894"/>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26" name="Gerade Verbindung 25"/>
          <p:cNvCxnSpPr/>
          <p:nvPr/>
        </p:nvCxnSpPr>
        <p:spPr>
          <a:xfrm>
            <a:off x="-215412" y="2824394"/>
            <a:ext cx="143608" cy="0"/>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27" name="Gerade Verbindung 26"/>
          <p:cNvCxnSpPr/>
          <p:nvPr/>
        </p:nvCxnSpPr>
        <p:spPr>
          <a:xfrm>
            <a:off x="4572000" y="-162075"/>
            <a:ext cx="0" cy="108447"/>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29" name="Gerade Verbindung 28"/>
          <p:cNvCxnSpPr/>
          <p:nvPr/>
        </p:nvCxnSpPr>
        <p:spPr>
          <a:xfrm>
            <a:off x="9215805" y="2824394"/>
            <a:ext cx="143608" cy="0"/>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30" name="Gerade Verbindung 29"/>
          <p:cNvCxnSpPr/>
          <p:nvPr/>
        </p:nvCxnSpPr>
        <p:spPr>
          <a:xfrm>
            <a:off x="4572000" y="5201891"/>
            <a:ext cx="0" cy="108447"/>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sp>
        <p:nvSpPr>
          <p:cNvPr id="1046" name="Textfeld 32"/>
          <p:cNvSpPr txBox="1">
            <a:spLocks noChangeArrowheads="1"/>
          </p:cNvSpPr>
          <p:nvPr/>
        </p:nvSpPr>
        <p:spPr bwMode="auto">
          <a:xfrm>
            <a:off x="-1151792" y="2662319"/>
            <a:ext cx="1079988" cy="16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27025" anchor="b"/>
          <a:lstStyle>
            <a:lvl1pPr>
              <a:defRPr>
                <a:solidFill>
                  <a:schemeClr val="tx1"/>
                </a:solidFill>
                <a:latin typeface="SICK Franklin Condensed" pitchFamily="2" charset="0"/>
              </a:defRPr>
            </a:lvl1pPr>
            <a:lvl2pPr marL="742950" indent="-285750">
              <a:defRPr>
                <a:solidFill>
                  <a:schemeClr val="tx1"/>
                </a:solidFill>
                <a:latin typeface="SICK Franklin Condensed" pitchFamily="2" charset="0"/>
              </a:defRPr>
            </a:lvl2pPr>
            <a:lvl3pPr marL="1143000" indent="-228600">
              <a:defRPr>
                <a:solidFill>
                  <a:schemeClr val="tx1"/>
                </a:solidFill>
                <a:latin typeface="SICK Franklin Condensed" pitchFamily="2" charset="0"/>
              </a:defRPr>
            </a:lvl3pPr>
            <a:lvl4pPr marL="1600200" indent="-228600">
              <a:defRPr>
                <a:solidFill>
                  <a:schemeClr val="tx1"/>
                </a:solidFill>
                <a:latin typeface="SICK Franklin Condensed" pitchFamily="2" charset="0"/>
              </a:defRPr>
            </a:lvl4pPr>
            <a:lvl5pPr marL="2057400" indent="-228600">
              <a:defRPr>
                <a:solidFill>
                  <a:schemeClr val="tx1"/>
                </a:solidFill>
                <a:latin typeface="SICK Franklin Condensed" pitchFamily="2" charset="0"/>
              </a:defRPr>
            </a:lvl5pPr>
            <a:lvl6pPr marL="2514600" indent="-228600" fontAlgn="base">
              <a:spcBef>
                <a:spcPct val="0"/>
              </a:spcBef>
              <a:spcAft>
                <a:spcPct val="0"/>
              </a:spcAft>
              <a:defRPr>
                <a:solidFill>
                  <a:schemeClr val="tx1"/>
                </a:solidFill>
                <a:latin typeface="SICK Franklin Condensed" pitchFamily="2" charset="0"/>
              </a:defRPr>
            </a:lvl6pPr>
            <a:lvl7pPr marL="2971800" indent="-228600" fontAlgn="base">
              <a:spcBef>
                <a:spcPct val="0"/>
              </a:spcBef>
              <a:spcAft>
                <a:spcPct val="0"/>
              </a:spcAft>
              <a:defRPr>
                <a:solidFill>
                  <a:schemeClr val="tx1"/>
                </a:solidFill>
                <a:latin typeface="SICK Franklin Condensed" pitchFamily="2" charset="0"/>
              </a:defRPr>
            </a:lvl7pPr>
            <a:lvl8pPr marL="3429000" indent="-228600" fontAlgn="base">
              <a:spcBef>
                <a:spcPct val="0"/>
              </a:spcBef>
              <a:spcAft>
                <a:spcPct val="0"/>
              </a:spcAft>
              <a:defRPr>
                <a:solidFill>
                  <a:schemeClr val="tx1"/>
                </a:solidFill>
                <a:latin typeface="SICK Franklin Condensed" pitchFamily="2" charset="0"/>
              </a:defRPr>
            </a:lvl8pPr>
            <a:lvl9pPr marL="3886200" indent="-228600" fontAlgn="base">
              <a:spcBef>
                <a:spcPct val="0"/>
              </a:spcBef>
              <a:spcAft>
                <a:spcPct val="0"/>
              </a:spcAft>
              <a:defRPr>
                <a:solidFill>
                  <a:schemeClr val="tx1"/>
                </a:solidFill>
                <a:latin typeface="SICK Franklin Condensed" pitchFamily="2" charset="0"/>
              </a:defRPr>
            </a:lvl9pPr>
          </a:lstStyle>
          <a:p>
            <a:pPr algn="r" fontAlgn="base">
              <a:spcBef>
                <a:spcPct val="0"/>
              </a:spcBef>
              <a:spcAft>
                <a:spcPct val="0"/>
              </a:spcAft>
              <a:defRPr/>
            </a:pPr>
            <a:r>
              <a:rPr lang="de-DE" altLang="de-DE" sz="676">
                <a:solidFill>
                  <a:srgbClr val="FFFFFF"/>
                </a:solidFill>
                <a:cs typeface="Arial" charset="0"/>
              </a:rPr>
              <a:t>Mitte Inhaltsbereich</a:t>
            </a:r>
          </a:p>
        </p:txBody>
      </p:sp>
    </p:spTree>
    <p:extLst>
      <p:ext uri="{BB962C8B-B14F-4D97-AF65-F5344CB8AC3E}">
        <p14:creationId xmlns:p14="http://schemas.microsoft.com/office/powerpoint/2010/main" val="3510588544"/>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 id="2147483687" r:id="rId13"/>
    <p:sldLayoutId id="2147483688" r:id="rId14"/>
    <p:sldLayoutId id="2147483689" r:id="rId15"/>
    <p:sldLayoutId id="2147483690" r:id="rId16"/>
    <p:sldLayoutId id="2147483692" r:id="rId17"/>
    <p:sldLayoutId id="2147483693" r:id="rId18"/>
    <p:sldLayoutId id="2147483695" r:id="rId19"/>
    <p:sldLayoutId id="2147483696" r:id="rId20"/>
    <p:sldLayoutId id="2147483697" r:id="rId21"/>
  </p:sldLayoutIdLst>
  <p:transition>
    <p:zoom/>
  </p:transition>
  <p:hf hdr="0" dt="0"/>
  <p:txStyles>
    <p:titleStyle>
      <a:lvl1pPr algn="l" rtl="0" eaLnBrk="0" fontAlgn="base" hangingPunct="0">
        <a:lnSpc>
          <a:spcPct val="80000"/>
        </a:lnSpc>
        <a:spcBef>
          <a:spcPct val="0"/>
        </a:spcBef>
        <a:spcAft>
          <a:spcPct val="0"/>
        </a:spcAft>
        <a:defRPr sz="2400" kern="1200" cap="all">
          <a:solidFill>
            <a:schemeClr val="tx2"/>
          </a:solidFill>
          <a:latin typeface="+mj-lt"/>
          <a:ea typeface="+mj-ea"/>
          <a:cs typeface="+mj-cs"/>
        </a:defRPr>
      </a:lvl1pPr>
      <a:lvl2pPr algn="l" rtl="0" eaLnBrk="0" fontAlgn="base" hangingPunct="0">
        <a:lnSpc>
          <a:spcPct val="80000"/>
        </a:lnSpc>
        <a:spcBef>
          <a:spcPct val="0"/>
        </a:spcBef>
        <a:spcAft>
          <a:spcPct val="0"/>
        </a:spcAft>
        <a:defRPr sz="2400">
          <a:solidFill>
            <a:schemeClr val="tx2"/>
          </a:solidFill>
          <a:latin typeface="SICK Franklin" pitchFamily="2" charset="0"/>
        </a:defRPr>
      </a:lvl2pPr>
      <a:lvl3pPr algn="l" rtl="0" eaLnBrk="0" fontAlgn="base" hangingPunct="0">
        <a:lnSpc>
          <a:spcPct val="80000"/>
        </a:lnSpc>
        <a:spcBef>
          <a:spcPct val="0"/>
        </a:spcBef>
        <a:spcAft>
          <a:spcPct val="0"/>
        </a:spcAft>
        <a:defRPr sz="2400">
          <a:solidFill>
            <a:schemeClr val="tx2"/>
          </a:solidFill>
          <a:latin typeface="SICK Franklin" pitchFamily="2" charset="0"/>
        </a:defRPr>
      </a:lvl3pPr>
      <a:lvl4pPr algn="l" rtl="0" eaLnBrk="0" fontAlgn="base" hangingPunct="0">
        <a:lnSpc>
          <a:spcPct val="80000"/>
        </a:lnSpc>
        <a:spcBef>
          <a:spcPct val="0"/>
        </a:spcBef>
        <a:spcAft>
          <a:spcPct val="0"/>
        </a:spcAft>
        <a:defRPr sz="2400">
          <a:solidFill>
            <a:schemeClr val="tx2"/>
          </a:solidFill>
          <a:latin typeface="SICK Franklin" pitchFamily="2" charset="0"/>
        </a:defRPr>
      </a:lvl4pPr>
      <a:lvl5pPr algn="l" rtl="0" eaLnBrk="0" fontAlgn="base" hangingPunct="0">
        <a:lnSpc>
          <a:spcPct val="80000"/>
        </a:lnSpc>
        <a:spcBef>
          <a:spcPct val="0"/>
        </a:spcBef>
        <a:spcAft>
          <a:spcPct val="0"/>
        </a:spcAft>
        <a:defRPr sz="2400">
          <a:solidFill>
            <a:schemeClr val="tx2"/>
          </a:solidFill>
          <a:latin typeface="SICK Franklin" pitchFamily="2" charset="0"/>
        </a:defRPr>
      </a:lvl5pPr>
      <a:lvl6pPr marL="457200" algn="l" rtl="0" fontAlgn="base">
        <a:lnSpc>
          <a:spcPct val="80000"/>
        </a:lnSpc>
        <a:spcBef>
          <a:spcPct val="0"/>
        </a:spcBef>
        <a:spcAft>
          <a:spcPct val="0"/>
        </a:spcAft>
        <a:defRPr sz="2400">
          <a:solidFill>
            <a:schemeClr val="tx2"/>
          </a:solidFill>
          <a:latin typeface="SICK Franklin" pitchFamily="2" charset="0"/>
        </a:defRPr>
      </a:lvl6pPr>
      <a:lvl7pPr marL="914400" algn="l" rtl="0" fontAlgn="base">
        <a:lnSpc>
          <a:spcPct val="80000"/>
        </a:lnSpc>
        <a:spcBef>
          <a:spcPct val="0"/>
        </a:spcBef>
        <a:spcAft>
          <a:spcPct val="0"/>
        </a:spcAft>
        <a:defRPr sz="2400">
          <a:solidFill>
            <a:schemeClr val="tx2"/>
          </a:solidFill>
          <a:latin typeface="SICK Franklin" pitchFamily="2" charset="0"/>
        </a:defRPr>
      </a:lvl7pPr>
      <a:lvl8pPr marL="1371600" algn="l" rtl="0" fontAlgn="base">
        <a:lnSpc>
          <a:spcPct val="80000"/>
        </a:lnSpc>
        <a:spcBef>
          <a:spcPct val="0"/>
        </a:spcBef>
        <a:spcAft>
          <a:spcPct val="0"/>
        </a:spcAft>
        <a:defRPr sz="2400">
          <a:solidFill>
            <a:schemeClr val="tx2"/>
          </a:solidFill>
          <a:latin typeface="SICK Franklin" pitchFamily="2" charset="0"/>
        </a:defRPr>
      </a:lvl8pPr>
      <a:lvl9pPr marL="1828800" algn="l" rtl="0" fontAlgn="base">
        <a:lnSpc>
          <a:spcPct val="80000"/>
        </a:lnSpc>
        <a:spcBef>
          <a:spcPct val="0"/>
        </a:spcBef>
        <a:spcAft>
          <a:spcPct val="0"/>
        </a:spcAft>
        <a:defRPr sz="2400">
          <a:solidFill>
            <a:schemeClr val="tx2"/>
          </a:solidFill>
          <a:latin typeface="SICK Franklin" pitchFamily="2" charset="0"/>
        </a:defRPr>
      </a:lvl9pPr>
    </p:titleStyle>
    <p:bodyStyle>
      <a:lvl1pPr marL="271463" indent="-271463" algn="l" rtl="0" eaLnBrk="0" fontAlgn="base" hangingPunct="0">
        <a:spcBef>
          <a:spcPts val="600"/>
        </a:spcBef>
        <a:spcAft>
          <a:spcPct val="0"/>
        </a:spcAft>
        <a:buClr>
          <a:srgbClr val="6E7A82"/>
        </a:buClr>
        <a:buSzPct val="100000"/>
        <a:buFont typeface="Wingdings" pitchFamily="2" charset="2"/>
        <a:buChar char="§"/>
        <a:defRPr sz="2000" kern="1200">
          <a:solidFill>
            <a:srgbClr val="6E7A82"/>
          </a:solidFill>
          <a:latin typeface="+mn-lt"/>
          <a:ea typeface="+mn-ea"/>
          <a:cs typeface="+mn-cs"/>
        </a:defRPr>
      </a:lvl1pPr>
      <a:lvl2pPr marL="541338" indent="-269875" algn="l" rtl="0" eaLnBrk="0" fontAlgn="base" hangingPunct="0">
        <a:spcBef>
          <a:spcPts val="600"/>
        </a:spcBef>
        <a:spcAft>
          <a:spcPct val="0"/>
        </a:spcAft>
        <a:buClr>
          <a:srgbClr val="6E7A82"/>
        </a:buClr>
        <a:buSzPct val="100000"/>
        <a:buFont typeface="SICK Franklin Condensed" pitchFamily="2" charset="0"/>
        <a:buChar char="▸"/>
        <a:defRPr kern="1200">
          <a:solidFill>
            <a:srgbClr val="6E7A82"/>
          </a:solidFill>
          <a:latin typeface="+mn-lt"/>
          <a:ea typeface="+mn-ea"/>
          <a:cs typeface="+mn-cs"/>
        </a:defRPr>
      </a:lvl2pPr>
      <a:lvl3pPr marL="804863" indent="-263525" algn="l" rtl="0" eaLnBrk="0" fontAlgn="base" hangingPunct="0">
        <a:spcBef>
          <a:spcPts val="600"/>
        </a:spcBef>
        <a:spcAft>
          <a:spcPct val="0"/>
        </a:spcAft>
        <a:buClr>
          <a:srgbClr val="6E7A82"/>
        </a:buClr>
        <a:buSzPct val="100000"/>
        <a:buFont typeface="SICK Franklin Condensed" pitchFamily="2" charset="0"/>
        <a:buChar char="―"/>
        <a:defRPr sz="1600" kern="1200">
          <a:solidFill>
            <a:srgbClr val="6E7A82"/>
          </a:solidFill>
          <a:latin typeface="+mn-lt"/>
          <a:ea typeface="+mn-ea"/>
          <a:cs typeface="+mn-cs"/>
        </a:defRPr>
      </a:lvl3pPr>
      <a:lvl4pPr marL="1074738" indent="-269875" algn="l" rtl="0" eaLnBrk="0" fontAlgn="base" hangingPunct="0">
        <a:spcBef>
          <a:spcPts val="600"/>
        </a:spcBef>
        <a:spcAft>
          <a:spcPct val="0"/>
        </a:spcAft>
        <a:buClr>
          <a:srgbClr val="6E7A82"/>
        </a:buClr>
        <a:buSzPct val="100000"/>
        <a:buFont typeface="SICK Franklin Condensed" pitchFamily="2" charset="0"/>
        <a:buChar char="―"/>
        <a:defRPr sz="1600" kern="1200">
          <a:solidFill>
            <a:srgbClr val="6E7A82"/>
          </a:solidFill>
          <a:latin typeface="+mn-lt"/>
          <a:ea typeface="+mn-ea"/>
          <a:cs typeface="+mn-cs"/>
        </a:defRPr>
      </a:lvl4pPr>
      <a:lvl5pPr marL="1346200" indent="-271463" algn="l" rtl="0" eaLnBrk="0" fontAlgn="base" hangingPunct="0">
        <a:spcBef>
          <a:spcPts val="600"/>
        </a:spcBef>
        <a:spcAft>
          <a:spcPct val="0"/>
        </a:spcAft>
        <a:buSzPct val="100000"/>
        <a:buFont typeface="Arial" charset="0"/>
        <a:buChar char="•"/>
        <a:defRPr sz="1100" kern="1200">
          <a:solidFill>
            <a:schemeClr val="accent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ext Box 14"/>
          <p:cNvSpPr txBox="1">
            <a:spLocks noChangeArrowheads="1"/>
          </p:cNvSpPr>
          <p:nvPr userDrawn="1"/>
        </p:nvSpPr>
        <p:spPr bwMode="auto">
          <a:xfrm>
            <a:off x="7861303" y="5005256"/>
            <a:ext cx="898525" cy="1239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nchor="ctr"/>
          <a:lstStyle>
            <a:lvl1pPr>
              <a:defRPr>
                <a:solidFill>
                  <a:schemeClr val="tx1"/>
                </a:solidFill>
                <a:latin typeface="SICK Franklin Condensed" pitchFamily="2" charset="0"/>
              </a:defRPr>
            </a:lvl1pPr>
            <a:lvl2pPr marL="742950" indent="-285750">
              <a:defRPr>
                <a:solidFill>
                  <a:schemeClr val="tx1"/>
                </a:solidFill>
                <a:latin typeface="SICK Franklin Condensed" pitchFamily="2" charset="0"/>
              </a:defRPr>
            </a:lvl2pPr>
            <a:lvl3pPr marL="1143000" indent="-228600">
              <a:defRPr>
                <a:solidFill>
                  <a:schemeClr val="tx1"/>
                </a:solidFill>
                <a:latin typeface="SICK Franklin Condensed" pitchFamily="2" charset="0"/>
              </a:defRPr>
            </a:lvl3pPr>
            <a:lvl4pPr marL="1600200" indent="-228600">
              <a:defRPr>
                <a:solidFill>
                  <a:schemeClr val="tx1"/>
                </a:solidFill>
                <a:latin typeface="SICK Franklin Condensed" pitchFamily="2" charset="0"/>
              </a:defRPr>
            </a:lvl4pPr>
            <a:lvl5pPr marL="2057400" indent="-228600">
              <a:defRPr>
                <a:solidFill>
                  <a:schemeClr val="tx1"/>
                </a:solidFill>
                <a:latin typeface="SICK Franklin Condensed" pitchFamily="2" charset="0"/>
              </a:defRPr>
            </a:lvl5pPr>
            <a:lvl6pPr marL="2514600" indent="-228600" fontAlgn="base">
              <a:spcBef>
                <a:spcPct val="0"/>
              </a:spcBef>
              <a:spcAft>
                <a:spcPct val="0"/>
              </a:spcAft>
              <a:defRPr>
                <a:solidFill>
                  <a:schemeClr val="tx1"/>
                </a:solidFill>
                <a:latin typeface="SICK Franklin Condensed" pitchFamily="2" charset="0"/>
              </a:defRPr>
            </a:lvl6pPr>
            <a:lvl7pPr marL="2971800" indent="-228600" fontAlgn="base">
              <a:spcBef>
                <a:spcPct val="0"/>
              </a:spcBef>
              <a:spcAft>
                <a:spcPct val="0"/>
              </a:spcAft>
              <a:defRPr>
                <a:solidFill>
                  <a:schemeClr val="tx1"/>
                </a:solidFill>
                <a:latin typeface="SICK Franklin Condensed" pitchFamily="2" charset="0"/>
              </a:defRPr>
            </a:lvl7pPr>
            <a:lvl8pPr marL="3429000" indent="-228600" fontAlgn="base">
              <a:spcBef>
                <a:spcPct val="0"/>
              </a:spcBef>
              <a:spcAft>
                <a:spcPct val="0"/>
              </a:spcAft>
              <a:defRPr>
                <a:solidFill>
                  <a:schemeClr val="tx1"/>
                </a:solidFill>
                <a:latin typeface="SICK Franklin Condensed" pitchFamily="2" charset="0"/>
              </a:defRPr>
            </a:lvl8pPr>
            <a:lvl9pPr marL="3886200" indent="-228600" fontAlgn="base">
              <a:spcBef>
                <a:spcPct val="0"/>
              </a:spcBef>
              <a:spcAft>
                <a:spcPct val="0"/>
              </a:spcAft>
              <a:defRPr>
                <a:solidFill>
                  <a:schemeClr val="tx1"/>
                </a:solidFill>
                <a:latin typeface="SICK Franklin Condensed" pitchFamily="2" charset="0"/>
              </a:defRPr>
            </a:lvl9pPr>
          </a:lstStyle>
          <a:p>
            <a:pPr algn="r">
              <a:defRPr/>
            </a:pPr>
            <a:fld id="{0DF0BD1B-CDED-4AF0-BA91-8E88244DFB05}" type="slidenum">
              <a:rPr lang="en-US" altLang="en-US" sz="676" smtClean="0">
                <a:solidFill>
                  <a:srgbClr val="6E7A82"/>
                </a:solidFill>
              </a:rPr>
              <a:pPr algn="r">
                <a:defRPr/>
              </a:pPr>
              <a:t>‹#›</a:t>
            </a:fld>
            <a:endParaRPr lang="en-US" altLang="en-US" sz="676" dirty="0">
              <a:solidFill>
                <a:srgbClr val="6E7A82"/>
              </a:solidFill>
            </a:endParaRPr>
          </a:p>
        </p:txBody>
      </p:sp>
      <p:sp>
        <p:nvSpPr>
          <p:cNvPr id="1027" name="Text Box 14"/>
          <p:cNvSpPr txBox="1">
            <a:spLocks noChangeArrowheads="1"/>
          </p:cNvSpPr>
          <p:nvPr userDrawn="1"/>
        </p:nvSpPr>
        <p:spPr bwMode="auto">
          <a:xfrm>
            <a:off x="1439864" y="5005298"/>
            <a:ext cx="6264275" cy="137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nchor="ctr"/>
          <a:lstStyle>
            <a:lvl1pPr>
              <a:defRPr>
                <a:solidFill>
                  <a:schemeClr val="tx1"/>
                </a:solidFill>
                <a:latin typeface="SICK Franklin Condensed" pitchFamily="2" charset="0"/>
              </a:defRPr>
            </a:lvl1pPr>
            <a:lvl2pPr marL="742950" indent="-285750">
              <a:defRPr>
                <a:solidFill>
                  <a:schemeClr val="tx1"/>
                </a:solidFill>
                <a:latin typeface="SICK Franklin Condensed" pitchFamily="2" charset="0"/>
              </a:defRPr>
            </a:lvl2pPr>
            <a:lvl3pPr marL="1143000" indent="-228600">
              <a:defRPr>
                <a:solidFill>
                  <a:schemeClr val="tx1"/>
                </a:solidFill>
                <a:latin typeface="SICK Franklin Condensed" pitchFamily="2" charset="0"/>
              </a:defRPr>
            </a:lvl3pPr>
            <a:lvl4pPr marL="1600200" indent="-228600">
              <a:defRPr>
                <a:solidFill>
                  <a:schemeClr val="tx1"/>
                </a:solidFill>
                <a:latin typeface="SICK Franklin Condensed" pitchFamily="2" charset="0"/>
              </a:defRPr>
            </a:lvl4pPr>
            <a:lvl5pPr marL="2057400" indent="-228600">
              <a:defRPr>
                <a:solidFill>
                  <a:schemeClr val="tx1"/>
                </a:solidFill>
                <a:latin typeface="SICK Franklin Condensed" pitchFamily="2" charset="0"/>
              </a:defRPr>
            </a:lvl5pPr>
            <a:lvl6pPr marL="2514600" indent="-228600" fontAlgn="base">
              <a:spcBef>
                <a:spcPct val="0"/>
              </a:spcBef>
              <a:spcAft>
                <a:spcPct val="0"/>
              </a:spcAft>
              <a:defRPr>
                <a:solidFill>
                  <a:schemeClr val="tx1"/>
                </a:solidFill>
                <a:latin typeface="SICK Franklin Condensed" pitchFamily="2" charset="0"/>
              </a:defRPr>
            </a:lvl6pPr>
            <a:lvl7pPr marL="2971800" indent="-228600" fontAlgn="base">
              <a:spcBef>
                <a:spcPct val="0"/>
              </a:spcBef>
              <a:spcAft>
                <a:spcPct val="0"/>
              </a:spcAft>
              <a:defRPr>
                <a:solidFill>
                  <a:schemeClr val="tx1"/>
                </a:solidFill>
                <a:latin typeface="SICK Franklin Condensed" pitchFamily="2" charset="0"/>
              </a:defRPr>
            </a:lvl7pPr>
            <a:lvl8pPr marL="3429000" indent="-228600" fontAlgn="base">
              <a:spcBef>
                <a:spcPct val="0"/>
              </a:spcBef>
              <a:spcAft>
                <a:spcPct val="0"/>
              </a:spcAft>
              <a:defRPr>
                <a:solidFill>
                  <a:schemeClr val="tx1"/>
                </a:solidFill>
                <a:latin typeface="SICK Franklin Condensed" pitchFamily="2" charset="0"/>
              </a:defRPr>
            </a:lvl8pPr>
            <a:lvl9pPr marL="3886200" indent="-228600" fontAlgn="base">
              <a:spcBef>
                <a:spcPct val="0"/>
              </a:spcBef>
              <a:spcAft>
                <a:spcPct val="0"/>
              </a:spcAft>
              <a:defRPr>
                <a:solidFill>
                  <a:schemeClr val="tx1"/>
                </a:solidFill>
                <a:latin typeface="SICK Franklin Condensed" pitchFamily="2" charset="0"/>
              </a:defRPr>
            </a:lvl9pPr>
          </a:lstStyle>
          <a:p>
            <a:pPr>
              <a:defRPr/>
            </a:pPr>
            <a:r>
              <a:rPr lang="en-US" altLang="en-US" sz="676" dirty="0">
                <a:solidFill>
                  <a:schemeClr val="tx2"/>
                </a:solidFill>
              </a:rPr>
              <a:t>Name | Confidential</a:t>
            </a:r>
          </a:p>
        </p:txBody>
      </p:sp>
      <p:sp>
        <p:nvSpPr>
          <p:cNvPr id="32" name="Text Box 14"/>
          <p:cNvSpPr txBox="1">
            <a:spLocks noChangeArrowheads="1"/>
          </p:cNvSpPr>
          <p:nvPr userDrawn="1"/>
        </p:nvSpPr>
        <p:spPr bwMode="auto">
          <a:xfrm>
            <a:off x="376243" y="5005256"/>
            <a:ext cx="909637" cy="138240"/>
          </a:xfrm>
          <a:prstGeom prst="rect">
            <a:avLst/>
          </a:prstGeom>
        </p:spPr>
        <p:txBody>
          <a:bodyPr lIns="0" tIns="0" rIns="0" bIns="0" anchor="ctr"/>
          <a:lstStyle>
            <a:defPPr>
              <a:defRPr lang="de-DE"/>
            </a:defPPr>
            <a:lvl1pPr>
              <a:defRPr sz="900">
                <a:solidFill>
                  <a:schemeClr val="accent4"/>
                </a:solidFill>
              </a:defRPr>
            </a:lvl1pPr>
          </a:lstStyle>
          <a:p>
            <a:pPr fontAlgn="auto">
              <a:spcBef>
                <a:spcPts val="0"/>
              </a:spcBef>
              <a:spcAft>
                <a:spcPts val="0"/>
              </a:spcAft>
              <a:defRPr/>
            </a:pPr>
            <a:r>
              <a:rPr lang="en-US" sz="676" dirty="0">
                <a:latin typeface="+mn-lt"/>
                <a:cs typeface="+mn-cs"/>
              </a:rPr>
              <a:t>Date</a:t>
            </a:r>
          </a:p>
        </p:txBody>
      </p:sp>
      <p:sp>
        <p:nvSpPr>
          <p:cNvPr id="2" name="Titelplatzhalter 1"/>
          <p:cNvSpPr>
            <a:spLocks noGrp="1"/>
          </p:cNvSpPr>
          <p:nvPr>
            <p:ph type="title"/>
          </p:nvPr>
        </p:nvSpPr>
        <p:spPr>
          <a:xfrm>
            <a:off x="384178" y="215742"/>
            <a:ext cx="7137400" cy="460007"/>
          </a:xfrm>
          <a:prstGeom prst="rect">
            <a:avLst/>
          </a:prstGeom>
        </p:spPr>
        <p:txBody>
          <a:bodyPr vert="horz" lIns="0" tIns="0" rIns="0" bIns="0" rtlCol="0" anchor="t" anchorCtr="0">
            <a:noAutofit/>
          </a:bodyPr>
          <a:lstStyle/>
          <a:p>
            <a:r>
              <a:rPr lang="en-US" noProof="0" dirty="0"/>
              <a:t>TITELMASTERFORMAT</a:t>
            </a:r>
            <a:br>
              <a:rPr lang="en-US" noProof="0" dirty="0"/>
            </a:br>
            <a:r>
              <a:rPr lang="en-US" noProof="0" dirty="0"/>
              <a:t>DURCH KLICKEN BEARBEITEN</a:t>
            </a:r>
          </a:p>
        </p:txBody>
      </p:sp>
      <p:sp>
        <p:nvSpPr>
          <p:cNvPr id="1030" name="Textplatzhalter 2"/>
          <p:cNvSpPr>
            <a:spLocks noGrp="1"/>
          </p:cNvSpPr>
          <p:nvPr>
            <p:ph type="body" idx="1"/>
          </p:nvPr>
        </p:nvSpPr>
        <p:spPr bwMode="auto">
          <a:xfrm>
            <a:off x="381001" y="709081"/>
            <a:ext cx="8374063" cy="42437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144000" rIns="0" bIns="0" numCol="1" anchor="t" anchorCtr="0" compatLnSpc="1">
            <a:prstTxWarp prst="textNoShape">
              <a:avLst/>
            </a:prstTxWarp>
          </a:bodyPr>
          <a:lstStyle/>
          <a:p>
            <a:pPr lvl="0"/>
            <a:r>
              <a:rPr lang="en-US" altLang="en-US"/>
              <a:t>Textmasterformat bearbeiten</a:t>
            </a:r>
          </a:p>
          <a:p>
            <a:pPr lvl="1"/>
            <a:r>
              <a:rPr lang="en-US" altLang="en-US"/>
              <a:t>Zweite Ebene</a:t>
            </a:r>
          </a:p>
          <a:p>
            <a:pPr lvl="2"/>
            <a:r>
              <a:rPr lang="en-US" altLang="en-US"/>
              <a:t>Dritte Ebene</a:t>
            </a:r>
          </a:p>
          <a:p>
            <a:pPr lvl="3"/>
            <a:r>
              <a:rPr lang="en-US" altLang="en-US"/>
              <a:t>Vierte Ebene</a:t>
            </a:r>
          </a:p>
        </p:txBody>
      </p:sp>
      <p:cxnSp>
        <p:nvCxnSpPr>
          <p:cNvPr id="7" name="Gerade Verbindung 6"/>
          <p:cNvCxnSpPr/>
          <p:nvPr/>
        </p:nvCxnSpPr>
        <p:spPr>
          <a:xfrm>
            <a:off x="0" y="675710"/>
            <a:ext cx="9144000" cy="0"/>
          </a:xfrm>
          <a:prstGeom prst="line">
            <a:avLst/>
          </a:prstGeom>
          <a:ln w="9525" cap="sq">
            <a:solidFill>
              <a:schemeClr val="accent4">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pic>
        <p:nvPicPr>
          <p:cNvPr id="1032" name="Grafik 7"/>
          <p:cNvPicPr>
            <a:picLocks noChangeAspect="1"/>
          </p:cNvPicPr>
          <p:nvPr/>
        </p:nvPicPr>
        <p:blipFill>
          <a:blip r:embed="rId23">
            <a:extLst>
              <a:ext uri="{28A0092B-C50C-407E-A947-70E740481C1C}">
                <a14:useLocalDpi xmlns:a14="http://schemas.microsoft.com/office/drawing/2010/main" val="0"/>
              </a:ext>
            </a:extLst>
          </a:blip>
          <a:srcRect/>
          <a:stretch>
            <a:fillRect/>
          </a:stretch>
        </p:blipFill>
        <p:spPr bwMode="auto">
          <a:xfrm>
            <a:off x="7624767" y="230043"/>
            <a:ext cx="1135062" cy="3789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Rechteck 13"/>
          <p:cNvSpPr/>
          <p:nvPr/>
        </p:nvSpPr>
        <p:spPr>
          <a:xfrm>
            <a:off x="0" y="4973122"/>
            <a:ext cx="9144000" cy="26218"/>
          </a:xfrm>
          <a:prstGeom prst="rect">
            <a:avLst/>
          </a:prstGeom>
          <a:gradFill flip="none" rotWithShape="1">
            <a:gsLst>
              <a:gs pos="0">
                <a:schemeClr val="tx2"/>
              </a:gs>
              <a:gs pos="100000">
                <a:schemeClr val="tx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cxnSp>
        <p:nvCxnSpPr>
          <p:cNvPr id="17" name="Gerade Verbindung 16"/>
          <p:cNvCxnSpPr/>
          <p:nvPr/>
        </p:nvCxnSpPr>
        <p:spPr>
          <a:xfrm>
            <a:off x="-360363" y="703119"/>
            <a:ext cx="288925" cy="0"/>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18" name="Gerade Verbindung 17"/>
          <p:cNvCxnSpPr/>
          <p:nvPr/>
        </p:nvCxnSpPr>
        <p:spPr>
          <a:xfrm>
            <a:off x="9215443" y="703119"/>
            <a:ext cx="288925" cy="0"/>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19" name="Gerade Verbindung 18"/>
          <p:cNvCxnSpPr/>
          <p:nvPr/>
        </p:nvCxnSpPr>
        <p:spPr>
          <a:xfrm>
            <a:off x="9228141" y="4945669"/>
            <a:ext cx="287337" cy="0"/>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20" name="Gerade Verbindung 19"/>
          <p:cNvCxnSpPr/>
          <p:nvPr/>
        </p:nvCxnSpPr>
        <p:spPr>
          <a:xfrm>
            <a:off x="-360363" y="4945669"/>
            <a:ext cx="288925" cy="0"/>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22" name="Gerade Verbindung 21"/>
          <p:cNvCxnSpPr/>
          <p:nvPr/>
        </p:nvCxnSpPr>
        <p:spPr>
          <a:xfrm>
            <a:off x="395288" y="5201893"/>
            <a:ext cx="0" cy="216894"/>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23" name="Gerade Verbindung 22"/>
          <p:cNvCxnSpPr/>
          <p:nvPr/>
        </p:nvCxnSpPr>
        <p:spPr>
          <a:xfrm>
            <a:off x="8748713" y="5201893"/>
            <a:ext cx="0" cy="216894"/>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24" name="Gerade Verbindung 23"/>
          <p:cNvCxnSpPr/>
          <p:nvPr/>
        </p:nvCxnSpPr>
        <p:spPr>
          <a:xfrm>
            <a:off x="8759825" y="-270522"/>
            <a:ext cx="0" cy="216894"/>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p:nvCxnSpPr>
        <p:spPr>
          <a:xfrm>
            <a:off x="384175" y="-270522"/>
            <a:ext cx="0" cy="216894"/>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26" name="Gerade Verbindung 25"/>
          <p:cNvCxnSpPr/>
          <p:nvPr/>
        </p:nvCxnSpPr>
        <p:spPr>
          <a:xfrm>
            <a:off x="-215900" y="2824394"/>
            <a:ext cx="144462" cy="0"/>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27" name="Gerade Verbindung 26"/>
          <p:cNvCxnSpPr/>
          <p:nvPr/>
        </p:nvCxnSpPr>
        <p:spPr>
          <a:xfrm>
            <a:off x="4572000" y="-162075"/>
            <a:ext cx="0" cy="108447"/>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29" name="Gerade Verbindung 28"/>
          <p:cNvCxnSpPr/>
          <p:nvPr/>
        </p:nvCxnSpPr>
        <p:spPr>
          <a:xfrm>
            <a:off x="9215439" y="2824394"/>
            <a:ext cx="144462" cy="0"/>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30" name="Gerade Verbindung 29"/>
          <p:cNvCxnSpPr/>
          <p:nvPr/>
        </p:nvCxnSpPr>
        <p:spPr>
          <a:xfrm>
            <a:off x="4572000" y="5201891"/>
            <a:ext cx="0" cy="108447"/>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sp>
        <p:nvSpPr>
          <p:cNvPr id="1046" name="Textfeld 32"/>
          <p:cNvSpPr txBox="1">
            <a:spLocks noChangeArrowheads="1"/>
          </p:cNvSpPr>
          <p:nvPr/>
        </p:nvSpPr>
        <p:spPr bwMode="auto">
          <a:xfrm>
            <a:off x="-1152520" y="2662319"/>
            <a:ext cx="1081087" cy="16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27025" anchor="b"/>
          <a:lstStyle>
            <a:lvl1pPr>
              <a:defRPr>
                <a:solidFill>
                  <a:schemeClr val="tx1"/>
                </a:solidFill>
                <a:latin typeface="SICK Franklin Condensed" pitchFamily="2" charset="0"/>
              </a:defRPr>
            </a:lvl1pPr>
            <a:lvl2pPr marL="742950" indent="-285750">
              <a:defRPr>
                <a:solidFill>
                  <a:schemeClr val="tx1"/>
                </a:solidFill>
                <a:latin typeface="SICK Franklin Condensed" pitchFamily="2" charset="0"/>
              </a:defRPr>
            </a:lvl2pPr>
            <a:lvl3pPr marL="1143000" indent="-228600">
              <a:defRPr>
                <a:solidFill>
                  <a:schemeClr val="tx1"/>
                </a:solidFill>
                <a:latin typeface="SICK Franklin Condensed" pitchFamily="2" charset="0"/>
              </a:defRPr>
            </a:lvl3pPr>
            <a:lvl4pPr marL="1600200" indent="-228600">
              <a:defRPr>
                <a:solidFill>
                  <a:schemeClr val="tx1"/>
                </a:solidFill>
                <a:latin typeface="SICK Franklin Condensed" pitchFamily="2" charset="0"/>
              </a:defRPr>
            </a:lvl4pPr>
            <a:lvl5pPr marL="2057400" indent="-228600">
              <a:defRPr>
                <a:solidFill>
                  <a:schemeClr val="tx1"/>
                </a:solidFill>
                <a:latin typeface="SICK Franklin Condensed" pitchFamily="2" charset="0"/>
              </a:defRPr>
            </a:lvl5pPr>
            <a:lvl6pPr marL="2514600" indent="-228600" fontAlgn="base">
              <a:spcBef>
                <a:spcPct val="0"/>
              </a:spcBef>
              <a:spcAft>
                <a:spcPct val="0"/>
              </a:spcAft>
              <a:defRPr>
                <a:solidFill>
                  <a:schemeClr val="tx1"/>
                </a:solidFill>
                <a:latin typeface="SICK Franklin Condensed" pitchFamily="2" charset="0"/>
              </a:defRPr>
            </a:lvl6pPr>
            <a:lvl7pPr marL="2971800" indent="-228600" fontAlgn="base">
              <a:spcBef>
                <a:spcPct val="0"/>
              </a:spcBef>
              <a:spcAft>
                <a:spcPct val="0"/>
              </a:spcAft>
              <a:defRPr>
                <a:solidFill>
                  <a:schemeClr val="tx1"/>
                </a:solidFill>
                <a:latin typeface="SICK Franklin Condensed" pitchFamily="2" charset="0"/>
              </a:defRPr>
            </a:lvl7pPr>
            <a:lvl8pPr marL="3429000" indent="-228600" fontAlgn="base">
              <a:spcBef>
                <a:spcPct val="0"/>
              </a:spcBef>
              <a:spcAft>
                <a:spcPct val="0"/>
              </a:spcAft>
              <a:defRPr>
                <a:solidFill>
                  <a:schemeClr val="tx1"/>
                </a:solidFill>
                <a:latin typeface="SICK Franklin Condensed" pitchFamily="2" charset="0"/>
              </a:defRPr>
            </a:lvl8pPr>
            <a:lvl9pPr marL="3886200" indent="-228600" fontAlgn="base">
              <a:spcBef>
                <a:spcPct val="0"/>
              </a:spcBef>
              <a:spcAft>
                <a:spcPct val="0"/>
              </a:spcAft>
              <a:defRPr>
                <a:solidFill>
                  <a:schemeClr val="tx1"/>
                </a:solidFill>
                <a:latin typeface="SICK Franklin Condensed" pitchFamily="2" charset="0"/>
              </a:defRPr>
            </a:lvl9pPr>
          </a:lstStyle>
          <a:p>
            <a:pPr algn="r">
              <a:defRPr/>
            </a:pPr>
            <a:r>
              <a:rPr lang="en-US" altLang="en-US" sz="676" dirty="0">
                <a:solidFill>
                  <a:srgbClr val="FFFFFF"/>
                </a:solidFill>
              </a:rPr>
              <a:t>Center line content</a:t>
            </a:r>
          </a:p>
        </p:txBody>
      </p:sp>
    </p:spTree>
  </p:cSld>
  <p:clrMap bg1="lt1" tx1="dk1" bg2="lt2" tx2="dk2" accent1="accent1" accent2="accent2" accent3="accent3" accent4="accent4" accent5="accent5" accent6="accent6" hlink="hlink" folHlink="folHlink"/>
  <p:sldLayoutIdLst>
    <p:sldLayoutId id="2147484447" r:id="rId1"/>
    <p:sldLayoutId id="2147484448" r:id="rId2"/>
    <p:sldLayoutId id="2147484416" r:id="rId3"/>
    <p:sldLayoutId id="2147484417" r:id="rId4"/>
    <p:sldLayoutId id="2147484418" r:id="rId5"/>
    <p:sldLayoutId id="2147484419" r:id="rId6"/>
    <p:sldLayoutId id="2147484449" r:id="rId7"/>
    <p:sldLayoutId id="2147484450" r:id="rId8"/>
    <p:sldLayoutId id="2147484451" r:id="rId9"/>
    <p:sldLayoutId id="2147484420" r:id="rId10"/>
    <p:sldLayoutId id="2147484421" r:id="rId11"/>
    <p:sldLayoutId id="2147484422" r:id="rId12"/>
    <p:sldLayoutId id="2147484452" r:id="rId13"/>
    <p:sldLayoutId id="2147484453" r:id="rId14"/>
    <p:sldLayoutId id="2147484454" r:id="rId15"/>
    <p:sldLayoutId id="2147484455" r:id="rId16"/>
    <p:sldLayoutId id="2147484456" r:id="rId17"/>
    <p:sldLayoutId id="2147484457" r:id="rId18"/>
    <p:sldLayoutId id="2147484458" r:id="rId19"/>
    <p:sldLayoutId id="2147484459" r:id="rId20"/>
    <p:sldLayoutId id="2147484423" r:id="rId21"/>
  </p:sldLayoutIdLst>
  <p:transition>
    <p:zoom/>
  </p:transition>
  <p:hf hdr="0"/>
  <p:txStyles>
    <p:titleStyle>
      <a:lvl1pPr algn="l" rtl="0" eaLnBrk="0" fontAlgn="base" hangingPunct="0">
        <a:lnSpc>
          <a:spcPct val="80000"/>
        </a:lnSpc>
        <a:spcBef>
          <a:spcPct val="0"/>
        </a:spcBef>
        <a:spcAft>
          <a:spcPct val="0"/>
        </a:spcAft>
        <a:defRPr sz="2400" kern="1200" cap="all">
          <a:solidFill>
            <a:schemeClr val="tx2"/>
          </a:solidFill>
          <a:latin typeface="+mj-lt"/>
          <a:ea typeface="+mj-ea"/>
          <a:cs typeface="+mj-cs"/>
        </a:defRPr>
      </a:lvl1pPr>
      <a:lvl2pPr algn="l" rtl="0" eaLnBrk="0" fontAlgn="base" hangingPunct="0">
        <a:lnSpc>
          <a:spcPct val="80000"/>
        </a:lnSpc>
        <a:spcBef>
          <a:spcPct val="0"/>
        </a:spcBef>
        <a:spcAft>
          <a:spcPct val="0"/>
        </a:spcAft>
        <a:defRPr sz="2400">
          <a:solidFill>
            <a:schemeClr val="tx2"/>
          </a:solidFill>
          <a:latin typeface="SICK Franklin" pitchFamily="2" charset="0"/>
        </a:defRPr>
      </a:lvl2pPr>
      <a:lvl3pPr algn="l" rtl="0" eaLnBrk="0" fontAlgn="base" hangingPunct="0">
        <a:lnSpc>
          <a:spcPct val="80000"/>
        </a:lnSpc>
        <a:spcBef>
          <a:spcPct val="0"/>
        </a:spcBef>
        <a:spcAft>
          <a:spcPct val="0"/>
        </a:spcAft>
        <a:defRPr sz="2400">
          <a:solidFill>
            <a:schemeClr val="tx2"/>
          </a:solidFill>
          <a:latin typeface="SICK Franklin" pitchFamily="2" charset="0"/>
        </a:defRPr>
      </a:lvl3pPr>
      <a:lvl4pPr algn="l" rtl="0" eaLnBrk="0" fontAlgn="base" hangingPunct="0">
        <a:lnSpc>
          <a:spcPct val="80000"/>
        </a:lnSpc>
        <a:spcBef>
          <a:spcPct val="0"/>
        </a:spcBef>
        <a:spcAft>
          <a:spcPct val="0"/>
        </a:spcAft>
        <a:defRPr sz="2400">
          <a:solidFill>
            <a:schemeClr val="tx2"/>
          </a:solidFill>
          <a:latin typeface="SICK Franklin" pitchFamily="2" charset="0"/>
        </a:defRPr>
      </a:lvl4pPr>
      <a:lvl5pPr algn="l" rtl="0" eaLnBrk="0" fontAlgn="base" hangingPunct="0">
        <a:lnSpc>
          <a:spcPct val="80000"/>
        </a:lnSpc>
        <a:spcBef>
          <a:spcPct val="0"/>
        </a:spcBef>
        <a:spcAft>
          <a:spcPct val="0"/>
        </a:spcAft>
        <a:defRPr sz="2400">
          <a:solidFill>
            <a:schemeClr val="tx2"/>
          </a:solidFill>
          <a:latin typeface="SICK Franklin" pitchFamily="2" charset="0"/>
        </a:defRPr>
      </a:lvl5pPr>
      <a:lvl6pPr marL="457200" algn="l" rtl="0" fontAlgn="base">
        <a:lnSpc>
          <a:spcPct val="80000"/>
        </a:lnSpc>
        <a:spcBef>
          <a:spcPct val="0"/>
        </a:spcBef>
        <a:spcAft>
          <a:spcPct val="0"/>
        </a:spcAft>
        <a:defRPr sz="2400">
          <a:solidFill>
            <a:schemeClr val="tx2"/>
          </a:solidFill>
          <a:latin typeface="SICK Franklin" pitchFamily="2" charset="0"/>
        </a:defRPr>
      </a:lvl6pPr>
      <a:lvl7pPr marL="914400" algn="l" rtl="0" fontAlgn="base">
        <a:lnSpc>
          <a:spcPct val="80000"/>
        </a:lnSpc>
        <a:spcBef>
          <a:spcPct val="0"/>
        </a:spcBef>
        <a:spcAft>
          <a:spcPct val="0"/>
        </a:spcAft>
        <a:defRPr sz="2400">
          <a:solidFill>
            <a:schemeClr val="tx2"/>
          </a:solidFill>
          <a:latin typeface="SICK Franklin" pitchFamily="2" charset="0"/>
        </a:defRPr>
      </a:lvl7pPr>
      <a:lvl8pPr marL="1371600" algn="l" rtl="0" fontAlgn="base">
        <a:lnSpc>
          <a:spcPct val="80000"/>
        </a:lnSpc>
        <a:spcBef>
          <a:spcPct val="0"/>
        </a:spcBef>
        <a:spcAft>
          <a:spcPct val="0"/>
        </a:spcAft>
        <a:defRPr sz="2400">
          <a:solidFill>
            <a:schemeClr val="tx2"/>
          </a:solidFill>
          <a:latin typeface="SICK Franklin" pitchFamily="2" charset="0"/>
        </a:defRPr>
      </a:lvl8pPr>
      <a:lvl9pPr marL="1828800" algn="l" rtl="0" fontAlgn="base">
        <a:lnSpc>
          <a:spcPct val="80000"/>
        </a:lnSpc>
        <a:spcBef>
          <a:spcPct val="0"/>
        </a:spcBef>
        <a:spcAft>
          <a:spcPct val="0"/>
        </a:spcAft>
        <a:defRPr sz="2400">
          <a:solidFill>
            <a:schemeClr val="tx2"/>
          </a:solidFill>
          <a:latin typeface="SICK Franklin" pitchFamily="2" charset="0"/>
        </a:defRPr>
      </a:lvl9pPr>
    </p:titleStyle>
    <p:bodyStyle>
      <a:lvl1pPr marL="271463" indent="-271463" algn="l" rtl="0" eaLnBrk="0" fontAlgn="base" hangingPunct="0">
        <a:spcBef>
          <a:spcPts val="600"/>
        </a:spcBef>
        <a:spcAft>
          <a:spcPct val="0"/>
        </a:spcAft>
        <a:buClr>
          <a:srgbClr val="6E7A82"/>
        </a:buClr>
        <a:buSzPct val="100000"/>
        <a:buFont typeface="Wingdings" pitchFamily="2" charset="2"/>
        <a:buChar char="§"/>
        <a:defRPr sz="2000" kern="1200">
          <a:solidFill>
            <a:srgbClr val="6E7A82"/>
          </a:solidFill>
          <a:latin typeface="+mn-lt"/>
          <a:ea typeface="+mn-ea"/>
          <a:cs typeface="+mn-cs"/>
        </a:defRPr>
      </a:lvl1pPr>
      <a:lvl2pPr marL="541338" indent="-269875" algn="l" rtl="0" eaLnBrk="0" fontAlgn="base" hangingPunct="0">
        <a:spcBef>
          <a:spcPts val="600"/>
        </a:spcBef>
        <a:spcAft>
          <a:spcPct val="0"/>
        </a:spcAft>
        <a:buClr>
          <a:srgbClr val="6E7A82"/>
        </a:buClr>
        <a:buSzPct val="100000"/>
        <a:buFont typeface="SICK Franklin Condensed" pitchFamily="2" charset="0"/>
        <a:buChar char="▸"/>
        <a:defRPr kern="1200">
          <a:solidFill>
            <a:srgbClr val="6E7A82"/>
          </a:solidFill>
          <a:latin typeface="+mn-lt"/>
          <a:ea typeface="+mn-ea"/>
          <a:cs typeface="+mn-cs"/>
        </a:defRPr>
      </a:lvl2pPr>
      <a:lvl3pPr marL="804863" indent="-263525" algn="l" rtl="0" eaLnBrk="0" fontAlgn="base" hangingPunct="0">
        <a:spcBef>
          <a:spcPts val="600"/>
        </a:spcBef>
        <a:spcAft>
          <a:spcPct val="0"/>
        </a:spcAft>
        <a:buClr>
          <a:srgbClr val="6E7A82"/>
        </a:buClr>
        <a:buSzPct val="100000"/>
        <a:buFont typeface="SICK Franklin Condensed" pitchFamily="2" charset="0"/>
        <a:buChar char="―"/>
        <a:defRPr sz="1600" kern="1200">
          <a:solidFill>
            <a:srgbClr val="6E7A82"/>
          </a:solidFill>
          <a:latin typeface="+mn-lt"/>
          <a:ea typeface="+mn-ea"/>
          <a:cs typeface="+mn-cs"/>
        </a:defRPr>
      </a:lvl3pPr>
      <a:lvl4pPr marL="1074738" indent="-269875" algn="l" rtl="0" eaLnBrk="0" fontAlgn="base" hangingPunct="0">
        <a:spcBef>
          <a:spcPts val="600"/>
        </a:spcBef>
        <a:spcAft>
          <a:spcPct val="0"/>
        </a:spcAft>
        <a:buClr>
          <a:srgbClr val="6E7A82"/>
        </a:buClr>
        <a:buSzPct val="100000"/>
        <a:buFont typeface="SICK Franklin Condensed" pitchFamily="2" charset="0"/>
        <a:buChar char="―"/>
        <a:defRPr sz="1600" kern="1200">
          <a:solidFill>
            <a:srgbClr val="6E7A82"/>
          </a:solidFill>
          <a:latin typeface="+mn-lt"/>
          <a:ea typeface="+mn-ea"/>
          <a:cs typeface="+mn-cs"/>
        </a:defRPr>
      </a:lvl4pPr>
      <a:lvl5pPr marL="1346200" indent="-271463" algn="l" rtl="0" eaLnBrk="0" fontAlgn="base" hangingPunct="0">
        <a:spcBef>
          <a:spcPts val="600"/>
        </a:spcBef>
        <a:spcAft>
          <a:spcPct val="0"/>
        </a:spcAft>
        <a:buSzPct val="100000"/>
        <a:buFont typeface="Arial" charset="0"/>
        <a:buChar char="•"/>
        <a:defRPr sz="1100" kern="1200">
          <a:solidFill>
            <a:schemeClr val="accent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57201" y="58396"/>
            <a:ext cx="7171592" cy="5410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3600" rIns="91440" bIns="45720" numCol="1" anchor="t" anchorCtr="0" compatLnSpc="1">
            <a:prstTxWarp prst="textNoShape">
              <a:avLst/>
            </a:prstTxWarp>
          </a:bodyPr>
          <a:lstStyle/>
          <a:p>
            <a:pPr lvl="0"/>
            <a:r>
              <a:rPr lang="en-US" altLang="en-US"/>
              <a:t>Titelmasterformat durch Klicken bearbeiten</a:t>
            </a:r>
          </a:p>
        </p:txBody>
      </p:sp>
      <p:sp>
        <p:nvSpPr>
          <p:cNvPr id="1027" name="Rectangle 3"/>
          <p:cNvSpPr>
            <a:spLocks noGrp="1" noChangeArrowheads="1"/>
          </p:cNvSpPr>
          <p:nvPr>
            <p:ph type="body" idx="1"/>
          </p:nvPr>
        </p:nvSpPr>
        <p:spPr bwMode="auto">
          <a:xfrm>
            <a:off x="197827" y="732913"/>
            <a:ext cx="8761534" cy="41650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ltLang="en-US"/>
              <a:t>Textmasterformate durch Klicken bearbeiten</a:t>
            </a:r>
          </a:p>
          <a:p>
            <a:pPr lvl="1"/>
            <a:r>
              <a:rPr lang="en-US" altLang="en-US"/>
              <a:t>Zweite Ebene</a:t>
            </a:r>
          </a:p>
          <a:p>
            <a:pPr lvl="2"/>
            <a:r>
              <a:rPr lang="en-US" altLang="en-US"/>
              <a:t>Dritte Ebene</a:t>
            </a:r>
          </a:p>
          <a:p>
            <a:pPr lvl="3"/>
            <a:r>
              <a:rPr lang="en-US" altLang="en-US"/>
              <a:t>Vierte Ebene</a:t>
            </a:r>
          </a:p>
        </p:txBody>
      </p:sp>
      <p:sp>
        <p:nvSpPr>
          <p:cNvPr id="3076" name="Rectangle 4"/>
          <p:cNvSpPr>
            <a:spLocks noGrp="1" noChangeArrowheads="1"/>
          </p:cNvSpPr>
          <p:nvPr>
            <p:ph type="ftr" sz="quarter" idx="3"/>
          </p:nvPr>
        </p:nvSpPr>
        <p:spPr bwMode="auto">
          <a:xfrm>
            <a:off x="6330461" y="4952820"/>
            <a:ext cx="2162908" cy="1632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spcBef>
                <a:spcPct val="0"/>
              </a:spcBef>
              <a:buClrTx/>
              <a:buSzTx/>
              <a:buFontTx/>
              <a:buNone/>
              <a:defRPr sz="676" u="none">
                <a:solidFill>
                  <a:schemeClr val="hlink"/>
                </a:solidFill>
              </a:defRPr>
            </a:lvl1pPr>
          </a:lstStyle>
          <a:p>
            <a:pPr>
              <a:defRPr/>
            </a:pPr>
            <a:r>
              <a:rPr lang="en-US">
                <a:solidFill>
                  <a:srgbClr val="808080"/>
                </a:solidFill>
                <a:latin typeface="Arial" charset="0"/>
                <a:cs typeface="Arial"/>
              </a:rPr>
              <a:t>: Name (Date)</a:t>
            </a:r>
          </a:p>
        </p:txBody>
      </p:sp>
      <p:sp>
        <p:nvSpPr>
          <p:cNvPr id="3077" name="Rectangle 5"/>
          <p:cNvSpPr>
            <a:spLocks noGrp="1" noChangeArrowheads="1"/>
          </p:cNvSpPr>
          <p:nvPr>
            <p:ph type="sldNum" sz="quarter" idx="4"/>
          </p:nvPr>
        </p:nvSpPr>
        <p:spPr bwMode="auto">
          <a:xfrm>
            <a:off x="8493371" y="4952820"/>
            <a:ext cx="332643" cy="1632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anchor="t" anchorCtr="0" compatLnSpc="1">
            <a:prstTxWarp prst="textNoShape">
              <a:avLst/>
            </a:prstTxWarp>
          </a:bodyPr>
          <a:lstStyle>
            <a:lvl1pPr algn="r">
              <a:spcBef>
                <a:spcPct val="0"/>
              </a:spcBef>
              <a:buClrTx/>
              <a:buSzTx/>
              <a:buFontTx/>
              <a:buNone/>
              <a:defRPr sz="676" u="none">
                <a:solidFill>
                  <a:schemeClr val="hlink"/>
                </a:solidFill>
              </a:defRPr>
            </a:lvl1pPr>
          </a:lstStyle>
          <a:p>
            <a:pPr>
              <a:defRPr/>
            </a:pPr>
            <a:fld id="{514764CB-0598-4771-AFC7-1ADDA552F348}" type="slidenum">
              <a:rPr lang="en-US">
                <a:solidFill>
                  <a:srgbClr val="808080"/>
                </a:solidFill>
                <a:latin typeface="Arial" charset="0"/>
                <a:cs typeface="Arial"/>
              </a:rPr>
              <a:pPr>
                <a:defRPr/>
              </a:pPr>
              <a:t>‹#›</a:t>
            </a:fld>
            <a:endParaRPr lang="en-US">
              <a:solidFill>
                <a:srgbClr val="808080"/>
              </a:solidFill>
              <a:latin typeface="Arial" charset="0"/>
              <a:cs typeface="Arial"/>
            </a:endParaRPr>
          </a:p>
        </p:txBody>
      </p:sp>
      <p:sp>
        <p:nvSpPr>
          <p:cNvPr id="1030" name="Line 6"/>
          <p:cNvSpPr>
            <a:spLocks noChangeShapeType="1"/>
          </p:cNvSpPr>
          <p:nvPr/>
        </p:nvSpPr>
        <p:spPr bwMode="auto">
          <a:xfrm>
            <a:off x="0" y="4952820"/>
            <a:ext cx="9144000" cy="0"/>
          </a:xfrm>
          <a:prstGeom prst="line">
            <a:avLst/>
          </a:prstGeom>
          <a:noFill/>
          <a:ln w="9525">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76" u="sng">
              <a:solidFill>
                <a:srgbClr val="000000"/>
              </a:solidFill>
              <a:latin typeface="Arial" charset="0"/>
              <a:cs typeface="Arial"/>
            </a:endParaRPr>
          </a:p>
        </p:txBody>
      </p:sp>
      <p:sp>
        <p:nvSpPr>
          <p:cNvPr id="1031" name="Line 7"/>
          <p:cNvSpPr>
            <a:spLocks noChangeShapeType="1"/>
          </p:cNvSpPr>
          <p:nvPr/>
        </p:nvSpPr>
        <p:spPr bwMode="auto">
          <a:xfrm>
            <a:off x="3042138" y="4952821"/>
            <a:ext cx="0" cy="108448"/>
          </a:xfrm>
          <a:prstGeom prst="line">
            <a:avLst/>
          </a:prstGeom>
          <a:noFill/>
          <a:ln w="9525">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76" u="sng">
              <a:solidFill>
                <a:srgbClr val="000000"/>
              </a:solidFill>
              <a:latin typeface="Arial" charset="0"/>
              <a:cs typeface="Arial"/>
            </a:endParaRPr>
          </a:p>
        </p:txBody>
      </p:sp>
      <p:sp>
        <p:nvSpPr>
          <p:cNvPr id="1032" name="Line 8"/>
          <p:cNvSpPr>
            <a:spLocks noChangeShapeType="1"/>
          </p:cNvSpPr>
          <p:nvPr/>
        </p:nvSpPr>
        <p:spPr bwMode="auto">
          <a:xfrm>
            <a:off x="6098931" y="4952821"/>
            <a:ext cx="0" cy="108448"/>
          </a:xfrm>
          <a:prstGeom prst="line">
            <a:avLst/>
          </a:prstGeom>
          <a:noFill/>
          <a:ln w="9525">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76" u="sng">
              <a:solidFill>
                <a:srgbClr val="000000"/>
              </a:solidFill>
              <a:latin typeface="Arial" charset="0"/>
              <a:cs typeface="Arial"/>
            </a:endParaRPr>
          </a:p>
        </p:txBody>
      </p:sp>
      <p:sp>
        <p:nvSpPr>
          <p:cNvPr id="1033" name="Line 9"/>
          <p:cNvSpPr>
            <a:spLocks noChangeShapeType="1"/>
          </p:cNvSpPr>
          <p:nvPr/>
        </p:nvSpPr>
        <p:spPr bwMode="auto">
          <a:xfrm>
            <a:off x="0" y="681668"/>
            <a:ext cx="9144000" cy="0"/>
          </a:xfrm>
          <a:prstGeom prst="line">
            <a:avLst/>
          </a:prstGeom>
          <a:noFill/>
          <a:ln w="9525">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76" u="sng">
              <a:solidFill>
                <a:srgbClr val="000000"/>
              </a:solidFill>
              <a:latin typeface="Arial" charset="0"/>
              <a:cs typeface="Arial"/>
            </a:endParaRPr>
          </a:p>
        </p:txBody>
      </p:sp>
      <p:sp>
        <p:nvSpPr>
          <p:cNvPr id="1034" name="Text Box 17"/>
          <p:cNvSpPr txBox="1">
            <a:spLocks noChangeArrowheads="1"/>
          </p:cNvSpPr>
          <p:nvPr/>
        </p:nvSpPr>
        <p:spPr bwMode="auto">
          <a:xfrm>
            <a:off x="3269273" y="6597650"/>
            <a:ext cx="1793631" cy="228600"/>
          </a:xfrm>
          <a:prstGeom prst="rect">
            <a:avLst/>
          </a:prstGeom>
          <a:noFill/>
          <a:ln>
            <a:noFill/>
          </a:ln>
          <a:effectLst/>
          <a:extLst>
            <a:ext uri="{909E8E84-426E-40DD-AFC4-6F175D3DCCD1}">
              <a14:hiddenFill xmlns:a14="http://schemas.microsoft.com/office/drawing/2010/main">
                <a:solidFill>
                  <a:srgbClr val="0084C2"/>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spcBef>
                <a:spcPct val="20000"/>
              </a:spcBef>
              <a:buClr>
                <a:srgbClr val="0084C2"/>
              </a:buClr>
              <a:buSzPct val="130000"/>
              <a:buFont typeface="Times New Roman" pitchFamily="18" charset="0"/>
              <a:defRPr sz="1700" u="sng">
                <a:solidFill>
                  <a:schemeClr val="tx1"/>
                </a:solidFill>
                <a:latin typeface="Arial" charset="0"/>
                <a:cs typeface="Arial" charset="0"/>
              </a:defRPr>
            </a:lvl1pPr>
            <a:lvl2pPr marL="742950" indent="-285750" eaLnBrk="0" hangingPunct="0">
              <a:spcBef>
                <a:spcPct val="20000"/>
              </a:spcBef>
              <a:buClr>
                <a:srgbClr val="0084C2"/>
              </a:buClr>
              <a:buSzPct val="130000"/>
              <a:buFont typeface="Times New Roman" pitchFamily="18" charset="0"/>
              <a:defRPr sz="1700" u="sng">
                <a:solidFill>
                  <a:schemeClr val="tx1"/>
                </a:solidFill>
                <a:latin typeface="Arial" charset="0"/>
                <a:cs typeface="Arial" charset="0"/>
              </a:defRPr>
            </a:lvl2pPr>
            <a:lvl3pPr marL="1143000" indent="-228600" eaLnBrk="0" hangingPunct="0">
              <a:spcBef>
                <a:spcPct val="20000"/>
              </a:spcBef>
              <a:buClr>
                <a:srgbClr val="0084C2"/>
              </a:buClr>
              <a:buSzPct val="130000"/>
              <a:buFont typeface="Times New Roman" pitchFamily="18" charset="0"/>
              <a:defRPr sz="1700" u="sng">
                <a:solidFill>
                  <a:schemeClr val="tx1"/>
                </a:solidFill>
                <a:latin typeface="Arial" charset="0"/>
                <a:cs typeface="Arial" charset="0"/>
              </a:defRPr>
            </a:lvl3pPr>
            <a:lvl4pPr marL="1600200" indent="-228600" eaLnBrk="0" hangingPunct="0">
              <a:spcBef>
                <a:spcPct val="20000"/>
              </a:spcBef>
              <a:buClr>
                <a:srgbClr val="0084C2"/>
              </a:buClr>
              <a:buSzPct val="130000"/>
              <a:buFont typeface="Times New Roman" pitchFamily="18" charset="0"/>
              <a:defRPr sz="1700" u="sng">
                <a:solidFill>
                  <a:schemeClr val="tx1"/>
                </a:solidFill>
                <a:latin typeface="Arial" charset="0"/>
                <a:cs typeface="Arial" charset="0"/>
              </a:defRPr>
            </a:lvl4pPr>
            <a:lvl5pPr marL="2057400" indent="-228600" eaLnBrk="0" hangingPunct="0">
              <a:spcBef>
                <a:spcPct val="20000"/>
              </a:spcBef>
              <a:buClr>
                <a:srgbClr val="0084C2"/>
              </a:buClr>
              <a:buSzPct val="130000"/>
              <a:buFont typeface="Times New Roman" pitchFamily="18" charset="0"/>
              <a:defRPr sz="1700" u="sng">
                <a:solidFill>
                  <a:schemeClr val="tx1"/>
                </a:solidFill>
                <a:latin typeface="Arial" charset="0"/>
                <a:cs typeface="Arial" charset="0"/>
              </a:defRPr>
            </a:lvl5pPr>
            <a:lvl6pPr marL="2514600" indent="-228600" eaLnBrk="0" fontAlgn="base" hangingPunct="0">
              <a:spcBef>
                <a:spcPct val="20000"/>
              </a:spcBef>
              <a:spcAft>
                <a:spcPct val="0"/>
              </a:spcAft>
              <a:buClr>
                <a:srgbClr val="0084C2"/>
              </a:buClr>
              <a:buSzPct val="130000"/>
              <a:buFont typeface="Times New Roman" pitchFamily="18" charset="0"/>
              <a:defRPr sz="1700" u="sng">
                <a:solidFill>
                  <a:schemeClr val="tx1"/>
                </a:solidFill>
                <a:latin typeface="Arial" charset="0"/>
                <a:cs typeface="Arial" charset="0"/>
              </a:defRPr>
            </a:lvl6pPr>
            <a:lvl7pPr marL="2971800" indent="-228600" eaLnBrk="0" fontAlgn="base" hangingPunct="0">
              <a:spcBef>
                <a:spcPct val="20000"/>
              </a:spcBef>
              <a:spcAft>
                <a:spcPct val="0"/>
              </a:spcAft>
              <a:buClr>
                <a:srgbClr val="0084C2"/>
              </a:buClr>
              <a:buSzPct val="130000"/>
              <a:buFont typeface="Times New Roman" pitchFamily="18" charset="0"/>
              <a:defRPr sz="1700" u="sng">
                <a:solidFill>
                  <a:schemeClr val="tx1"/>
                </a:solidFill>
                <a:latin typeface="Arial" charset="0"/>
                <a:cs typeface="Arial" charset="0"/>
              </a:defRPr>
            </a:lvl7pPr>
            <a:lvl8pPr marL="3429000" indent="-228600" eaLnBrk="0" fontAlgn="base" hangingPunct="0">
              <a:spcBef>
                <a:spcPct val="20000"/>
              </a:spcBef>
              <a:spcAft>
                <a:spcPct val="0"/>
              </a:spcAft>
              <a:buClr>
                <a:srgbClr val="0084C2"/>
              </a:buClr>
              <a:buSzPct val="130000"/>
              <a:buFont typeface="Times New Roman" pitchFamily="18" charset="0"/>
              <a:defRPr sz="1700" u="sng">
                <a:solidFill>
                  <a:schemeClr val="tx1"/>
                </a:solidFill>
                <a:latin typeface="Arial" charset="0"/>
                <a:cs typeface="Arial" charset="0"/>
              </a:defRPr>
            </a:lvl8pPr>
            <a:lvl9pPr marL="3886200" indent="-228600" eaLnBrk="0" fontAlgn="base" hangingPunct="0">
              <a:spcBef>
                <a:spcPct val="20000"/>
              </a:spcBef>
              <a:spcAft>
                <a:spcPct val="0"/>
              </a:spcAft>
              <a:buClr>
                <a:srgbClr val="0084C2"/>
              </a:buClr>
              <a:buSzPct val="130000"/>
              <a:buFont typeface="Times New Roman" pitchFamily="18" charset="0"/>
              <a:defRPr sz="1700" u="sng">
                <a:solidFill>
                  <a:schemeClr val="tx1"/>
                </a:solidFill>
                <a:latin typeface="Arial" charset="0"/>
                <a:cs typeface="Arial" charset="0"/>
              </a:defRPr>
            </a:lvl9pPr>
          </a:lstStyle>
          <a:p>
            <a:pPr eaLnBrk="1" hangingPunct="1">
              <a:spcBef>
                <a:spcPct val="50000"/>
              </a:spcBef>
              <a:buFont typeface="Arial" charset="0"/>
              <a:buNone/>
              <a:defRPr/>
            </a:pPr>
            <a:r>
              <a:rPr lang="en-US" sz="676" u="none">
                <a:solidFill>
                  <a:srgbClr val="808080"/>
                </a:solidFill>
              </a:rPr>
              <a:t>: Confidential</a:t>
            </a:r>
          </a:p>
        </p:txBody>
      </p:sp>
      <p:grpSp>
        <p:nvGrpSpPr>
          <p:cNvPr id="1035" name="Group 99"/>
          <p:cNvGrpSpPr>
            <a:grpSpLocks/>
          </p:cNvGrpSpPr>
          <p:nvPr/>
        </p:nvGrpSpPr>
        <p:grpSpPr bwMode="auto">
          <a:xfrm>
            <a:off x="7630258" y="113216"/>
            <a:ext cx="1195754" cy="396845"/>
            <a:chOff x="5207" y="95"/>
            <a:chExt cx="816" cy="333"/>
          </a:xfrm>
        </p:grpSpPr>
        <p:sp>
          <p:nvSpPr>
            <p:cNvPr id="1036" name="AutoShape 59"/>
            <p:cNvSpPr>
              <a:spLocks noChangeAspect="1" noChangeArrowheads="1" noTextEdit="1"/>
            </p:cNvSpPr>
            <p:nvPr userDrawn="1"/>
          </p:nvSpPr>
          <p:spPr bwMode="auto">
            <a:xfrm>
              <a:off x="5207" y="95"/>
              <a:ext cx="816" cy="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z="1276" u="sng">
                <a:solidFill>
                  <a:srgbClr val="000000"/>
                </a:solidFill>
                <a:latin typeface="Arial" charset="0"/>
                <a:cs typeface="Arial"/>
              </a:endParaRPr>
            </a:p>
          </p:txBody>
        </p:sp>
        <p:sp>
          <p:nvSpPr>
            <p:cNvPr id="1037" name="Freeform 61"/>
            <p:cNvSpPr>
              <a:spLocks/>
            </p:cNvSpPr>
            <p:nvPr userDrawn="1"/>
          </p:nvSpPr>
          <p:spPr bwMode="auto">
            <a:xfrm>
              <a:off x="5208" y="98"/>
              <a:ext cx="165" cy="184"/>
            </a:xfrm>
            <a:custGeom>
              <a:avLst/>
              <a:gdLst>
                <a:gd name="T0" fmla="*/ 0 w 3308"/>
                <a:gd name="T1" fmla="*/ 0 h 3663"/>
                <a:gd name="T2" fmla="*/ 0 w 3308"/>
                <a:gd name="T3" fmla="*/ 0 h 3663"/>
                <a:gd name="T4" fmla="*/ 0 w 3308"/>
                <a:gd name="T5" fmla="*/ 0 h 3663"/>
                <a:gd name="T6" fmla="*/ 0 w 3308"/>
                <a:gd name="T7" fmla="*/ 0 h 3663"/>
                <a:gd name="T8" fmla="*/ 0 w 3308"/>
                <a:gd name="T9" fmla="*/ 0 h 3663"/>
                <a:gd name="T10" fmla="*/ 0 w 3308"/>
                <a:gd name="T11" fmla="*/ 0 h 3663"/>
                <a:gd name="T12" fmla="*/ 0 w 3308"/>
                <a:gd name="T13" fmla="*/ 0 h 3663"/>
                <a:gd name="T14" fmla="*/ 0 w 3308"/>
                <a:gd name="T15" fmla="*/ 0 h 3663"/>
                <a:gd name="T16" fmla="*/ 0 w 3308"/>
                <a:gd name="T17" fmla="*/ 0 h 3663"/>
                <a:gd name="T18" fmla="*/ 0 w 3308"/>
                <a:gd name="T19" fmla="*/ 0 h 3663"/>
                <a:gd name="T20" fmla="*/ 0 w 3308"/>
                <a:gd name="T21" fmla="*/ 0 h 3663"/>
                <a:gd name="T22" fmla="*/ 0 w 3308"/>
                <a:gd name="T23" fmla="*/ 0 h 3663"/>
                <a:gd name="T24" fmla="*/ 0 w 3308"/>
                <a:gd name="T25" fmla="*/ 0 h 3663"/>
                <a:gd name="T26" fmla="*/ 0 w 3308"/>
                <a:gd name="T27" fmla="*/ 0 h 3663"/>
                <a:gd name="T28" fmla="*/ 0 w 3308"/>
                <a:gd name="T29" fmla="*/ 0 h 3663"/>
                <a:gd name="T30" fmla="*/ 0 w 3308"/>
                <a:gd name="T31" fmla="*/ 0 h 3663"/>
                <a:gd name="T32" fmla="*/ 0 w 3308"/>
                <a:gd name="T33" fmla="*/ 0 h 3663"/>
                <a:gd name="T34" fmla="*/ 0 w 3308"/>
                <a:gd name="T35" fmla="*/ 0 h 3663"/>
                <a:gd name="T36" fmla="*/ 0 w 3308"/>
                <a:gd name="T37" fmla="*/ 0 h 3663"/>
                <a:gd name="T38" fmla="*/ 0 w 3308"/>
                <a:gd name="T39" fmla="*/ 0 h 3663"/>
                <a:gd name="T40" fmla="*/ 0 w 3308"/>
                <a:gd name="T41" fmla="*/ 0 h 3663"/>
                <a:gd name="T42" fmla="*/ 0 w 3308"/>
                <a:gd name="T43" fmla="*/ 0 h 3663"/>
                <a:gd name="T44" fmla="*/ 0 w 3308"/>
                <a:gd name="T45" fmla="*/ 0 h 3663"/>
                <a:gd name="T46" fmla="*/ 0 w 3308"/>
                <a:gd name="T47" fmla="*/ 0 h 3663"/>
                <a:gd name="T48" fmla="*/ 0 w 3308"/>
                <a:gd name="T49" fmla="*/ 0 h 3663"/>
                <a:gd name="T50" fmla="*/ 0 w 3308"/>
                <a:gd name="T51" fmla="*/ 0 h 3663"/>
                <a:gd name="T52" fmla="*/ 0 w 3308"/>
                <a:gd name="T53" fmla="*/ 0 h 3663"/>
                <a:gd name="T54" fmla="*/ 0 w 3308"/>
                <a:gd name="T55" fmla="*/ 0 h 3663"/>
                <a:gd name="T56" fmla="*/ 0 w 3308"/>
                <a:gd name="T57" fmla="*/ 0 h 3663"/>
                <a:gd name="T58" fmla="*/ 0 w 3308"/>
                <a:gd name="T59" fmla="*/ 0 h 3663"/>
                <a:gd name="T60" fmla="*/ 0 w 3308"/>
                <a:gd name="T61" fmla="*/ 0 h 3663"/>
                <a:gd name="T62" fmla="*/ 0 w 3308"/>
                <a:gd name="T63" fmla="*/ 0 h 3663"/>
                <a:gd name="T64" fmla="*/ 0 w 3308"/>
                <a:gd name="T65" fmla="*/ 0 h 3663"/>
                <a:gd name="T66" fmla="*/ 0 w 3308"/>
                <a:gd name="T67" fmla="*/ 0 h 3663"/>
                <a:gd name="T68" fmla="*/ 0 w 3308"/>
                <a:gd name="T69" fmla="*/ 0 h 3663"/>
                <a:gd name="T70" fmla="*/ 0 w 3308"/>
                <a:gd name="T71" fmla="*/ 0 h 3663"/>
                <a:gd name="T72" fmla="*/ 0 w 3308"/>
                <a:gd name="T73" fmla="*/ 0 h 3663"/>
                <a:gd name="T74" fmla="*/ 0 w 3308"/>
                <a:gd name="T75" fmla="*/ 0 h 3663"/>
                <a:gd name="T76" fmla="*/ 0 w 3308"/>
                <a:gd name="T77" fmla="*/ 0 h 3663"/>
                <a:gd name="T78" fmla="*/ 0 w 3308"/>
                <a:gd name="T79" fmla="*/ 0 h 3663"/>
                <a:gd name="T80" fmla="*/ 0 w 3308"/>
                <a:gd name="T81" fmla="*/ 0 h 3663"/>
                <a:gd name="T82" fmla="*/ 0 w 3308"/>
                <a:gd name="T83" fmla="*/ 0 h 3663"/>
                <a:gd name="T84" fmla="*/ 0 w 3308"/>
                <a:gd name="T85" fmla="*/ 0 h 3663"/>
                <a:gd name="T86" fmla="*/ 0 w 3308"/>
                <a:gd name="T87" fmla="*/ 0 h 3663"/>
                <a:gd name="T88" fmla="*/ 0 w 3308"/>
                <a:gd name="T89" fmla="*/ 0 h 3663"/>
                <a:gd name="T90" fmla="*/ 0 w 3308"/>
                <a:gd name="T91" fmla="*/ 0 h 3663"/>
                <a:gd name="T92" fmla="*/ 0 w 3308"/>
                <a:gd name="T93" fmla="*/ 0 h 3663"/>
                <a:gd name="T94" fmla="*/ 0 w 3308"/>
                <a:gd name="T95" fmla="*/ 0 h 3663"/>
                <a:gd name="T96" fmla="*/ 0 w 3308"/>
                <a:gd name="T97" fmla="*/ 0 h 3663"/>
                <a:gd name="T98" fmla="*/ 0 w 3308"/>
                <a:gd name="T99" fmla="*/ 0 h 3663"/>
                <a:gd name="T100" fmla="*/ 0 w 3308"/>
                <a:gd name="T101" fmla="*/ 0 h 3663"/>
                <a:gd name="T102" fmla="*/ 0 w 3308"/>
                <a:gd name="T103" fmla="*/ 0 h 3663"/>
                <a:gd name="T104" fmla="*/ 0 w 3308"/>
                <a:gd name="T105" fmla="*/ 0 h 3663"/>
                <a:gd name="T106" fmla="*/ 0 w 3308"/>
                <a:gd name="T107" fmla="*/ 0 h 3663"/>
                <a:gd name="T108" fmla="*/ 0 w 3308"/>
                <a:gd name="T109" fmla="*/ 0 h 3663"/>
                <a:gd name="T110" fmla="*/ 0 w 3308"/>
                <a:gd name="T111" fmla="*/ 0 h 3663"/>
                <a:gd name="T112" fmla="*/ 0 w 3308"/>
                <a:gd name="T113" fmla="*/ 0 h 3663"/>
                <a:gd name="T114" fmla="*/ 0 w 3308"/>
                <a:gd name="T115" fmla="*/ 0 h 36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308" h="3663">
                  <a:moveTo>
                    <a:pt x="6" y="2779"/>
                  </a:moveTo>
                  <a:lnTo>
                    <a:pt x="8" y="2836"/>
                  </a:lnTo>
                  <a:lnTo>
                    <a:pt x="13" y="2891"/>
                  </a:lnTo>
                  <a:lnTo>
                    <a:pt x="20" y="2944"/>
                  </a:lnTo>
                  <a:lnTo>
                    <a:pt x="31" y="2995"/>
                  </a:lnTo>
                  <a:lnTo>
                    <a:pt x="43" y="3044"/>
                  </a:lnTo>
                  <a:lnTo>
                    <a:pt x="60" y="3090"/>
                  </a:lnTo>
                  <a:lnTo>
                    <a:pt x="78" y="3135"/>
                  </a:lnTo>
                  <a:lnTo>
                    <a:pt x="99" y="3178"/>
                  </a:lnTo>
                  <a:lnTo>
                    <a:pt x="122" y="3219"/>
                  </a:lnTo>
                  <a:lnTo>
                    <a:pt x="147" y="3257"/>
                  </a:lnTo>
                  <a:lnTo>
                    <a:pt x="175" y="3295"/>
                  </a:lnTo>
                  <a:lnTo>
                    <a:pt x="204" y="3330"/>
                  </a:lnTo>
                  <a:lnTo>
                    <a:pt x="235" y="3363"/>
                  </a:lnTo>
                  <a:lnTo>
                    <a:pt x="269" y="3395"/>
                  </a:lnTo>
                  <a:lnTo>
                    <a:pt x="303" y="3424"/>
                  </a:lnTo>
                  <a:lnTo>
                    <a:pt x="340" y="3452"/>
                  </a:lnTo>
                  <a:lnTo>
                    <a:pt x="378" y="3478"/>
                  </a:lnTo>
                  <a:lnTo>
                    <a:pt x="417" y="3503"/>
                  </a:lnTo>
                  <a:lnTo>
                    <a:pt x="456" y="3525"/>
                  </a:lnTo>
                  <a:lnTo>
                    <a:pt x="498" y="3546"/>
                  </a:lnTo>
                  <a:lnTo>
                    <a:pt x="541" y="3565"/>
                  </a:lnTo>
                  <a:lnTo>
                    <a:pt x="584" y="3582"/>
                  </a:lnTo>
                  <a:lnTo>
                    <a:pt x="628" y="3597"/>
                  </a:lnTo>
                  <a:lnTo>
                    <a:pt x="673" y="3611"/>
                  </a:lnTo>
                  <a:lnTo>
                    <a:pt x="718" y="3623"/>
                  </a:lnTo>
                  <a:lnTo>
                    <a:pt x="764" y="3634"/>
                  </a:lnTo>
                  <a:lnTo>
                    <a:pt x="810" y="3642"/>
                  </a:lnTo>
                  <a:lnTo>
                    <a:pt x="857" y="3649"/>
                  </a:lnTo>
                  <a:lnTo>
                    <a:pt x="903" y="3656"/>
                  </a:lnTo>
                  <a:lnTo>
                    <a:pt x="950" y="3660"/>
                  </a:lnTo>
                  <a:lnTo>
                    <a:pt x="997" y="3662"/>
                  </a:lnTo>
                  <a:lnTo>
                    <a:pt x="1043" y="3663"/>
                  </a:lnTo>
                  <a:lnTo>
                    <a:pt x="1230" y="3663"/>
                  </a:lnTo>
                  <a:lnTo>
                    <a:pt x="1392" y="3663"/>
                  </a:lnTo>
                  <a:lnTo>
                    <a:pt x="1534" y="3663"/>
                  </a:lnTo>
                  <a:lnTo>
                    <a:pt x="1664" y="3663"/>
                  </a:lnTo>
                  <a:lnTo>
                    <a:pt x="1789" y="3663"/>
                  </a:lnTo>
                  <a:lnTo>
                    <a:pt x="1916" y="3663"/>
                  </a:lnTo>
                  <a:lnTo>
                    <a:pt x="2052" y="3663"/>
                  </a:lnTo>
                  <a:lnTo>
                    <a:pt x="2203" y="3663"/>
                  </a:lnTo>
                  <a:lnTo>
                    <a:pt x="2260" y="3661"/>
                  </a:lnTo>
                  <a:lnTo>
                    <a:pt x="2317" y="3656"/>
                  </a:lnTo>
                  <a:lnTo>
                    <a:pt x="2373" y="3647"/>
                  </a:lnTo>
                  <a:lnTo>
                    <a:pt x="2428" y="3636"/>
                  </a:lnTo>
                  <a:lnTo>
                    <a:pt x="2481" y="3623"/>
                  </a:lnTo>
                  <a:lnTo>
                    <a:pt x="2534" y="3606"/>
                  </a:lnTo>
                  <a:lnTo>
                    <a:pt x="2586" y="3586"/>
                  </a:lnTo>
                  <a:lnTo>
                    <a:pt x="2636" y="3564"/>
                  </a:lnTo>
                  <a:lnTo>
                    <a:pt x="2685" y="3538"/>
                  </a:lnTo>
                  <a:lnTo>
                    <a:pt x="2733" y="3512"/>
                  </a:lnTo>
                  <a:lnTo>
                    <a:pt x="2780" y="3482"/>
                  </a:lnTo>
                  <a:lnTo>
                    <a:pt x="2825" y="3451"/>
                  </a:lnTo>
                  <a:lnTo>
                    <a:pt x="2868" y="3416"/>
                  </a:lnTo>
                  <a:lnTo>
                    <a:pt x="2909" y="3381"/>
                  </a:lnTo>
                  <a:lnTo>
                    <a:pt x="2949" y="3343"/>
                  </a:lnTo>
                  <a:lnTo>
                    <a:pt x="2988" y="3303"/>
                  </a:lnTo>
                  <a:lnTo>
                    <a:pt x="3024" y="3263"/>
                  </a:lnTo>
                  <a:lnTo>
                    <a:pt x="3058" y="3220"/>
                  </a:lnTo>
                  <a:lnTo>
                    <a:pt x="3091" y="3176"/>
                  </a:lnTo>
                  <a:lnTo>
                    <a:pt x="3122" y="3130"/>
                  </a:lnTo>
                  <a:lnTo>
                    <a:pt x="3150" y="3083"/>
                  </a:lnTo>
                  <a:lnTo>
                    <a:pt x="3177" y="3035"/>
                  </a:lnTo>
                  <a:lnTo>
                    <a:pt x="3200" y="2987"/>
                  </a:lnTo>
                  <a:lnTo>
                    <a:pt x="3223" y="2937"/>
                  </a:lnTo>
                  <a:lnTo>
                    <a:pt x="3242" y="2886"/>
                  </a:lnTo>
                  <a:lnTo>
                    <a:pt x="3259" y="2834"/>
                  </a:lnTo>
                  <a:lnTo>
                    <a:pt x="3274" y="2782"/>
                  </a:lnTo>
                  <a:lnTo>
                    <a:pt x="3286" y="2730"/>
                  </a:lnTo>
                  <a:lnTo>
                    <a:pt x="3296" y="2676"/>
                  </a:lnTo>
                  <a:lnTo>
                    <a:pt x="3302" y="2623"/>
                  </a:lnTo>
                  <a:lnTo>
                    <a:pt x="3306" y="2570"/>
                  </a:lnTo>
                  <a:lnTo>
                    <a:pt x="3308" y="2516"/>
                  </a:lnTo>
                  <a:lnTo>
                    <a:pt x="3306" y="2458"/>
                  </a:lnTo>
                  <a:lnTo>
                    <a:pt x="3302" y="2401"/>
                  </a:lnTo>
                  <a:lnTo>
                    <a:pt x="3295" y="2345"/>
                  </a:lnTo>
                  <a:lnTo>
                    <a:pt x="3286" y="2290"/>
                  </a:lnTo>
                  <a:lnTo>
                    <a:pt x="3274" y="2236"/>
                  </a:lnTo>
                  <a:lnTo>
                    <a:pt x="3258" y="2183"/>
                  </a:lnTo>
                  <a:lnTo>
                    <a:pt x="3241" y="2131"/>
                  </a:lnTo>
                  <a:lnTo>
                    <a:pt x="3222" y="2080"/>
                  </a:lnTo>
                  <a:lnTo>
                    <a:pt x="3199" y="2032"/>
                  </a:lnTo>
                  <a:lnTo>
                    <a:pt x="3175" y="1983"/>
                  </a:lnTo>
                  <a:lnTo>
                    <a:pt x="3148" y="1936"/>
                  </a:lnTo>
                  <a:lnTo>
                    <a:pt x="3120" y="1891"/>
                  </a:lnTo>
                  <a:lnTo>
                    <a:pt x="3089" y="1847"/>
                  </a:lnTo>
                  <a:lnTo>
                    <a:pt x="3056" y="1805"/>
                  </a:lnTo>
                  <a:lnTo>
                    <a:pt x="3022" y="1765"/>
                  </a:lnTo>
                  <a:lnTo>
                    <a:pt x="2985" y="1726"/>
                  </a:lnTo>
                  <a:lnTo>
                    <a:pt x="2946" y="1688"/>
                  </a:lnTo>
                  <a:lnTo>
                    <a:pt x="2906" y="1654"/>
                  </a:lnTo>
                  <a:lnTo>
                    <a:pt x="2865" y="1620"/>
                  </a:lnTo>
                  <a:lnTo>
                    <a:pt x="2821" y="1589"/>
                  </a:lnTo>
                  <a:lnTo>
                    <a:pt x="2776" y="1560"/>
                  </a:lnTo>
                  <a:lnTo>
                    <a:pt x="2730" y="1533"/>
                  </a:lnTo>
                  <a:lnTo>
                    <a:pt x="2682" y="1507"/>
                  </a:lnTo>
                  <a:lnTo>
                    <a:pt x="2633" y="1485"/>
                  </a:lnTo>
                  <a:lnTo>
                    <a:pt x="2582" y="1464"/>
                  </a:lnTo>
                  <a:lnTo>
                    <a:pt x="2531" y="1446"/>
                  </a:lnTo>
                  <a:lnTo>
                    <a:pt x="2478" y="1430"/>
                  </a:lnTo>
                  <a:lnTo>
                    <a:pt x="2424" y="1417"/>
                  </a:lnTo>
                  <a:lnTo>
                    <a:pt x="2369" y="1405"/>
                  </a:lnTo>
                  <a:lnTo>
                    <a:pt x="2314" y="1397"/>
                  </a:lnTo>
                  <a:lnTo>
                    <a:pt x="2257" y="1392"/>
                  </a:lnTo>
                  <a:lnTo>
                    <a:pt x="2199" y="1389"/>
                  </a:lnTo>
                  <a:lnTo>
                    <a:pt x="1075" y="1389"/>
                  </a:lnTo>
                  <a:lnTo>
                    <a:pt x="1048" y="1383"/>
                  </a:lnTo>
                  <a:lnTo>
                    <a:pt x="1022" y="1375"/>
                  </a:lnTo>
                  <a:lnTo>
                    <a:pt x="998" y="1366"/>
                  </a:lnTo>
                  <a:lnTo>
                    <a:pt x="977" y="1353"/>
                  </a:lnTo>
                  <a:lnTo>
                    <a:pt x="957" y="1340"/>
                  </a:lnTo>
                  <a:lnTo>
                    <a:pt x="939" y="1326"/>
                  </a:lnTo>
                  <a:lnTo>
                    <a:pt x="922" y="1310"/>
                  </a:lnTo>
                  <a:lnTo>
                    <a:pt x="908" y="1291"/>
                  </a:lnTo>
                  <a:lnTo>
                    <a:pt x="895" y="1273"/>
                  </a:lnTo>
                  <a:lnTo>
                    <a:pt x="884" y="1254"/>
                  </a:lnTo>
                  <a:lnTo>
                    <a:pt x="875" y="1233"/>
                  </a:lnTo>
                  <a:lnTo>
                    <a:pt x="867" y="1212"/>
                  </a:lnTo>
                  <a:lnTo>
                    <a:pt x="862" y="1190"/>
                  </a:lnTo>
                  <a:lnTo>
                    <a:pt x="858" y="1168"/>
                  </a:lnTo>
                  <a:lnTo>
                    <a:pt x="856" y="1146"/>
                  </a:lnTo>
                  <a:lnTo>
                    <a:pt x="855" y="1123"/>
                  </a:lnTo>
                  <a:lnTo>
                    <a:pt x="856" y="1101"/>
                  </a:lnTo>
                  <a:lnTo>
                    <a:pt x="859" y="1078"/>
                  </a:lnTo>
                  <a:lnTo>
                    <a:pt x="864" y="1057"/>
                  </a:lnTo>
                  <a:lnTo>
                    <a:pt x="870" y="1035"/>
                  </a:lnTo>
                  <a:lnTo>
                    <a:pt x="879" y="1014"/>
                  </a:lnTo>
                  <a:lnTo>
                    <a:pt x="889" y="994"/>
                  </a:lnTo>
                  <a:lnTo>
                    <a:pt x="900" y="975"/>
                  </a:lnTo>
                  <a:lnTo>
                    <a:pt x="913" y="956"/>
                  </a:lnTo>
                  <a:lnTo>
                    <a:pt x="928" y="940"/>
                  </a:lnTo>
                  <a:lnTo>
                    <a:pt x="944" y="924"/>
                  </a:lnTo>
                  <a:lnTo>
                    <a:pt x="961" y="909"/>
                  </a:lnTo>
                  <a:lnTo>
                    <a:pt x="982" y="896"/>
                  </a:lnTo>
                  <a:lnTo>
                    <a:pt x="1002" y="886"/>
                  </a:lnTo>
                  <a:lnTo>
                    <a:pt x="1025" y="877"/>
                  </a:lnTo>
                  <a:lnTo>
                    <a:pt x="1049" y="870"/>
                  </a:lnTo>
                  <a:lnTo>
                    <a:pt x="1075" y="865"/>
                  </a:lnTo>
                  <a:lnTo>
                    <a:pt x="1233" y="865"/>
                  </a:lnTo>
                  <a:lnTo>
                    <a:pt x="1503" y="865"/>
                  </a:lnTo>
                  <a:lnTo>
                    <a:pt x="1845" y="865"/>
                  </a:lnTo>
                  <a:lnTo>
                    <a:pt x="2218" y="865"/>
                  </a:lnTo>
                  <a:lnTo>
                    <a:pt x="2579" y="865"/>
                  </a:lnTo>
                  <a:lnTo>
                    <a:pt x="2889" y="865"/>
                  </a:lnTo>
                  <a:lnTo>
                    <a:pt x="3105" y="865"/>
                  </a:lnTo>
                  <a:lnTo>
                    <a:pt x="3186" y="865"/>
                  </a:lnTo>
                  <a:lnTo>
                    <a:pt x="3185" y="820"/>
                  </a:lnTo>
                  <a:lnTo>
                    <a:pt x="3182" y="775"/>
                  </a:lnTo>
                  <a:lnTo>
                    <a:pt x="3177" y="731"/>
                  </a:lnTo>
                  <a:lnTo>
                    <a:pt x="3170" y="689"/>
                  </a:lnTo>
                  <a:lnTo>
                    <a:pt x="3160" y="647"/>
                  </a:lnTo>
                  <a:lnTo>
                    <a:pt x="3149" y="605"/>
                  </a:lnTo>
                  <a:lnTo>
                    <a:pt x="3136" y="565"/>
                  </a:lnTo>
                  <a:lnTo>
                    <a:pt x="3122" y="526"/>
                  </a:lnTo>
                  <a:lnTo>
                    <a:pt x="3104" y="487"/>
                  </a:lnTo>
                  <a:lnTo>
                    <a:pt x="3086" y="450"/>
                  </a:lnTo>
                  <a:lnTo>
                    <a:pt x="3065" y="414"/>
                  </a:lnTo>
                  <a:lnTo>
                    <a:pt x="3044" y="379"/>
                  </a:lnTo>
                  <a:lnTo>
                    <a:pt x="3021" y="344"/>
                  </a:lnTo>
                  <a:lnTo>
                    <a:pt x="2995" y="312"/>
                  </a:lnTo>
                  <a:lnTo>
                    <a:pt x="2969" y="281"/>
                  </a:lnTo>
                  <a:lnTo>
                    <a:pt x="2940" y="251"/>
                  </a:lnTo>
                  <a:lnTo>
                    <a:pt x="2910" y="222"/>
                  </a:lnTo>
                  <a:lnTo>
                    <a:pt x="2880" y="196"/>
                  </a:lnTo>
                  <a:lnTo>
                    <a:pt x="2847" y="170"/>
                  </a:lnTo>
                  <a:lnTo>
                    <a:pt x="2813" y="146"/>
                  </a:lnTo>
                  <a:lnTo>
                    <a:pt x="2777" y="123"/>
                  </a:lnTo>
                  <a:lnTo>
                    <a:pt x="2741" y="103"/>
                  </a:lnTo>
                  <a:lnTo>
                    <a:pt x="2702" y="85"/>
                  </a:lnTo>
                  <a:lnTo>
                    <a:pt x="2664" y="67"/>
                  </a:lnTo>
                  <a:lnTo>
                    <a:pt x="2624" y="52"/>
                  </a:lnTo>
                  <a:lnTo>
                    <a:pt x="2582" y="38"/>
                  </a:lnTo>
                  <a:lnTo>
                    <a:pt x="2539" y="27"/>
                  </a:lnTo>
                  <a:lnTo>
                    <a:pt x="2496" y="18"/>
                  </a:lnTo>
                  <a:lnTo>
                    <a:pt x="2451" y="9"/>
                  </a:lnTo>
                  <a:lnTo>
                    <a:pt x="2406" y="4"/>
                  </a:lnTo>
                  <a:lnTo>
                    <a:pt x="2360" y="1"/>
                  </a:lnTo>
                  <a:lnTo>
                    <a:pt x="2312" y="0"/>
                  </a:lnTo>
                  <a:lnTo>
                    <a:pt x="2121" y="0"/>
                  </a:lnTo>
                  <a:lnTo>
                    <a:pt x="1916" y="0"/>
                  </a:lnTo>
                  <a:lnTo>
                    <a:pt x="1710" y="0"/>
                  </a:lnTo>
                  <a:lnTo>
                    <a:pt x="1513" y="0"/>
                  </a:lnTo>
                  <a:lnTo>
                    <a:pt x="1340" y="0"/>
                  </a:lnTo>
                  <a:lnTo>
                    <a:pt x="1201" y="0"/>
                  </a:lnTo>
                  <a:lnTo>
                    <a:pt x="1108" y="0"/>
                  </a:lnTo>
                  <a:lnTo>
                    <a:pt x="1075" y="0"/>
                  </a:lnTo>
                  <a:lnTo>
                    <a:pt x="1016" y="1"/>
                  </a:lnTo>
                  <a:lnTo>
                    <a:pt x="958" y="6"/>
                  </a:lnTo>
                  <a:lnTo>
                    <a:pt x="901" y="14"/>
                  </a:lnTo>
                  <a:lnTo>
                    <a:pt x="846" y="25"/>
                  </a:lnTo>
                  <a:lnTo>
                    <a:pt x="792" y="38"/>
                  </a:lnTo>
                  <a:lnTo>
                    <a:pt x="740" y="54"/>
                  </a:lnTo>
                  <a:lnTo>
                    <a:pt x="688" y="74"/>
                  </a:lnTo>
                  <a:lnTo>
                    <a:pt x="639" y="95"/>
                  </a:lnTo>
                  <a:lnTo>
                    <a:pt x="590" y="118"/>
                  </a:lnTo>
                  <a:lnTo>
                    <a:pt x="544" y="145"/>
                  </a:lnTo>
                  <a:lnTo>
                    <a:pt x="499" y="173"/>
                  </a:lnTo>
                  <a:lnTo>
                    <a:pt x="455" y="205"/>
                  </a:lnTo>
                  <a:lnTo>
                    <a:pt x="413" y="237"/>
                  </a:lnTo>
                  <a:lnTo>
                    <a:pt x="374" y="272"/>
                  </a:lnTo>
                  <a:lnTo>
                    <a:pt x="335" y="309"/>
                  </a:lnTo>
                  <a:lnTo>
                    <a:pt x="299" y="347"/>
                  </a:lnTo>
                  <a:lnTo>
                    <a:pt x="265" y="388"/>
                  </a:lnTo>
                  <a:lnTo>
                    <a:pt x="232" y="430"/>
                  </a:lnTo>
                  <a:lnTo>
                    <a:pt x="201" y="473"/>
                  </a:lnTo>
                  <a:lnTo>
                    <a:pt x="173" y="517"/>
                  </a:lnTo>
                  <a:lnTo>
                    <a:pt x="145" y="564"/>
                  </a:lnTo>
                  <a:lnTo>
                    <a:pt x="121" y="611"/>
                  </a:lnTo>
                  <a:lnTo>
                    <a:pt x="98" y="660"/>
                  </a:lnTo>
                  <a:lnTo>
                    <a:pt x="79" y="710"/>
                  </a:lnTo>
                  <a:lnTo>
                    <a:pt x="61" y="761"/>
                  </a:lnTo>
                  <a:lnTo>
                    <a:pt x="44" y="812"/>
                  </a:lnTo>
                  <a:lnTo>
                    <a:pt x="31" y="865"/>
                  </a:lnTo>
                  <a:lnTo>
                    <a:pt x="20" y="918"/>
                  </a:lnTo>
                  <a:lnTo>
                    <a:pt x="12" y="971"/>
                  </a:lnTo>
                  <a:lnTo>
                    <a:pt x="5" y="1026"/>
                  </a:lnTo>
                  <a:lnTo>
                    <a:pt x="1" y="1080"/>
                  </a:lnTo>
                  <a:lnTo>
                    <a:pt x="0" y="1134"/>
                  </a:lnTo>
                  <a:lnTo>
                    <a:pt x="1" y="1192"/>
                  </a:lnTo>
                  <a:lnTo>
                    <a:pt x="5" y="1248"/>
                  </a:lnTo>
                  <a:lnTo>
                    <a:pt x="13" y="1302"/>
                  </a:lnTo>
                  <a:lnTo>
                    <a:pt x="22" y="1357"/>
                  </a:lnTo>
                  <a:lnTo>
                    <a:pt x="33" y="1411"/>
                  </a:lnTo>
                  <a:lnTo>
                    <a:pt x="47" y="1464"/>
                  </a:lnTo>
                  <a:lnTo>
                    <a:pt x="65" y="1515"/>
                  </a:lnTo>
                  <a:lnTo>
                    <a:pt x="84" y="1566"/>
                  </a:lnTo>
                  <a:lnTo>
                    <a:pt x="104" y="1616"/>
                  </a:lnTo>
                  <a:lnTo>
                    <a:pt x="129" y="1664"/>
                  </a:lnTo>
                  <a:lnTo>
                    <a:pt x="154" y="1711"/>
                  </a:lnTo>
                  <a:lnTo>
                    <a:pt x="182" y="1757"/>
                  </a:lnTo>
                  <a:lnTo>
                    <a:pt x="212" y="1800"/>
                  </a:lnTo>
                  <a:lnTo>
                    <a:pt x="243" y="1843"/>
                  </a:lnTo>
                  <a:lnTo>
                    <a:pt x="277" y="1884"/>
                  </a:lnTo>
                  <a:lnTo>
                    <a:pt x="312" y="1923"/>
                  </a:lnTo>
                  <a:lnTo>
                    <a:pt x="349" y="1960"/>
                  </a:lnTo>
                  <a:lnTo>
                    <a:pt x="389" y="1996"/>
                  </a:lnTo>
                  <a:lnTo>
                    <a:pt x="429" y="2029"/>
                  </a:lnTo>
                  <a:lnTo>
                    <a:pt x="472" y="2061"/>
                  </a:lnTo>
                  <a:lnTo>
                    <a:pt x="514" y="2091"/>
                  </a:lnTo>
                  <a:lnTo>
                    <a:pt x="559" y="2118"/>
                  </a:lnTo>
                  <a:lnTo>
                    <a:pt x="606" y="2142"/>
                  </a:lnTo>
                  <a:lnTo>
                    <a:pt x="654" y="2166"/>
                  </a:lnTo>
                  <a:lnTo>
                    <a:pt x="703" y="2186"/>
                  </a:lnTo>
                  <a:lnTo>
                    <a:pt x="753" y="2204"/>
                  </a:lnTo>
                  <a:lnTo>
                    <a:pt x="804" y="2219"/>
                  </a:lnTo>
                  <a:lnTo>
                    <a:pt x="856" y="2232"/>
                  </a:lnTo>
                  <a:lnTo>
                    <a:pt x="910" y="2242"/>
                  </a:lnTo>
                  <a:lnTo>
                    <a:pt x="964" y="2249"/>
                  </a:lnTo>
                  <a:lnTo>
                    <a:pt x="1019" y="2253"/>
                  </a:lnTo>
                  <a:lnTo>
                    <a:pt x="1075" y="2254"/>
                  </a:lnTo>
                  <a:lnTo>
                    <a:pt x="2203" y="2254"/>
                  </a:lnTo>
                  <a:lnTo>
                    <a:pt x="2228" y="2262"/>
                  </a:lnTo>
                  <a:lnTo>
                    <a:pt x="2253" y="2270"/>
                  </a:lnTo>
                  <a:lnTo>
                    <a:pt x="2276" y="2279"/>
                  </a:lnTo>
                  <a:lnTo>
                    <a:pt x="2297" y="2291"/>
                  </a:lnTo>
                  <a:lnTo>
                    <a:pt x="2318" y="2304"/>
                  </a:lnTo>
                  <a:lnTo>
                    <a:pt x="2336" y="2319"/>
                  </a:lnTo>
                  <a:lnTo>
                    <a:pt x="2352" y="2335"/>
                  </a:lnTo>
                  <a:lnTo>
                    <a:pt x="2368" y="2351"/>
                  </a:lnTo>
                  <a:lnTo>
                    <a:pt x="2381" y="2370"/>
                  </a:lnTo>
                  <a:lnTo>
                    <a:pt x="2393" y="2389"/>
                  </a:lnTo>
                  <a:lnTo>
                    <a:pt x="2403" y="2408"/>
                  </a:lnTo>
                  <a:lnTo>
                    <a:pt x="2413" y="2429"/>
                  </a:lnTo>
                  <a:lnTo>
                    <a:pt x="2420" y="2450"/>
                  </a:lnTo>
                  <a:lnTo>
                    <a:pt x="2425" y="2470"/>
                  </a:lnTo>
                  <a:lnTo>
                    <a:pt x="2428" y="2493"/>
                  </a:lnTo>
                  <a:lnTo>
                    <a:pt x="2430" y="2514"/>
                  </a:lnTo>
                  <a:lnTo>
                    <a:pt x="2430" y="2536"/>
                  </a:lnTo>
                  <a:lnTo>
                    <a:pt x="2428" y="2558"/>
                  </a:lnTo>
                  <a:lnTo>
                    <a:pt x="2424" y="2579"/>
                  </a:lnTo>
                  <a:lnTo>
                    <a:pt x="2419" y="2600"/>
                  </a:lnTo>
                  <a:lnTo>
                    <a:pt x="2412" y="2621"/>
                  </a:lnTo>
                  <a:lnTo>
                    <a:pt x="2402" y="2640"/>
                  </a:lnTo>
                  <a:lnTo>
                    <a:pt x="2391" y="2660"/>
                  </a:lnTo>
                  <a:lnTo>
                    <a:pt x="2378" y="2678"/>
                  </a:lnTo>
                  <a:lnTo>
                    <a:pt x="2363" y="2695"/>
                  </a:lnTo>
                  <a:lnTo>
                    <a:pt x="2346" y="2712"/>
                  </a:lnTo>
                  <a:lnTo>
                    <a:pt x="2327" y="2727"/>
                  </a:lnTo>
                  <a:lnTo>
                    <a:pt x="2307" y="2740"/>
                  </a:lnTo>
                  <a:lnTo>
                    <a:pt x="2283" y="2752"/>
                  </a:lnTo>
                  <a:lnTo>
                    <a:pt x="2259" y="2764"/>
                  </a:lnTo>
                  <a:lnTo>
                    <a:pt x="2231" y="2772"/>
                  </a:lnTo>
                  <a:lnTo>
                    <a:pt x="2203" y="2779"/>
                  </a:lnTo>
                  <a:lnTo>
                    <a:pt x="2021" y="2779"/>
                  </a:lnTo>
                  <a:lnTo>
                    <a:pt x="1732" y="2779"/>
                  </a:lnTo>
                  <a:lnTo>
                    <a:pt x="1375" y="2779"/>
                  </a:lnTo>
                  <a:lnTo>
                    <a:pt x="991" y="2779"/>
                  </a:lnTo>
                  <a:lnTo>
                    <a:pt x="622" y="2779"/>
                  </a:lnTo>
                  <a:lnTo>
                    <a:pt x="307" y="2779"/>
                  </a:lnTo>
                  <a:lnTo>
                    <a:pt x="88" y="2779"/>
                  </a:lnTo>
                  <a:lnTo>
                    <a:pt x="6" y="277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276" u="sng">
                <a:solidFill>
                  <a:srgbClr val="000000"/>
                </a:solidFill>
                <a:latin typeface="Arial" charset="0"/>
                <a:cs typeface="Arial"/>
              </a:endParaRPr>
            </a:p>
          </p:txBody>
        </p:sp>
        <p:sp>
          <p:nvSpPr>
            <p:cNvPr id="1038" name="Rectangle 62"/>
            <p:cNvSpPr>
              <a:spLocks noChangeArrowheads="1"/>
            </p:cNvSpPr>
            <p:nvPr userDrawn="1"/>
          </p:nvSpPr>
          <p:spPr bwMode="auto">
            <a:xfrm>
              <a:off x="5390" y="98"/>
              <a:ext cx="43" cy="184"/>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700" u="sng">
                  <a:solidFill>
                    <a:schemeClr val="tx1"/>
                  </a:solidFill>
                  <a:latin typeface="Arial" charset="0"/>
                  <a:cs typeface="Arial" charset="0"/>
                </a:defRPr>
              </a:lvl1pPr>
              <a:lvl2pPr marL="742950" indent="-285750" eaLnBrk="0" hangingPunct="0">
                <a:defRPr sz="1700" u="sng">
                  <a:solidFill>
                    <a:schemeClr val="tx1"/>
                  </a:solidFill>
                  <a:latin typeface="Arial" charset="0"/>
                  <a:cs typeface="Arial" charset="0"/>
                </a:defRPr>
              </a:lvl2pPr>
              <a:lvl3pPr marL="1143000" indent="-228600" eaLnBrk="0" hangingPunct="0">
                <a:defRPr sz="1700" u="sng">
                  <a:solidFill>
                    <a:schemeClr val="tx1"/>
                  </a:solidFill>
                  <a:latin typeface="Arial" charset="0"/>
                  <a:cs typeface="Arial" charset="0"/>
                </a:defRPr>
              </a:lvl3pPr>
              <a:lvl4pPr marL="1600200" indent="-228600" eaLnBrk="0" hangingPunct="0">
                <a:defRPr sz="1700" u="sng">
                  <a:solidFill>
                    <a:schemeClr val="tx1"/>
                  </a:solidFill>
                  <a:latin typeface="Arial" charset="0"/>
                  <a:cs typeface="Arial" charset="0"/>
                </a:defRPr>
              </a:lvl4pPr>
              <a:lvl5pPr marL="2057400" indent="-228600" eaLnBrk="0" hangingPunct="0">
                <a:defRPr sz="1700" u="sng">
                  <a:solidFill>
                    <a:schemeClr val="tx1"/>
                  </a:solidFill>
                  <a:latin typeface="Arial" charset="0"/>
                  <a:cs typeface="Arial" charset="0"/>
                </a:defRPr>
              </a:lvl5pPr>
              <a:lvl6pPr marL="2514600" indent="-228600" eaLnBrk="0" fontAlgn="base" hangingPunct="0">
                <a:spcBef>
                  <a:spcPct val="0"/>
                </a:spcBef>
                <a:spcAft>
                  <a:spcPct val="0"/>
                </a:spcAft>
                <a:defRPr sz="1700" u="sng">
                  <a:solidFill>
                    <a:schemeClr val="tx1"/>
                  </a:solidFill>
                  <a:latin typeface="Arial" charset="0"/>
                  <a:cs typeface="Arial" charset="0"/>
                </a:defRPr>
              </a:lvl6pPr>
              <a:lvl7pPr marL="2971800" indent="-228600" eaLnBrk="0" fontAlgn="base" hangingPunct="0">
                <a:spcBef>
                  <a:spcPct val="0"/>
                </a:spcBef>
                <a:spcAft>
                  <a:spcPct val="0"/>
                </a:spcAft>
                <a:defRPr sz="1700" u="sng">
                  <a:solidFill>
                    <a:schemeClr val="tx1"/>
                  </a:solidFill>
                  <a:latin typeface="Arial" charset="0"/>
                  <a:cs typeface="Arial" charset="0"/>
                </a:defRPr>
              </a:lvl7pPr>
              <a:lvl8pPr marL="3429000" indent="-228600" eaLnBrk="0" fontAlgn="base" hangingPunct="0">
                <a:spcBef>
                  <a:spcPct val="0"/>
                </a:spcBef>
                <a:spcAft>
                  <a:spcPct val="0"/>
                </a:spcAft>
                <a:defRPr sz="1700" u="sng">
                  <a:solidFill>
                    <a:schemeClr val="tx1"/>
                  </a:solidFill>
                  <a:latin typeface="Arial" charset="0"/>
                  <a:cs typeface="Arial" charset="0"/>
                </a:defRPr>
              </a:lvl8pPr>
              <a:lvl9pPr marL="3886200" indent="-228600" eaLnBrk="0" fontAlgn="base" hangingPunct="0">
                <a:spcBef>
                  <a:spcPct val="0"/>
                </a:spcBef>
                <a:spcAft>
                  <a:spcPct val="0"/>
                </a:spcAft>
                <a:defRPr sz="1700" u="sng">
                  <a:solidFill>
                    <a:schemeClr val="tx1"/>
                  </a:solidFill>
                  <a:latin typeface="Arial" charset="0"/>
                  <a:cs typeface="Arial" charset="0"/>
                </a:defRPr>
              </a:lvl9pPr>
            </a:lstStyle>
            <a:p>
              <a:pPr eaLnBrk="1" hangingPunct="1">
                <a:spcBef>
                  <a:spcPct val="20000"/>
                </a:spcBef>
                <a:buClr>
                  <a:srgbClr val="0084C2"/>
                </a:buClr>
                <a:buSzPct val="130000"/>
                <a:buFont typeface="Times New Roman" pitchFamily="18" charset="0"/>
                <a:buNone/>
                <a:defRPr/>
              </a:pPr>
              <a:endParaRPr lang="en-US" altLang="en-US" sz="1276">
                <a:solidFill>
                  <a:srgbClr val="000000"/>
                </a:solidFill>
              </a:endParaRPr>
            </a:p>
          </p:txBody>
        </p:sp>
        <p:sp>
          <p:nvSpPr>
            <p:cNvPr id="1039" name="Freeform 63"/>
            <p:cNvSpPr>
              <a:spLocks/>
            </p:cNvSpPr>
            <p:nvPr userDrawn="1"/>
          </p:nvSpPr>
          <p:spPr bwMode="auto">
            <a:xfrm>
              <a:off x="5452" y="95"/>
              <a:ext cx="178" cy="191"/>
            </a:xfrm>
            <a:custGeom>
              <a:avLst/>
              <a:gdLst>
                <a:gd name="T0" fmla="*/ 0 w 3567"/>
                <a:gd name="T1" fmla="*/ 0 h 3816"/>
                <a:gd name="T2" fmla="*/ 0 w 3567"/>
                <a:gd name="T3" fmla="*/ 0 h 3816"/>
                <a:gd name="T4" fmla="*/ 0 w 3567"/>
                <a:gd name="T5" fmla="*/ 0 h 3816"/>
                <a:gd name="T6" fmla="*/ 0 w 3567"/>
                <a:gd name="T7" fmla="*/ 0 h 3816"/>
                <a:gd name="T8" fmla="*/ 0 w 3567"/>
                <a:gd name="T9" fmla="*/ 0 h 3816"/>
                <a:gd name="T10" fmla="*/ 0 w 3567"/>
                <a:gd name="T11" fmla="*/ 0 h 3816"/>
                <a:gd name="T12" fmla="*/ 0 w 3567"/>
                <a:gd name="T13" fmla="*/ 0 h 3816"/>
                <a:gd name="T14" fmla="*/ 0 w 3567"/>
                <a:gd name="T15" fmla="*/ 0 h 3816"/>
                <a:gd name="T16" fmla="*/ 0 w 3567"/>
                <a:gd name="T17" fmla="*/ 0 h 3816"/>
                <a:gd name="T18" fmla="*/ 0 w 3567"/>
                <a:gd name="T19" fmla="*/ 0 h 3816"/>
                <a:gd name="T20" fmla="*/ 0 w 3567"/>
                <a:gd name="T21" fmla="*/ 0 h 3816"/>
                <a:gd name="T22" fmla="*/ 0 w 3567"/>
                <a:gd name="T23" fmla="*/ 0 h 3816"/>
                <a:gd name="T24" fmla="*/ 0 w 3567"/>
                <a:gd name="T25" fmla="*/ 0 h 3816"/>
                <a:gd name="T26" fmla="*/ 0 w 3567"/>
                <a:gd name="T27" fmla="*/ 0 h 3816"/>
                <a:gd name="T28" fmla="*/ 0 w 3567"/>
                <a:gd name="T29" fmla="*/ 0 h 3816"/>
                <a:gd name="T30" fmla="*/ 0 w 3567"/>
                <a:gd name="T31" fmla="*/ 0 h 3816"/>
                <a:gd name="T32" fmla="*/ 0 w 3567"/>
                <a:gd name="T33" fmla="*/ 0 h 3816"/>
                <a:gd name="T34" fmla="*/ 0 w 3567"/>
                <a:gd name="T35" fmla="*/ 0 h 3816"/>
                <a:gd name="T36" fmla="*/ 0 w 3567"/>
                <a:gd name="T37" fmla="*/ 0 h 3816"/>
                <a:gd name="T38" fmla="*/ 0 w 3567"/>
                <a:gd name="T39" fmla="*/ 0 h 3816"/>
                <a:gd name="T40" fmla="*/ 0 w 3567"/>
                <a:gd name="T41" fmla="*/ 0 h 3816"/>
                <a:gd name="T42" fmla="*/ 0 w 3567"/>
                <a:gd name="T43" fmla="*/ 0 h 3816"/>
                <a:gd name="T44" fmla="*/ 0 w 3567"/>
                <a:gd name="T45" fmla="*/ 0 h 3816"/>
                <a:gd name="T46" fmla="*/ 0 w 3567"/>
                <a:gd name="T47" fmla="*/ 0 h 3816"/>
                <a:gd name="T48" fmla="*/ 0 w 3567"/>
                <a:gd name="T49" fmla="*/ 0 h 3816"/>
                <a:gd name="T50" fmla="*/ 0 w 3567"/>
                <a:gd name="T51" fmla="*/ 0 h 3816"/>
                <a:gd name="T52" fmla="*/ 0 w 3567"/>
                <a:gd name="T53" fmla="*/ 0 h 3816"/>
                <a:gd name="T54" fmla="*/ 0 w 3567"/>
                <a:gd name="T55" fmla="*/ 0 h 3816"/>
                <a:gd name="T56" fmla="*/ 0 w 3567"/>
                <a:gd name="T57" fmla="*/ 0 h 3816"/>
                <a:gd name="T58" fmla="*/ 0 w 3567"/>
                <a:gd name="T59" fmla="*/ 0 h 3816"/>
                <a:gd name="T60" fmla="*/ 0 w 3567"/>
                <a:gd name="T61" fmla="*/ 0 h 3816"/>
                <a:gd name="T62" fmla="*/ 0 w 3567"/>
                <a:gd name="T63" fmla="*/ 0 h 3816"/>
                <a:gd name="T64" fmla="*/ 0 w 3567"/>
                <a:gd name="T65" fmla="*/ 0 h 3816"/>
                <a:gd name="T66" fmla="*/ 0 w 3567"/>
                <a:gd name="T67" fmla="*/ 0 h 3816"/>
                <a:gd name="T68" fmla="*/ 0 w 3567"/>
                <a:gd name="T69" fmla="*/ 0 h 3816"/>
                <a:gd name="T70" fmla="*/ 0 w 3567"/>
                <a:gd name="T71" fmla="*/ 0 h 3816"/>
                <a:gd name="T72" fmla="*/ 0 w 3567"/>
                <a:gd name="T73" fmla="*/ 0 h 3816"/>
                <a:gd name="T74" fmla="*/ 0 w 3567"/>
                <a:gd name="T75" fmla="*/ 0 h 3816"/>
                <a:gd name="T76" fmla="*/ 0 w 3567"/>
                <a:gd name="T77" fmla="*/ 0 h 3816"/>
                <a:gd name="T78" fmla="*/ 0 w 3567"/>
                <a:gd name="T79" fmla="*/ 0 h 3816"/>
                <a:gd name="T80" fmla="*/ 0 w 3567"/>
                <a:gd name="T81" fmla="*/ 0 h 3816"/>
                <a:gd name="T82" fmla="*/ 0 w 3567"/>
                <a:gd name="T83" fmla="*/ 0 h 3816"/>
                <a:gd name="T84" fmla="*/ 0 w 3567"/>
                <a:gd name="T85" fmla="*/ 0 h 3816"/>
                <a:gd name="T86" fmla="*/ 0 w 3567"/>
                <a:gd name="T87" fmla="*/ 0 h 3816"/>
                <a:gd name="T88" fmla="*/ 0 w 3567"/>
                <a:gd name="T89" fmla="*/ 0 h 3816"/>
                <a:gd name="T90" fmla="*/ 0 w 3567"/>
                <a:gd name="T91" fmla="*/ 0 h 3816"/>
                <a:gd name="T92" fmla="*/ 0 w 3567"/>
                <a:gd name="T93" fmla="*/ 0 h 3816"/>
                <a:gd name="T94" fmla="*/ 0 w 3567"/>
                <a:gd name="T95" fmla="*/ 0 h 3816"/>
                <a:gd name="T96" fmla="*/ 0 w 3567"/>
                <a:gd name="T97" fmla="*/ 0 h 3816"/>
                <a:gd name="T98" fmla="*/ 0 w 3567"/>
                <a:gd name="T99" fmla="*/ 0 h 3816"/>
                <a:gd name="T100" fmla="*/ 0 w 3567"/>
                <a:gd name="T101" fmla="*/ 0 h 381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567" h="3816">
                  <a:moveTo>
                    <a:pt x="3567" y="2804"/>
                  </a:moveTo>
                  <a:lnTo>
                    <a:pt x="3535" y="2860"/>
                  </a:lnTo>
                  <a:lnTo>
                    <a:pt x="3503" y="2915"/>
                  </a:lnTo>
                  <a:lnTo>
                    <a:pt x="3469" y="2968"/>
                  </a:lnTo>
                  <a:lnTo>
                    <a:pt x="3433" y="3021"/>
                  </a:lnTo>
                  <a:lnTo>
                    <a:pt x="3396" y="3072"/>
                  </a:lnTo>
                  <a:lnTo>
                    <a:pt x="3356" y="3122"/>
                  </a:lnTo>
                  <a:lnTo>
                    <a:pt x="3315" y="3170"/>
                  </a:lnTo>
                  <a:lnTo>
                    <a:pt x="3272" y="3216"/>
                  </a:lnTo>
                  <a:lnTo>
                    <a:pt x="3228" y="3262"/>
                  </a:lnTo>
                  <a:lnTo>
                    <a:pt x="3183" y="3306"/>
                  </a:lnTo>
                  <a:lnTo>
                    <a:pt x="3136" y="3348"/>
                  </a:lnTo>
                  <a:lnTo>
                    <a:pt x="3087" y="3390"/>
                  </a:lnTo>
                  <a:lnTo>
                    <a:pt x="3039" y="3428"/>
                  </a:lnTo>
                  <a:lnTo>
                    <a:pt x="2988" y="3466"/>
                  </a:lnTo>
                  <a:lnTo>
                    <a:pt x="2935" y="3502"/>
                  </a:lnTo>
                  <a:lnTo>
                    <a:pt x="2881" y="3536"/>
                  </a:lnTo>
                  <a:lnTo>
                    <a:pt x="2827" y="3569"/>
                  </a:lnTo>
                  <a:lnTo>
                    <a:pt x="2771" y="3599"/>
                  </a:lnTo>
                  <a:lnTo>
                    <a:pt x="2714" y="3628"/>
                  </a:lnTo>
                  <a:lnTo>
                    <a:pt x="2656" y="3655"/>
                  </a:lnTo>
                  <a:lnTo>
                    <a:pt x="2598" y="3680"/>
                  </a:lnTo>
                  <a:lnTo>
                    <a:pt x="2538" y="3703"/>
                  </a:lnTo>
                  <a:lnTo>
                    <a:pt x="2476" y="3724"/>
                  </a:lnTo>
                  <a:lnTo>
                    <a:pt x="2415" y="3743"/>
                  </a:lnTo>
                  <a:lnTo>
                    <a:pt x="2352" y="3760"/>
                  </a:lnTo>
                  <a:lnTo>
                    <a:pt x="2289" y="3774"/>
                  </a:lnTo>
                  <a:lnTo>
                    <a:pt x="2225" y="3788"/>
                  </a:lnTo>
                  <a:lnTo>
                    <a:pt x="2159" y="3798"/>
                  </a:lnTo>
                  <a:lnTo>
                    <a:pt x="2094" y="3806"/>
                  </a:lnTo>
                  <a:lnTo>
                    <a:pt x="2028" y="3811"/>
                  </a:lnTo>
                  <a:lnTo>
                    <a:pt x="1960" y="3815"/>
                  </a:lnTo>
                  <a:lnTo>
                    <a:pt x="1893" y="3816"/>
                  </a:lnTo>
                  <a:lnTo>
                    <a:pt x="1795" y="3814"/>
                  </a:lnTo>
                  <a:lnTo>
                    <a:pt x="1699" y="3806"/>
                  </a:lnTo>
                  <a:lnTo>
                    <a:pt x="1604" y="3795"/>
                  </a:lnTo>
                  <a:lnTo>
                    <a:pt x="1511" y="3777"/>
                  </a:lnTo>
                  <a:lnTo>
                    <a:pt x="1420" y="3756"/>
                  </a:lnTo>
                  <a:lnTo>
                    <a:pt x="1330" y="3731"/>
                  </a:lnTo>
                  <a:lnTo>
                    <a:pt x="1241" y="3700"/>
                  </a:lnTo>
                  <a:lnTo>
                    <a:pt x="1156" y="3667"/>
                  </a:lnTo>
                  <a:lnTo>
                    <a:pt x="1072" y="3628"/>
                  </a:lnTo>
                  <a:lnTo>
                    <a:pt x="990" y="3586"/>
                  </a:lnTo>
                  <a:lnTo>
                    <a:pt x="911" y="3540"/>
                  </a:lnTo>
                  <a:lnTo>
                    <a:pt x="834" y="3490"/>
                  </a:lnTo>
                  <a:lnTo>
                    <a:pt x="760" y="3437"/>
                  </a:lnTo>
                  <a:lnTo>
                    <a:pt x="688" y="3380"/>
                  </a:lnTo>
                  <a:lnTo>
                    <a:pt x="620" y="3320"/>
                  </a:lnTo>
                  <a:lnTo>
                    <a:pt x="554" y="3257"/>
                  </a:lnTo>
                  <a:lnTo>
                    <a:pt x="492" y="3191"/>
                  </a:lnTo>
                  <a:lnTo>
                    <a:pt x="431" y="3122"/>
                  </a:lnTo>
                  <a:lnTo>
                    <a:pt x="375" y="3049"/>
                  </a:lnTo>
                  <a:lnTo>
                    <a:pt x="322" y="2975"/>
                  </a:lnTo>
                  <a:lnTo>
                    <a:pt x="273" y="2898"/>
                  </a:lnTo>
                  <a:lnTo>
                    <a:pt x="227" y="2817"/>
                  </a:lnTo>
                  <a:lnTo>
                    <a:pt x="186" y="2736"/>
                  </a:lnTo>
                  <a:lnTo>
                    <a:pt x="148" y="2650"/>
                  </a:lnTo>
                  <a:lnTo>
                    <a:pt x="114" y="2564"/>
                  </a:lnTo>
                  <a:lnTo>
                    <a:pt x="85" y="2475"/>
                  </a:lnTo>
                  <a:lnTo>
                    <a:pt x="59" y="2385"/>
                  </a:lnTo>
                  <a:lnTo>
                    <a:pt x="38" y="2293"/>
                  </a:lnTo>
                  <a:lnTo>
                    <a:pt x="21" y="2198"/>
                  </a:lnTo>
                  <a:lnTo>
                    <a:pt x="9" y="2104"/>
                  </a:lnTo>
                  <a:lnTo>
                    <a:pt x="2" y="2006"/>
                  </a:lnTo>
                  <a:lnTo>
                    <a:pt x="0" y="1908"/>
                  </a:lnTo>
                  <a:lnTo>
                    <a:pt x="2" y="1810"/>
                  </a:lnTo>
                  <a:lnTo>
                    <a:pt x="9" y="1713"/>
                  </a:lnTo>
                  <a:lnTo>
                    <a:pt x="21" y="1618"/>
                  </a:lnTo>
                  <a:lnTo>
                    <a:pt x="38" y="1523"/>
                  </a:lnTo>
                  <a:lnTo>
                    <a:pt x="59" y="1432"/>
                  </a:lnTo>
                  <a:lnTo>
                    <a:pt x="85" y="1341"/>
                  </a:lnTo>
                  <a:lnTo>
                    <a:pt x="114" y="1252"/>
                  </a:lnTo>
                  <a:lnTo>
                    <a:pt x="148" y="1166"/>
                  </a:lnTo>
                  <a:lnTo>
                    <a:pt x="186" y="1081"/>
                  </a:lnTo>
                  <a:lnTo>
                    <a:pt x="227" y="999"/>
                  </a:lnTo>
                  <a:lnTo>
                    <a:pt x="273" y="918"/>
                  </a:lnTo>
                  <a:lnTo>
                    <a:pt x="322" y="841"/>
                  </a:lnTo>
                  <a:lnTo>
                    <a:pt x="375" y="767"/>
                  </a:lnTo>
                  <a:lnTo>
                    <a:pt x="431" y="694"/>
                  </a:lnTo>
                  <a:lnTo>
                    <a:pt x="492" y="625"/>
                  </a:lnTo>
                  <a:lnTo>
                    <a:pt x="554" y="559"/>
                  </a:lnTo>
                  <a:lnTo>
                    <a:pt x="620" y="496"/>
                  </a:lnTo>
                  <a:lnTo>
                    <a:pt x="688" y="436"/>
                  </a:lnTo>
                  <a:lnTo>
                    <a:pt x="760" y="379"/>
                  </a:lnTo>
                  <a:lnTo>
                    <a:pt x="834" y="326"/>
                  </a:lnTo>
                  <a:lnTo>
                    <a:pt x="911" y="276"/>
                  </a:lnTo>
                  <a:lnTo>
                    <a:pt x="990" y="230"/>
                  </a:lnTo>
                  <a:lnTo>
                    <a:pt x="1072" y="188"/>
                  </a:lnTo>
                  <a:lnTo>
                    <a:pt x="1156" y="150"/>
                  </a:lnTo>
                  <a:lnTo>
                    <a:pt x="1241" y="116"/>
                  </a:lnTo>
                  <a:lnTo>
                    <a:pt x="1330" y="86"/>
                  </a:lnTo>
                  <a:lnTo>
                    <a:pt x="1420" y="60"/>
                  </a:lnTo>
                  <a:lnTo>
                    <a:pt x="1511" y="39"/>
                  </a:lnTo>
                  <a:lnTo>
                    <a:pt x="1604" y="22"/>
                  </a:lnTo>
                  <a:lnTo>
                    <a:pt x="1699" y="10"/>
                  </a:lnTo>
                  <a:lnTo>
                    <a:pt x="1795" y="2"/>
                  </a:lnTo>
                  <a:lnTo>
                    <a:pt x="1893" y="0"/>
                  </a:lnTo>
                  <a:lnTo>
                    <a:pt x="1959" y="1"/>
                  </a:lnTo>
                  <a:lnTo>
                    <a:pt x="2026" y="5"/>
                  </a:lnTo>
                  <a:lnTo>
                    <a:pt x="2092" y="10"/>
                  </a:lnTo>
                  <a:lnTo>
                    <a:pt x="2156" y="18"/>
                  </a:lnTo>
                  <a:lnTo>
                    <a:pt x="2221" y="29"/>
                  </a:lnTo>
                  <a:lnTo>
                    <a:pt x="2285" y="41"/>
                  </a:lnTo>
                  <a:lnTo>
                    <a:pt x="2348" y="56"/>
                  </a:lnTo>
                  <a:lnTo>
                    <a:pt x="2409" y="72"/>
                  </a:lnTo>
                  <a:lnTo>
                    <a:pt x="2470" y="91"/>
                  </a:lnTo>
                  <a:lnTo>
                    <a:pt x="2532" y="111"/>
                  </a:lnTo>
                  <a:lnTo>
                    <a:pt x="2591" y="134"/>
                  </a:lnTo>
                  <a:lnTo>
                    <a:pt x="2649" y="159"/>
                  </a:lnTo>
                  <a:lnTo>
                    <a:pt x="2706" y="185"/>
                  </a:lnTo>
                  <a:lnTo>
                    <a:pt x="2763" y="213"/>
                  </a:lnTo>
                  <a:lnTo>
                    <a:pt x="2818" y="243"/>
                  </a:lnTo>
                  <a:lnTo>
                    <a:pt x="2872" y="275"/>
                  </a:lnTo>
                  <a:lnTo>
                    <a:pt x="2925" y="309"/>
                  </a:lnTo>
                  <a:lnTo>
                    <a:pt x="2977" y="344"/>
                  </a:lnTo>
                  <a:lnTo>
                    <a:pt x="3027" y="381"/>
                  </a:lnTo>
                  <a:lnTo>
                    <a:pt x="3077" y="419"/>
                  </a:lnTo>
                  <a:lnTo>
                    <a:pt x="3125" y="459"/>
                  </a:lnTo>
                  <a:lnTo>
                    <a:pt x="3171" y="501"/>
                  </a:lnTo>
                  <a:lnTo>
                    <a:pt x="3217" y="545"/>
                  </a:lnTo>
                  <a:lnTo>
                    <a:pt x="3261" y="590"/>
                  </a:lnTo>
                  <a:lnTo>
                    <a:pt x="3303" y="635"/>
                  </a:lnTo>
                  <a:lnTo>
                    <a:pt x="3343" y="682"/>
                  </a:lnTo>
                  <a:lnTo>
                    <a:pt x="3383" y="731"/>
                  </a:lnTo>
                  <a:lnTo>
                    <a:pt x="3421" y="782"/>
                  </a:lnTo>
                  <a:lnTo>
                    <a:pt x="3457" y="833"/>
                  </a:lnTo>
                  <a:lnTo>
                    <a:pt x="3491" y="886"/>
                  </a:lnTo>
                  <a:lnTo>
                    <a:pt x="3524" y="940"/>
                  </a:lnTo>
                  <a:lnTo>
                    <a:pt x="3555" y="995"/>
                  </a:lnTo>
                  <a:lnTo>
                    <a:pt x="2779" y="1412"/>
                  </a:lnTo>
                  <a:lnTo>
                    <a:pt x="2762" y="1383"/>
                  </a:lnTo>
                  <a:lnTo>
                    <a:pt x="2745" y="1353"/>
                  </a:lnTo>
                  <a:lnTo>
                    <a:pt x="2726" y="1326"/>
                  </a:lnTo>
                  <a:lnTo>
                    <a:pt x="2707" y="1298"/>
                  </a:lnTo>
                  <a:lnTo>
                    <a:pt x="2687" y="1271"/>
                  </a:lnTo>
                  <a:lnTo>
                    <a:pt x="2665" y="1244"/>
                  </a:lnTo>
                  <a:lnTo>
                    <a:pt x="2643" y="1219"/>
                  </a:lnTo>
                  <a:lnTo>
                    <a:pt x="2620" y="1194"/>
                  </a:lnTo>
                  <a:lnTo>
                    <a:pt x="2597" y="1171"/>
                  </a:lnTo>
                  <a:lnTo>
                    <a:pt x="2572" y="1148"/>
                  </a:lnTo>
                  <a:lnTo>
                    <a:pt x="2548" y="1125"/>
                  </a:lnTo>
                  <a:lnTo>
                    <a:pt x="2522" y="1104"/>
                  </a:lnTo>
                  <a:lnTo>
                    <a:pt x="2496" y="1083"/>
                  </a:lnTo>
                  <a:lnTo>
                    <a:pt x="2468" y="1063"/>
                  </a:lnTo>
                  <a:lnTo>
                    <a:pt x="2441" y="1045"/>
                  </a:lnTo>
                  <a:lnTo>
                    <a:pt x="2412" y="1026"/>
                  </a:lnTo>
                  <a:lnTo>
                    <a:pt x="2384" y="1009"/>
                  </a:lnTo>
                  <a:lnTo>
                    <a:pt x="2354" y="994"/>
                  </a:lnTo>
                  <a:lnTo>
                    <a:pt x="2323" y="978"/>
                  </a:lnTo>
                  <a:lnTo>
                    <a:pt x="2293" y="964"/>
                  </a:lnTo>
                  <a:lnTo>
                    <a:pt x="2262" y="951"/>
                  </a:lnTo>
                  <a:lnTo>
                    <a:pt x="2231" y="939"/>
                  </a:lnTo>
                  <a:lnTo>
                    <a:pt x="2198" y="929"/>
                  </a:lnTo>
                  <a:lnTo>
                    <a:pt x="2166" y="918"/>
                  </a:lnTo>
                  <a:lnTo>
                    <a:pt x="2133" y="909"/>
                  </a:lnTo>
                  <a:lnTo>
                    <a:pt x="2100" y="902"/>
                  </a:lnTo>
                  <a:lnTo>
                    <a:pt x="2066" y="895"/>
                  </a:lnTo>
                  <a:lnTo>
                    <a:pt x="2032" y="890"/>
                  </a:lnTo>
                  <a:lnTo>
                    <a:pt x="1997" y="886"/>
                  </a:lnTo>
                  <a:lnTo>
                    <a:pt x="1962" y="883"/>
                  </a:lnTo>
                  <a:lnTo>
                    <a:pt x="1928" y="881"/>
                  </a:lnTo>
                  <a:lnTo>
                    <a:pt x="1893" y="880"/>
                  </a:lnTo>
                  <a:lnTo>
                    <a:pt x="1841" y="882"/>
                  </a:lnTo>
                  <a:lnTo>
                    <a:pt x="1790" y="886"/>
                  </a:lnTo>
                  <a:lnTo>
                    <a:pt x="1740" y="892"/>
                  </a:lnTo>
                  <a:lnTo>
                    <a:pt x="1691" y="901"/>
                  </a:lnTo>
                  <a:lnTo>
                    <a:pt x="1642" y="912"/>
                  </a:lnTo>
                  <a:lnTo>
                    <a:pt x="1594" y="926"/>
                  </a:lnTo>
                  <a:lnTo>
                    <a:pt x="1548" y="942"/>
                  </a:lnTo>
                  <a:lnTo>
                    <a:pt x="1502" y="960"/>
                  </a:lnTo>
                  <a:lnTo>
                    <a:pt x="1458" y="981"/>
                  </a:lnTo>
                  <a:lnTo>
                    <a:pt x="1414" y="1003"/>
                  </a:lnTo>
                  <a:lnTo>
                    <a:pt x="1372" y="1027"/>
                  </a:lnTo>
                  <a:lnTo>
                    <a:pt x="1330" y="1054"/>
                  </a:lnTo>
                  <a:lnTo>
                    <a:pt x="1290" y="1082"/>
                  </a:lnTo>
                  <a:lnTo>
                    <a:pt x="1252" y="1112"/>
                  </a:lnTo>
                  <a:lnTo>
                    <a:pt x="1216" y="1144"/>
                  </a:lnTo>
                  <a:lnTo>
                    <a:pt x="1180" y="1178"/>
                  </a:lnTo>
                  <a:lnTo>
                    <a:pt x="1146" y="1214"/>
                  </a:lnTo>
                  <a:lnTo>
                    <a:pt x="1115" y="1251"/>
                  </a:lnTo>
                  <a:lnTo>
                    <a:pt x="1084" y="1290"/>
                  </a:lnTo>
                  <a:lnTo>
                    <a:pt x="1056" y="1330"/>
                  </a:lnTo>
                  <a:lnTo>
                    <a:pt x="1029" y="1372"/>
                  </a:lnTo>
                  <a:lnTo>
                    <a:pt x="1005" y="1414"/>
                  </a:lnTo>
                  <a:lnTo>
                    <a:pt x="982" y="1459"/>
                  </a:lnTo>
                  <a:lnTo>
                    <a:pt x="962" y="1505"/>
                  </a:lnTo>
                  <a:lnTo>
                    <a:pt x="943" y="1552"/>
                  </a:lnTo>
                  <a:lnTo>
                    <a:pt x="927" y="1600"/>
                  </a:lnTo>
                  <a:lnTo>
                    <a:pt x="913" y="1648"/>
                  </a:lnTo>
                  <a:lnTo>
                    <a:pt x="902" y="1698"/>
                  </a:lnTo>
                  <a:lnTo>
                    <a:pt x="892" y="1749"/>
                  </a:lnTo>
                  <a:lnTo>
                    <a:pt x="886" y="1802"/>
                  </a:lnTo>
                  <a:lnTo>
                    <a:pt x="882" y="1854"/>
                  </a:lnTo>
                  <a:lnTo>
                    <a:pt x="881" y="1908"/>
                  </a:lnTo>
                  <a:lnTo>
                    <a:pt x="882" y="1962"/>
                  </a:lnTo>
                  <a:lnTo>
                    <a:pt x="886" y="2015"/>
                  </a:lnTo>
                  <a:lnTo>
                    <a:pt x="892" y="2067"/>
                  </a:lnTo>
                  <a:lnTo>
                    <a:pt x="902" y="2118"/>
                  </a:lnTo>
                  <a:lnTo>
                    <a:pt x="913" y="2168"/>
                  </a:lnTo>
                  <a:lnTo>
                    <a:pt x="927" y="2217"/>
                  </a:lnTo>
                  <a:lnTo>
                    <a:pt x="943" y="2264"/>
                  </a:lnTo>
                  <a:lnTo>
                    <a:pt x="962" y="2311"/>
                  </a:lnTo>
                  <a:lnTo>
                    <a:pt x="982" y="2357"/>
                  </a:lnTo>
                  <a:lnTo>
                    <a:pt x="1005" y="2402"/>
                  </a:lnTo>
                  <a:lnTo>
                    <a:pt x="1029" y="2445"/>
                  </a:lnTo>
                  <a:lnTo>
                    <a:pt x="1056" y="2486"/>
                  </a:lnTo>
                  <a:lnTo>
                    <a:pt x="1084" y="2526"/>
                  </a:lnTo>
                  <a:lnTo>
                    <a:pt x="1115" y="2566"/>
                  </a:lnTo>
                  <a:lnTo>
                    <a:pt x="1146" y="2603"/>
                  </a:lnTo>
                  <a:lnTo>
                    <a:pt x="1180" y="2638"/>
                  </a:lnTo>
                  <a:lnTo>
                    <a:pt x="1216" y="2672"/>
                  </a:lnTo>
                  <a:lnTo>
                    <a:pt x="1252" y="2704"/>
                  </a:lnTo>
                  <a:lnTo>
                    <a:pt x="1290" y="2734"/>
                  </a:lnTo>
                  <a:lnTo>
                    <a:pt x="1330" y="2762"/>
                  </a:lnTo>
                  <a:lnTo>
                    <a:pt x="1372" y="2789"/>
                  </a:lnTo>
                  <a:lnTo>
                    <a:pt x="1414" y="2813"/>
                  </a:lnTo>
                  <a:lnTo>
                    <a:pt x="1458" y="2837"/>
                  </a:lnTo>
                  <a:lnTo>
                    <a:pt x="1502" y="2856"/>
                  </a:lnTo>
                  <a:lnTo>
                    <a:pt x="1548" y="2874"/>
                  </a:lnTo>
                  <a:lnTo>
                    <a:pt x="1594" y="2891"/>
                  </a:lnTo>
                  <a:lnTo>
                    <a:pt x="1642" y="2904"/>
                  </a:lnTo>
                  <a:lnTo>
                    <a:pt x="1691" y="2916"/>
                  </a:lnTo>
                  <a:lnTo>
                    <a:pt x="1740" y="2924"/>
                  </a:lnTo>
                  <a:lnTo>
                    <a:pt x="1790" y="2931"/>
                  </a:lnTo>
                  <a:lnTo>
                    <a:pt x="1841" y="2934"/>
                  </a:lnTo>
                  <a:lnTo>
                    <a:pt x="1893" y="2936"/>
                  </a:lnTo>
                  <a:lnTo>
                    <a:pt x="1929" y="2935"/>
                  </a:lnTo>
                  <a:lnTo>
                    <a:pt x="1964" y="2933"/>
                  </a:lnTo>
                  <a:lnTo>
                    <a:pt x="2000" y="2930"/>
                  </a:lnTo>
                  <a:lnTo>
                    <a:pt x="2035" y="2926"/>
                  </a:lnTo>
                  <a:lnTo>
                    <a:pt x="2070" y="2920"/>
                  </a:lnTo>
                  <a:lnTo>
                    <a:pt x="2104" y="2914"/>
                  </a:lnTo>
                  <a:lnTo>
                    <a:pt x="2138" y="2906"/>
                  </a:lnTo>
                  <a:lnTo>
                    <a:pt x="2172" y="2897"/>
                  </a:lnTo>
                  <a:lnTo>
                    <a:pt x="2205" y="2887"/>
                  </a:lnTo>
                  <a:lnTo>
                    <a:pt x="2238" y="2874"/>
                  </a:lnTo>
                  <a:lnTo>
                    <a:pt x="2269" y="2862"/>
                  </a:lnTo>
                  <a:lnTo>
                    <a:pt x="2301" y="2849"/>
                  </a:lnTo>
                  <a:lnTo>
                    <a:pt x="2333" y="2835"/>
                  </a:lnTo>
                  <a:lnTo>
                    <a:pt x="2363" y="2818"/>
                  </a:lnTo>
                  <a:lnTo>
                    <a:pt x="2393" y="2802"/>
                  </a:lnTo>
                  <a:lnTo>
                    <a:pt x="2422" y="2784"/>
                  </a:lnTo>
                  <a:lnTo>
                    <a:pt x="2452" y="2765"/>
                  </a:lnTo>
                  <a:lnTo>
                    <a:pt x="2480" y="2746"/>
                  </a:lnTo>
                  <a:lnTo>
                    <a:pt x="2507" y="2726"/>
                  </a:lnTo>
                  <a:lnTo>
                    <a:pt x="2534" y="2704"/>
                  </a:lnTo>
                  <a:lnTo>
                    <a:pt x="2560" y="2682"/>
                  </a:lnTo>
                  <a:lnTo>
                    <a:pt x="2586" y="2659"/>
                  </a:lnTo>
                  <a:lnTo>
                    <a:pt x="2610" y="2635"/>
                  </a:lnTo>
                  <a:lnTo>
                    <a:pt x="2634" y="2610"/>
                  </a:lnTo>
                  <a:lnTo>
                    <a:pt x="2656" y="2584"/>
                  </a:lnTo>
                  <a:lnTo>
                    <a:pt x="2678" y="2558"/>
                  </a:lnTo>
                  <a:lnTo>
                    <a:pt x="2700" y="2531"/>
                  </a:lnTo>
                  <a:lnTo>
                    <a:pt x="2720" y="2503"/>
                  </a:lnTo>
                  <a:lnTo>
                    <a:pt x="2740" y="2474"/>
                  </a:lnTo>
                  <a:lnTo>
                    <a:pt x="2758" y="2445"/>
                  </a:lnTo>
                  <a:lnTo>
                    <a:pt x="2775" y="2415"/>
                  </a:lnTo>
                  <a:lnTo>
                    <a:pt x="2792" y="2385"/>
                  </a:lnTo>
                  <a:lnTo>
                    <a:pt x="3567" y="280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276" u="sng">
                <a:solidFill>
                  <a:srgbClr val="000000"/>
                </a:solidFill>
                <a:latin typeface="Arial" charset="0"/>
                <a:cs typeface="Arial"/>
              </a:endParaRPr>
            </a:p>
          </p:txBody>
        </p:sp>
        <p:sp>
          <p:nvSpPr>
            <p:cNvPr id="1040" name="Freeform 64"/>
            <p:cNvSpPr>
              <a:spLocks/>
            </p:cNvSpPr>
            <p:nvPr userDrawn="1"/>
          </p:nvSpPr>
          <p:spPr bwMode="auto">
            <a:xfrm>
              <a:off x="5646" y="98"/>
              <a:ext cx="160" cy="184"/>
            </a:xfrm>
            <a:custGeom>
              <a:avLst/>
              <a:gdLst>
                <a:gd name="T0" fmla="*/ 0 w 3202"/>
                <a:gd name="T1" fmla="*/ 0 h 3663"/>
                <a:gd name="T2" fmla="*/ 0 w 3202"/>
                <a:gd name="T3" fmla="*/ 0 h 3663"/>
                <a:gd name="T4" fmla="*/ 0 w 3202"/>
                <a:gd name="T5" fmla="*/ 0 h 3663"/>
                <a:gd name="T6" fmla="*/ 0 w 3202"/>
                <a:gd name="T7" fmla="*/ 0 h 3663"/>
                <a:gd name="T8" fmla="*/ 0 w 3202"/>
                <a:gd name="T9" fmla="*/ 0 h 3663"/>
                <a:gd name="T10" fmla="*/ 0 w 3202"/>
                <a:gd name="T11" fmla="*/ 0 h 3663"/>
                <a:gd name="T12" fmla="*/ 0 w 3202"/>
                <a:gd name="T13" fmla="*/ 0 h 3663"/>
                <a:gd name="T14" fmla="*/ 0 w 3202"/>
                <a:gd name="T15" fmla="*/ 0 h 3663"/>
                <a:gd name="T16" fmla="*/ 0 w 3202"/>
                <a:gd name="T17" fmla="*/ 0 h 3663"/>
                <a:gd name="T18" fmla="*/ 0 w 3202"/>
                <a:gd name="T19" fmla="*/ 0 h 3663"/>
                <a:gd name="T20" fmla="*/ 0 w 3202"/>
                <a:gd name="T21" fmla="*/ 0 h 3663"/>
                <a:gd name="T22" fmla="*/ 0 w 3202"/>
                <a:gd name="T23" fmla="*/ 0 h 3663"/>
                <a:gd name="T24" fmla="*/ 0 w 3202"/>
                <a:gd name="T25" fmla="*/ 0 h 3663"/>
                <a:gd name="T26" fmla="*/ 0 w 3202"/>
                <a:gd name="T27" fmla="*/ 0 h 366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202" h="3663">
                  <a:moveTo>
                    <a:pt x="0" y="0"/>
                  </a:moveTo>
                  <a:lnTo>
                    <a:pt x="0" y="3663"/>
                  </a:lnTo>
                  <a:lnTo>
                    <a:pt x="876" y="3663"/>
                  </a:lnTo>
                  <a:lnTo>
                    <a:pt x="876" y="2243"/>
                  </a:lnTo>
                  <a:lnTo>
                    <a:pt x="1184" y="2243"/>
                  </a:lnTo>
                  <a:lnTo>
                    <a:pt x="2107" y="3663"/>
                  </a:lnTo>
                  <a:lnTo>
                    <a:pt x="3184" y="3663"/>
                  </a:lnTo>
                  <a:lnTo>
                    <a:pt x="1961" y="1854"/>
                  </a:lnTo>
                  <a:lnTo>
                    <a:pt x="3202" y="0"/>
                  </a:lnTo>
                  <a:lnTo>
                    <a:pt x="2125" y="0"/>
                  </a:lnTo>
                  <a:lnTo>
                    <a:pt x="1214" y="1468"/>
                  </a:lnTo>
                  <a:lnTo>
                    <a:pt x="876" y="1468"/>
                  </a:lnTo>
                  <a:lnTo>
                    <a:pt x="876" y="0"/>
                  </a:ln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276" u="sng">
                <a:solidFill>
                  <a:srgbClr val="000000"/>
                </a:solidFill>
                <a:latin typeface="Arial" charset="0"/>
                <a:cs typeface="Arial"/>
              </a:endParaRPr>
            </a:p>
          </p:txBody>
        </p:sp>
        <p:sp>
          <p:nvSpPr>
            <p:cNvPr id="1041" name="Freeform 65"/>
            <p:cNvSpPr>
              <a:spLocks/>
            </p:cNvSpPr>
            <p:nvPr userDrawn="1"/>
          </p:nvSpPr>
          <p:spPr bwMode="auto">
            <a:xfrm>
              <a:off x="5207" y="344"/>
              <a:ext cx="53" cy="69"/>
            </a:xfrm>
            <a:custGeom>
              <a:avLst/>
              <a:gdLst>
                <a:gd name="T0" fmla="*/ 0 w 1062"/>
                <a:gd name="T1" fmla="*/ 0 h 1367"/>
                <a:gd name="T2" fmla="*/ 0 w 1062"/>
                <a:gd name="T3" fmla="*/ 0 h 1367"/>
                <a:gd name="T4" fmla="*/ 0 w 1062"/>
                <a:gd name="T5" fmla="*/ 0 h 1367"/>
                <a:gd name="T6" fmla="*/ 0 w 1062"/>
                <a:gd name="T7" fmla="*/ 0 h 1367"/>
                <a:gd name="T8" fmla="*/ 0 w 1062"/>
                <a:gd name="T9" fmla="*/ 0 h 1367"/>
                <a:gd name="T10" fmla="*/ 0 w 1062"/>
                <a:gd name="T11" fmla="*/ 0 h 1367"/>
                <a:gd name="T12" fmla="*/ 0 w 1062"/>
                <a:gd name="T13" fmla="*/ 0 h 1367"/>
                <a:gd name="T14" fmla="*/ 0 w 1062"/>
                <a:gd name="T15" fmla="*/ 0 h 1367"/>
                <a:gd name="T16" fmla="*/ 0 w 1062"/>
                <a:gd name="T17" fmla="*/ 0 h 1367"/>
                <a:gd name="T18" fmla="*/ 0 w 1062"/>
                <a:gd name="T19" fmla="*/ 0 h 1367"/>
                <a:gd name="T20" fmla="*/ 0 w 1062"/>
                <a:gd name="T21" fmla="*/ 0 h 1367"/>
                <a:gd name="T22" fmla="*/ 0 w 1062"/>
                <a:gd name="T23" fmla="*/ 0 h 1367"/>
                <a:gd name="T24" fmla="*/ 0 w 1062"/>
                <a:gd name="T25" fmla="*/ 0 h 1367"/>
                <a:gd name="T26" fmla="*/ 0 w 1062"/>
                <a:gd name="T27" fmla="*/ 0 h 1367"/>
                <a:gd name="T28" fmla="*/ 0 w 1062"/>
                <a:gd name="T29" fmla="*/ 0 h 1367"/>
                <a:gd name="T30" fmla="*/ 0 w 1062"/>
                <a:gd name="T31" fmla="*/ 0 h 1367"/>
                <a:gd name="T32" fmla="*/ 0 w 1062"/>
                <a:gd name="T33" fmla="*/ 0 h 1367"/>
                <a:gd name="T34" fmla="*/ 0 w 1062"/>
                <a:gd name="T35" fmla="*/ 0 h 1367"/>
                <a:gd name="T36" fmla="*/ 0 w 1062"/>
                <a:gd name="T37" fmla="*/ 0 h 1367"/>
                <a:gd name="T38" fmla="*/ 0 w 1062"/>
                <a:gd name="T39" fmla="*/ 0 h 1367"/>
                <a:gd name="T40" fmla="*/ 0 w 1062"/>
                <a:gd name="T41" fmla="*/ 0 h 1367"/>
                <a:gd name="T42" fmla="*/ 0 w 1062"/>
                <a:gd name="T43" fmla="*/ 0 h 1367"/>
                <a:gd name="T44" fmla="*/ 0 w 1062"/>
                <a:gd name="T45" fmla="*/ 0 h 1367"/>
                <a:gd name="T46" fmla="*/ 0 w 1062"/>
                <a:gd name="T47" fmla="*/ 0 h 1367"/>
                <a:gd name="T48" fmla="*/ 0 w 1062"/>
                <a:gd name="T49" fmla="*/ 0 h 1367"/>
                <a:gd name="T50" fmla="*/ 0 w 1062"/>
                <a:gd name="T51" fmla="*/ 0 h 1367"/>
                <a:gd name="T52" fmla="*/ 0 w 1062"/>
                <a:gd name="T53" fmla="*/ 0 h 1367"/>
                <a:gd name="T54" fmla="*/ 0 w 1062"/>
                <a:gd name="T55" fmla="*/ 0 h 1367"/>
                <a:gd name="T56" fmla="*/ 0 w 1062"/>
                <a:gd name="T57" fmla="*/ 0 h 1367"/>
                <a:gd name="T58" fmla="*/ 0 w 1062"/>
                <a:gd name="T59" fmla="*/ 0 h 1367"/>
                <a:gd name="T60" fmla="*/ 0 w 1062"/>
                <a:gd name="T61" fmla="*/ 0 h 1367"/>
                <a:gd name="T62" fmla="*/ 0 w 1062"/>
                <a:gd name="T63" fmla="*/ 0 h 1367"/>
                <a:gd name="T64" fmla="*/ 0 w 1062"/>
                <a:gd name="T65" fmla="*/ 0 h 1367"/>
                <a:gd name="T66" fmla="*/ 0 w 1062"/>
                <a:gd name="T67" fmla="*/ 0 h 1367"/>
                <a:gd name="T68" fmla="*/ 0 w 1062"/>
                <a:gd name="T69" fmla="*/ 0 h 1367"/>
                <a:gd name="T70" fmla="*/ 0 w 1062"/>
                <a:gd name="T71" fmla="*/ 0 h 1367"/>
                <a:gd name="T72" fmla="*/ 0 w 1062"/>
                <a:gd name="T73" fmla="*/ 0 h 1367"/>
                <a:gd name="T74" fmla="*/ 0 w 1062"/>
                <a:gd name="T75" fmla="*/ 0 h 1367"/>
                <a:gd name="T76" fmla="*/ 0 w 1062"/>
                <a:gd name="T77" fmla="*/ 0 h 1367"/>
                <a:gd name="T78" fmla="*/ 0 w 1062"/>
                <a:gd name="T79" fmla="*/ 0 h 1367"/>
                <a:gd name="T80" fmla="*/ 0 w 1062"/>
                <a:gd name="T81" fmla="*/ 0 h 1367"/>
                <a:gd name="T82" fmla="*/ 0 w 1062"/>
                <a:gd name="T83" fmla="*/ 0 h 1367"/>
                <a:gd name="T84" fmla="*/ 0 w 1062"/>
                <a:gd name="T85" fmla="*/ 0 h 1367"/>
                <a:gd name="T86" fmla="*/ 0 w 1062"/>
                <a:gd name="T87" fmla="*/ 0 h 1367"/>
                <a:gd name="T88" fmla="*/ 0 w 1062"/>
                <a:gd name="T89" fmla="*/ 0 h 1367"/>
                <a:gd name="T90" fmla="*/ 0 w 1062"/>
                <a:gd name="T91" fmla="*/ 0 h 1367"/>
                <a:gd name="T92" fmla="*/ 0 w 1062"/>
                <a:gd name="T93" fmla="*/ 0 h 1367"/>
                <a:gd name="T94" fmla="*/ 0 w 1062"/>
                <a:gd name="T95" fmla="*/ 0 h 1367"/>
                <a:gd name="T96" fmla="*/ 0 w 1062"/>
                <a:gd name="T97" fmla="*/ 0 h 1367"/>
                <a:gd name="T98" fmla="*/ 0 w 1062"/>
                <a:gd name="T99" fmla="*/ 0 h 1367"/>
                <a:gd name="T100" fmla="*/ 0 w 1062"/>
                <a:gd name="T101" fmla="*/ 0 h 1367"/>
                <a:gd name="T102" fmla="*/ 0 w 1062"/>
                <a:gd name="T103" fmla="*/ 0 h 1367"/>
                <a:gd name="T104" fmla="*/ 0 w 1062"/>
                <a:gd name="T105" fmla="*/ 0 h 1367"/>
                <a:gd name="T106" fmla="*/ 0 w 1062"/>
                <a:gd name="T107" fmla="*/ 0 h 1367"/>
                <a:gd name="T108" fmla="*/ 0 w 1062"/>
                <a:gd name="T109" fmla="*/ 0 h 1367"/>
                <a:gd name="T110" fmla="*/ 0 w 1062"/>
                <a:gd name="T111" fmla="*/ 0 h 1367"/>
                <a:gd name="T112" fmla="*/ 0 w 1062"/>
                <a:gd name="T113" fmla="*/ 0 h 1367"/>
                <a:gd name="T114" fmla="*/ 0 w 1062"/>
                <a:gd name="T115" fmla="*/ 0 h 1367"/>
                <a:gd name="T116" fmla="*/ 0 w 1062"/>
                <a:gd name="T117" fmla="*/ 0 h 1367"/>
                <a:gd name="T118" fmla="*/ 0 w 1062"/>
                <a:gd name="T119" fmla="*/ 0 h 1367"/>
                <a:gd name="T120" fmla="*/ 0 w 1062"/>
                <a:gd name="T121" fmla="*/ 0 h 136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062" h="1367">
                  <a:moveTo>
                    <a:pt x="0" y="1025"/>
                  </a:moveTo>
                  <a:lnTo>
                    <a:pt x="4" y="1040"/>
                  </a:lnTo>
                  <a:lnTo>
                    <a:pt x="8" y="1053"/>
                  </a:lnTo>
                  <a:lnTo>
                    <a:pt x="12" y="1067"/>
                  </a:lnTo>
                  <a:lnTo>
                    <a:pt x="17" y="1080"/>
                  </a:lnTo>
                  <a:lnTo>
                    <a:pt x="22" y="1094"/>
                  </a:lnTo>
                  <a:lnTo>
                    <a:pt x="28" y="1107"/>
                  </a:lnTo>
                  <a:lnTo>
                    <a:pt x="34" y="1120"/>
                  </a:lnTo>
                  <a:lnTo>
                    <a:pt x="41" y="1133"/>
                  </a:lnTo>
                  <a:lnTo>
                    <a:pt x="51" y="1150"/>
                  </a:lnTo>
                  <a:lnTo>
                    <a:pt x="62" y="1165"/>
                  </a:lnTo>
                  <a:lnTo>
                    <a:pt x="73" y="1180"/>
                  </a:lnTo>
                  <a:lnTo>
                    <a:pt x="86" y="1195"/>
                  </a:lnTo>
                  <a:lnTo>
                    <a:pt x="99" y="1209"/>
                  </a:lnTo>
                  <a:lnTo>
                    <a:pt x="112" y="1223"/>
                  </a:lnTo>
                  <a:lnTo>
                    <a:pt x="126" y="1236"/>
                  </a:lnTo>
                  <a:lnTo>
                    <a:pt x="141" y="1248"/>
                  </a:lnTo>
                  <a:lnTo>
                    <a:pt x="155" y="1259"/>
                  </a:lnTo>
                  <a:lnTo>
                    <a:pt x="169" y="1270"/>
                  </a:lnTo>
                  <a:lnTo>
                    <a:pt x="186" y="1281"/>
                  </a:lnTo>
                  <a:lnTo>
                    <a:pt x="203" y="1291"/>
                  </a:lnTo>
                  <a:lnTo>
                    <a:pt x="221" y="1301"/>
                  </a:lnTo>
                  <a:lnTo>
                    <a:pt x="242" y="1311"/>
                  </a:lnTo>
                  <a:lnTo>
                    <a:pt x="263" y="1321"/>
                  </a:lnTo>
                  <a:lnTo>
                    <a:pt x="287" y="1330"/>
                  </a:lnTo>
                  <a:lnTo>
                    <a:pt x="312" y="1338"/>
                  </a:lnTo>
                  <a:lnTo>
                    <a:pt x="339" y="1345"/>
                  </a:lnTo>
                  <a:lnTo>
                    <a:pt x="366" y="1352"/>
                  </a:lnTo>
                  <a:lnTo>
                    <a:pt x="397" y="1357"/>
                  </a:lnTo>
                  <a:lnTo>
                    <a:pt x="429" y="1361"/>
                  </a:lnTo>
                  <a:lnTo>
                    <a:pt x="463" y="1365"/>
                  </a:lnTo>
                  <a:lnTo>
                    <a:pt x="500" y="1367"/>
                  </a:lnTo>
                  <a:lnTo>
                    <a:pt x="539" y="1367"/>
                  </a:lnTo>
                  <a:lnTo>
                    <a:pt x="562" y="1367"/>
                  </a:lnTo>
                  <a:lnTo>
                    <a:pt x="584" y="1366"/>
                  </a:lnTo>
                  <a:lnTo>
                    <a:pt x="607" y="1365"/>
                  </a:lnTo>
                  <a:lnTo>
                    <a:pt x="628" y="1363"/>
                  </a:lnTo>
                  <a:lnTo>
                    <a:pt x="650" y="1360"/>
                  </a:lnTo>
                  <a:lnTo>
                    <a:pt x="669" y="1357"/>
                  </a:lnTo>
                  <a:lnTo>
                    <a:pt x="690" y="1354"/>
                  </a:lnTo>
                  <a:lnTo>
                    <a:pt x="708" y="1350"/>
                  </a:lnTo>
                  <a:lnTo>
                    <a:pt x="726" y="1346"/>
                  </a:lnTo>
                  <a:lnTo>
                    <a:pt x="745" y="1341"/>
                  </a:lnTo>
                  <a:lnTo>
                    <a:pt x="762" y="1336"/>
                  </a:lnTo>
                  <a:lnTo>
                    <a:pt x="778" y="1330"/>
                  </a:lnTo>
                  <a:lnTo>
                    <a:pt x="795" y="1325"/>
                  </a:lnTo>
                  <a:lnTo>
                    <a:pt x="810" y="1318"/>
                  </a:lnTo>
                  <a:lnTo>
                    <a:pt x="825" y="1311"/>
                  </a:lnTo>
                  <a:lnTo>
                    <a:pt x="839" y="1304"/>
                  </a:lnTo>
                  <a:lnTo>
                    <a:pt x="866" y="1290"/>
                  </a:lnTo>
                  <a:lnTo>
                    <a:pt x="890" y="1275"/>
                  </a:lnTo>
                  <a:lnTo>
                    <a:pt x="913" y="1260"/>
                  </a:lnTo>
                  <a:lnTo>
                    <a:pt x="933" y="1243"/>
                  </a:lnTo>
                  <a:lnTo>
                    <a:pt x="952" y="1227"/>
                  </a:lnTo>
                  <a:lnTo>
                    <a:pt x="968" y="1210"/>
                  </a:lnTo>
                  <a:lnTo>
                    <a:pt x="982" y="1193"/>
                  </a:lnTo>
                  <a:lnTo>
                    <a:pt x="995" y="1177"/>
                  </a:lnTo>
                  <a:lnTo>
                    <a:pt x="1005" y="1162"/>
                  </a:lnTo>
                  <a:lnTo>
                    <a:pt x="1016" y="1143"/>
                  </a:lnTo>
                  <a:lnTo>
                    <a:pt x="1027" y="1120"/>
                  </a:lnTo>
                  <a:lnTo>
                    <a:pt x="1037" y="1094"/>
                  </a:lnTo>
                  <a:lnTo>
                    <a:pt x="1042" y="1079"/>
                  </a:lnTo>
                  <a:lnTo>
                    <a:pt x="1048" y="1064"/>
                  </a:lnTo>
                  <a:lnTo>
                    <a:pt x="1052" y="1047"/>
                  </a:lnTo>
                  <a:lnTo>
                    <a:pt x="1055" y="1029"/>
                  </a:lnTo>
                  <a:lnTo>
                    <a:pt x="1058" y="1011"/>
                  </a:lnTo>
                  <a:lnTo>
                    <a:pt x="1060" y="993"/>
                  </a:lnTo>
                  <a:lnTo>
                    <a:pt x="1062" y="972"/>
                  </a:lnTo>
                  <a:lnTo>
                    <a:pt x="1062" y="952"/>
                  </a:lnTo>
                  <a:lnTo>
                    <a:pt x="1062" y="931"/>
                  </a:lnTo>
                  <a:lnTo>
                    <a:pt x="1060" y="910"/>
                  </a:lnTo>
                  <a:lnTo>
                    <a:pt x="1058" y="889"/>
                  </a:lnTo>
                  <a:lnTo>
                    <a:pt x="1054" y="869"/>
                  </a:lnTo>
                  <a:lnTo>
                    <a:pt x="1049" y="849"/>
                  </a:lnTo>
                  <a:lnTo>
                    <a:pt x="1043" y="829"/>
                  </a:lnTo>
                  <a:lnTo>
                    <a:pt x="1036" y="809"/>
                  </a:lnTo>
                  <a:lnTo>
                    <a:pt x="1028" y="790"/>
                  </a:lnTo>
                  <a:lnTo>
                    <a:pt x="1019" y="772"/>
                  </a:lnTo>
                  <a:lnTo>
                    <a:pt x="1009" y="755"/>
                  </a:lnTo>
                  <a:lnTo>
                    <a:pt x="998" y="737"/>
                  </a:lnTo>
                  <a:lnTo>
                    <a:pt x="985" y="720"/>
                  </a:lnTo>
                  <a:lnTo>
                    <a:pt x="972" y="705"/>
                  </a:lnTo>
                  <a:lnTo>
                    <a:pt x="958" y="689"/>
                  </a:lnTo>
                  <a:lnTo>
                    <a:pt x="941" y="675"/>
                  </a:lnTo>
                  <a:lnTo>
                    <a:pt x="925" y="662"/>
                  </a:lnTo>
                  <a:lnTo>
                    <a:pt x="903" y="647"/>
                  </a:lnTo>
                  <a:lnTo>
                    <a:pt x="879" y="632"/>
                  </a:lnTo>
                  <a:lnTo>
                    <a:pt x="856" y="621"/>
                  </a:lnTo>
                  <a:lnTo>
                    <a:pt x="830" y="610"/>
                  </a:lnTo>
                  <a:lnTo>
                    <a:pt x="805" y="601"/>
                  </a:lnTo>
                  <a:lnTo>
                    <a:pt x="779" y="593"/>
                  </a:lnTo>
                  <a:lnTo>
                    <a:pt x="753" y="584"/>
                  </a:lnTo>
                  <a:lnTo>
                    <a:pt x="726" y="577"/>
                  </a:lnTo>
                  <a:lnTo>
                    <a:pt x="708" y="572"/>
                  </a:lnTo>
                  <a:lnTo>
                    <a:pt x="690" y="566"/>
                  </a:lnTo>
                  <a:lnTo>
                    <a:pt x="671" y="562"/>
                  </a:lnTo>
                  <a:lnTo>
                    <a:pt x="653" y="557"/>
                  </a:lnTo>
                  <a:lnTo>
                    <a:pt x="634" y="552"/>
                  </a:lnTo>
                  <a:lnTo>
                    <a:pt x="616" y="548"/>
                  </a:lnTo>
                  <a:lnTo>
                    <a:pt x="598" y="543"/>
                  </a:lnTo>
                  <a:lnTo>
                    <a:pt x="580" y="538"/>
                  </a:lnTo>
                  <a:lnTo>
                    <a:pt x="542" y="529"/>
                  </a:lnTo>
                  <a:lnTo>
                    <a:pt x="508" y="521"/>
                  </a:lnTo>
                  <a:lnTo>
                    <a:pt x="478" y="515"/>
                  </a:lnTo>
                  <a:lnTo>
                    <a:pt x="454" y="508"/>
                  </a:lnTo>
                  <a:lnTo>
                    <a:pt x="430" y="501"/>
                  </a:lnTo>
                  <a:lnTo>
                    <a:pt x="411" y="493"/>
                  </a:lnTo>
                  <a:lnTo>
                    <a:pt x="401" y="489"/>
                  </a:lnTo>
                  <a:lnTo>
                    <a:pt x="392" y="483"/>
                  </a:lnTo>
                  <a:lnTo>
                    <a:pt x="383" y="477"/>
                  </a:lnTo>
                  <a:lnTo>
                    <a:pt x="373" y="470"/>
                  </a:lnTo>
                  <a:lnTo>
                    <a:pt x="364" y="463"/>
                  </a:lnTo>
                  <a:lnTo>
                    <a:pt x="356" y="455"/>
                  </a:lnTo>
                  <a:lnTo>
                    <a:pt x="348" y="447"/>
                  </a:lnTo>
                  <a:lnTo>
                    <a:pt x="342" y="439"/>
                  </a:lnTo>
                  <a:lnTo>
                    <a:pt x="336" y="432"/>
                  </a:lnTo>
                  <a:lnTo>
                    <a:pt x="330" y="424"/>
                  </a:lnTo>
                  <a:lnTo>
                    <a:pt x="326" y="415"/>
                  </a:lnTo>
                  <a:lnTo>
                    <a:pt x="322" y="408"/>
                  </a:lnTo>
                  <a:lnTo>
                    <a:pt x="317" y="393"/>
                  </a:lnTo>
                  <a:lnTo>
                    <a:pt x="313" y="380"/>
                  </a:lnTo>
                  <a:lnTo>
                    <a:pt x="311" y="368"/>
                  </a:lnTo>
                  <a:lnTo>
                    <a:pt x="310" y="358"/>
                  </a:lnTo>
                  <a:lnTo>
                    <a:pt x="310" y="351"/>
                  </a:lnTo>
                  <a:lnTo>
                    <a:pt x="311" y="343"/>
                  </a:lnTo>
                  <a:lnTo>
                    <a:pt x="312" y="334"/>
                  </a:lnTo>
                  <a:lnTo>
                    <a:pt x="314" y="324"/>
                  </a:lnTo>
                  <a:lnTo>
                    <a:pt x="318" y="313"/>
                  </a:lnTo>
                  <a:lnTo>
                    <a:pt x="323" y="300"/>
                  </a:lnTo>
                  <a:lnTo>
                    <a:pt x="329" y="288"/>
                  </a:lnTo>
                  <a:lnTo>
                    <a:pt x="338" y="276"/>
                  </a:lnTo>
                  <a:lnTo>
                    <a:pt x="342" y="270"/>
                  </a:lnTo>
                  <a:lnTo>
                    <a:pt x="347" y="264"/>
                  </a:lnTo>
                  <a:lnTo>
                    <a:pt x="352" y="259"/>
                  </a:lnTo>
                  <a:lnTo>
                    <a:pt x="357" y="253"/>
                  </a:lnTo>
                  <a:lnTo>
                    <a:pt x="363" y="247"/>
                  </a:lnTo>
                  <a:lnTo>
                    <a:pt x="368" y="243"/>
                  </a:lnTo>
                  <a:lnTo>
                    <a:pt x="374" y="238"/>
                  </a:lnTo>
                  <a:lnTo>
                    <a:pt x="381" y="234"/>
                  </a:lnTo>
                  <a:lnTo>
                    <a:pt x="392" y="228"/>
                  </a:lnTo>
                  <a:lnTo>
                    <a:pt x="404" y="223"/>
                  </a:lnTo>
                  <a:lnTo>
                    <a:pt x="416" y="218"/>
                  </a:lnTo>
                  <a:lnTo>
                    <a:pt x="428" y="214"/>
                  </a:lnTo>
                  <a:lnTo>
                    <a:pt x="454" y="207"/>
                  </a:lnTo>
                  <a:lnTo>
                    <a:pt x="478" y="203"/>
                  </a:lnTo>
                  <a:lnTo>
                    <a:pt x="501" y="200"/>
                  </a:lnTo>
                  <a:lnTo>
                    <a:pt x="520" y="198"/>
                  </a:lnTo>
                  <a:lnTo>
                    <a:pt x="534" y="197"/>
                  </a:lnTo>
                  <a:lnTo>
                    <a:pt x="543" y="197"/>
                  </a:lnTo>
                  <a:lnTo>
                    <a:pt x="559" y="198"/>
                  </a:lnTo>
                  <a:lnTo>
                    <a:pt x="574" y="198"/>
                  </a:lnTo>
                  <a:lnTo>
                    <a:pt x="591" y="200"/>
                  </a:lnTo>
                  <a:lnTo>
                    <a:pt x="606" y="202"/>
                  </a:lnTo>
                  <a:lnTo>
                    <a:pt x="621" y="205"/>
                  </a:lnTo>
                  <a:lnTo>
                    <a:pt x="636" y="209"/>
                  </a:lnTo>
                  <a:lnTo>
                    <a:pt x="652" y="213"/>
                  </a:lnTo>
                  <a:lnTo>
                    <a:pt x="666" y="219"/>
                  </a:lnTo>
                  <a:lnTo>
                    <a:pt x="680" y="225"/>
                  </a:lnTo>
                  <a:lnTo>
                    <a:pt x="694" y="232"/>
                  </a:lnTo>
                  <a:lnTo>
                    <a:pt x="706" y="241"/>
                  </a:lnTo>
                  <a:lnTo>
                    <a:pt x="718" y="251"/>
                  </a:lnTo>
                  <a:lnTo>
                    <a:pt x="730" y="261"/>
                  </a:lnTo>
                  <a:lnTo>
                    <a:pt x="741" y="273"/>
                  </a:lnTo>
                  <a:lnTo>
                    <a:pt x="751" y="286"/>
                  </a:lnTo>
                  <a:lnTo>
                    <a:pt x="760" y="299"/>
                  </a:lnTo>
                  <a:lnTo>
                    <a:pt x="762" y="302"/>
                  </a:lnTo>
                  <a:lnTo>
                    <a:pt x="764" y="307"/>
                  </a:lnTo>
                  <a:lnTo>
                    <a:pt x="767" y="312"/>
                  </a:lnTo>
                  <a:lnTo>
                    <a:pt x="770" y="317"/>
                  </a:lnTo>
                  <a:lnTo>
                    <a:pt x="773" y="323"/>
                  </a:lnTo>
                  <a:lnTo>
                    <a:pt x="776" y="330"/>
                  </a:lnTo>
                  <a:lnTo>
                    <a:pt x="779" y="337"/>
                  </a:lnTo>
                  <a:lnTo>
                    <a:pt x="782" y="345"/>
                  </a:lnTo>
                  <a:lnTo>
                    <a:pt x="796" y="342"/>
                  </a:lnTo>
                  <a:lnTo>
                    <a:pt x="808" y="339"/>
                  </a:lnTo>
                  <a:lnTo>
                    <a:pt x="821" y="336"/>
                  </a:lnTo>
                  <a:lnTo>
                    <a:pt x="834" y="333"/>
                  </a:lnTo>
                  <a:lnTo>
                    <a:pt x="847" y="331"/>
                  </a:lnTo>
                  <a:lnTo>
                    <a:pt x="859" y="327"/>
                  </a:lnTo>
                  <a:lnTo>
                    <a:pt x="872" y="324"/>
                  </a:lnTo>
                  <a:lnTo>
                    <a:pt x="884" y="321"/>
                  </a:lnTo>
                  <a:lnTo>
                    <a:pt x="900" y="317"/>
                  </a:lnTo>
                  <a:lnTo>
                    <a:pt x="915" y="313"/>
                  </a:lnTo>
                  <a:lnTo>
                    <a:pt x="929" y="308"/>
                  </a:lnTo>
                  <a:lnTo>
                    <a:pt x="945" y="303"/>
                  </a:lnTo>
                  <a:lnTo>
                    <a:pt x="960" y="299"/>
                  </a:lnTo>
                  <a:lnTo>
                    <a:pt x="974" y="294"/>
                  </a:lnTo>
                  <a:lnTo>
                    <a:pt x="989" y="290"/>
                  </a:lnTo>
                  <a:lnTo>
                    <a:pt x="1004" y="285"/>
                  </a:lnTo>
                  <a:lnTo>
                    <a:pt x="1003" y="280"/>
                  </a:lnTo>
                  <a:lnTo>
                    <a:pt x="1001" y="274"/>
                  </a:lnTo>
                  <a:lnTo>
                    <a:pt x="998" y="265"/>
                  </a:lnTo>
                  <a:lnTo>
                    <a:pt x="995" y="255"/>
                  </a:lnTo>
                  <a:lnTo>
                    <a:pt x="990" y="244"/>
                  </a:lnTo>
                  <a:lnTo>
                    <a:pt x="984" y="232"/>
                  </a:lnTo>
                  <a:lnTo>
                    <a:pt x="979" y="220"/>
                  </a:lnTo>
                  <a:lnTo>
                    <a:pt x="972" y="208"/>
                  </a:lnTo>
                  <a:lnTo>
                    <a:pt x="962" y="191"/>
                  </a:lnTo>
                  <a:lnTo>
                    <a:pt x="951" y="176"/>
                  </a:lnTo>
                  <a:lnTo>
                    <a:pt x="938" y="162"/>
                  </a:lnTo>
                  <a:lnTo>
                    <a:pt x="927" y="150"/>
                  </a:lnTo>
                  <a:lnTo>
                    <a:pt x="916" y="139"/>
                  </a:lnTo>
                  <a:lnTo>
                    <a:pt x="906" y="129"/>
                  </a:lnTo>
                  <a:lnTo>
                    <a:pt x="898" y="121"/>
                  </a:lnTo>
                  <a:lnTo>
                    <a:pt x="891" y="116"/>
                  </a:lnTo>
                  <a:lnTo>
                    <a:pt x="879" y="106"/>
                  </a:lnTo>
                  <a:lnTo>
                    <a:pt x="866" y="96"/>
                  </a:lnTo>
                  <a:lnTo>
                    <a:pt x="853" y="87"/>
                  </a:lnTo>
                  <a:lnTo>
                    <a:pt x="840" y="78"/>
                  </a:lnTo>
                  <a:lnTo>
                    <a:pt x="814" y="63"/>
                  </a:lnTo>
                  <a:lnTo>
                    <a:pt x="788" y="50"/>
                  </a:lnTo>
                  <a:lnTo>
                    <a:pt x="762" y="39"/>
                  </a:lnTo>
                  <a:lnTo>
                    <a:pt x="736" y="30"/>
                  </a:lnTo>
                  <a:lnTo>
                    <a:pt x="711" y="21"/>
                  </a:lnTo>
                  <a:lnTo>
                    <a:pt x="686" y="15"/>
                  </a:lnTo>
                  <a:lnTo>
                    <a:pt x="663" y="10"/>
                  </a:lnTo>
                  <a:lnTo>
                    <a:pt x="641" y="7"/>
                  </a:lnTo>
                  <a:lnTo>
                    <a:pt x="619" y="4"/>
                  </a:lnTo>
                  <a:lnTo>
                    <a:pt x="600" y="2"/>
                  </a:lnTo>
                  <a:lnTo>
                    <a:pt x="565" y="0"/>
                  </a:lnTo>
                  <a:lnTo>
                    <a:pt x="539" y="0"/>
                  </a:lnTo>
                  <a:lnTo>
                    <a:pt x="516" y="0"/>
                  </a:lnTo>
                  <a:lnTo>
                    <a:pt x="496" y="1"/>
                  </a:lnTo>
                  <a:lnTo>
                    <a:pt x="474" y="3"/>
                  </a:lnTo>
                  <a:lnTo>
                    <a:pt x="455" y="5"/>
                  </a:lnTo>
                  <a:lnTo>
                    <a:pt x="435" y="8"/>
                  </a:lnTo>
                  <a:lnTo>
                    <a:pt x="416" y="11"/>
                  </a:lnTo>
                  <a:lnTo>
                    <a:pt x="398" y="14"/>
                  </a:lnTo>
                  <a:lnTo>
                    <a:pt x="380" y="18"/>
                  </a:lnTo>
                  <a:lnTo>
                    <a:pt x="363" y="23"/>
                  </a:lnTo>
                  <a:lnTo>
                    <a:pt x="347" y="29"/>
                  </a:lnTo>
                  <a:lnTo>
                    <a:pt x="332" y="34"/>
                  </a:lnTo>
                  <a:lnTo>
                    <a:pt x="316" y="40"/>
                  </a:lnTo>
                  <a:lnTo>
                    <a:pt x="287" y="52"/>
                  </a:lnTo>
                  <a:lnTo>
                    <a:pt x="260" y="65"/>
                  </a:lnTo>
                  <a:lnTo>
                    <a:pt x="237" y="80"/>
                  </a:lnTo>
                  <a:lnTo>
                    <a:pt x="214" y="96"/>
                  </a:lnTo>
                  <a:lnTo>
                    <a:pt x="194" y="112"/>
                  </a:lnTo>
                  <a:lnTo>
                    <a:pt x="175" y="128"/>
                  </a:lnTo>
                  <a:lnTo>
                    <a:pt x="159" y="145"/>
                  </a:lnTo>
                  <a:lnTo>
                    <a:pt x="145" y="161"/>
                  </a:lnTo>
                  <a:lnTo>
                    <a:pt x="133" y="177"/>
                  </a:lnTo>
                  <a:lnTo>
                    <a:pt x="122" y="193"/>
                  </a:lnTo>
                  <a:lnTo>
                    <a:pt x="112" y="209"/>
                  </a:lnTo>
                  <a:lnTo>
                    <a:pt x="104" y="225"/>
                  </a:lnTo>
                  <a:lnTo>
                    <a:pt x="97" y="241"/>
                  </a:lnTo>
                  <a:lnTo>
                    <a:pt x="91" y="257"/>
                  </a:lnTo>
                  <a:lnTo>
                    <a:pt x="86" y="273"/>
                  </a:lnTo>
                  <a:lnTo>
                    <a:pt x="81" y="288"/>
                  </a:lnTo>
                  <a:lnTo>
                    <a:pt x="78" y="302"/>
                  </a:lnTo>
                  <a:lnTo>
                    <a:pt x="74" y="318"/>
                  </a:lnTo>
                  <a:lnTo>
                    <a:pt x="69" y="344"/>
                  </a:lnTo>
                  <a:lnTo>
                    <a:pt x="67" y="369"/>
                  </a:lnTo>
                  <a:lnTo>
                    <a:pt x="66" y="389"/>
                  </a:lnTo>
                  <a:lnTo>
                    <a:pt x="65" y="404"/>
                  </a:lnTo>
                  <a:lnTo>
                    <a:pt x="66" y="424"/>
                  </a:lnTo>
                  <a:lnTo>
                    <a:pt x="67" y="447"/>
                  </a:lnTo>
                  <a:lnTo>
                    <a:pt x="69" y="460"/>
                  </a:lnTo>
                  <a:lnTo>
                    <a:pt x="71" y="473"/>
                  </a:lnTo>
                  <a:lnTo>
                    <a:pt x="74" y="489"/>
                  </a:lnTo>
                  <a:lnTo>
                    <a:pt x="79" y="503"/>
                  </a:lnTo>
                  <a:lnTo>
                    <a:pt x="84" y="519"/>
                  </a:lnTo>
                  <a:lnTo>
                    <a:pt x="90" y="536"/>
                  </a:lnTo>
                  <a:lnTo>
                    <a:pt x="97" y="552"/>
                  </a:lnTo>
                  <a:lnTo>
                    <a:pt x="105" y="568"/>
                  </a:lnTo>
                  <a:lnTo>
                    <a:pt x="115" y="585"/>
                  </a:lnTo>
                  <a:lnTo>
                    <a:pt x="126" y="603"/>
                  </a:lnTo>
                  <a:lnTo>
                    <a:pt x="139" y="620"/>
                  </a:lnTo>
                  <a:lnTo>
                    <a:pt x="154" y="637"/>
                  </a:lnTo>
                  <a:lnTo>
                    <a:pt x="165" y="650"/>
                  </a:lnTo>
                  <a:lnTo>
                    <a:pt x="177" y="660"/>
                  </a:lnTo>
                  <a:lnTo>
                    <a:pt x="189" y="670"/>
                  </a:lnTo>
                  <a:lnTo>
                    <a:pt x="200" y="679"/>
                  </a:lnTo>
                  <a:lnTo>
                    <a:pt x="211" y="687"/>
                  </a:lnTo>
                  <a:lnTo>
                    <a:pt x="221" y="695"/>
                  </a:lnTo>
                  <a:lnTo>
                    <a:pt x="232" y="702"/>
                  </a:lnTo>
                  <a:lnTo>
                    <a:pt x="243" y="708"/>
                  </a:lnTo>
                  <a:lnTo>
                    <a:pt x="262" y="718"/>
                  </a:lnTo>
                  <a:lnTo>
                    <a:pt x="279" y="726"/>
                  </a:lnTo>
                  <a:lnTo>
                    <a:pt x="296" y="732"/>
                  </a:lnTo>
                  <a:lnTo>
                    <a:pt x="310" y="736"/>
                  </a:lnTo>
                  <a:lnTo>
                    <a:pt x="317" y="738"/>
                  </a:lnTo>
                  <a:lnTo>
                    <a:pt x="325" y="740"/>
                  </a:lnTo>
                  <a:lnTo>
                    <a:pt x="333" y="743"/>
                  </a:lnTo>
                  <a:lnTo>
                    <a:pt x="341" y="745"/>
                  </a:lnTo>
                  <a:lnTo>
                    <a:pt x="349" y="747"/>
                  </a:lnTo>
                  <a:lnTo>
                    <a:pt x="357" y="750"/>
                  </a:lnTo>
                  <a:lnTo>
                    <a:pt x="365" y="752"/>
                  </a:lnTo>
                  <a:lnTo>
                    <a:pt x="373" y="756"/>
                  </a:lnTo>
                  <a:lnTo>
                    <a:pt x="389" y="761"/>
                  </a:lnTo>
                  <a:lnTo>
                    <a:pt x="405" y="765"/>
                  </a:lnTo>
                  <a:lnTo>
                    <a:pt x="420" y="770"/>
                  </a:lnTo>
                  <a:lnTo>
                    <a:pt x="437" y="774"/>
                  </a:lnTo>
                  <a:lnTo>
                    <a:pt x="453" y="778"/>
                  </a:lnTo>
                  <a:lnTo>
                    <a:pt x="468" y="782"/>
                  </a:lnTo>
                  <a:lnTo>
                    <a:pt x="485" y="786"/>
                  </a:lnTo>
                  <a:lnTo>
                    <a:pt x="501" y="791"/>
                  </a:lnTo>
                  <a:lnTo>
                    <a:pt x="529" y="797"/>
                  </a:lnTo>
                  <a:lnTo>
                    <a:pt x="561" y="804"/>
                  </a:lnTo>
                  <a:lnTo>
                    <a:pt x="594" y="812"/>
                  </a:lnTo>
                  <a:lnTo>
                    <a:pt x="627" y="820"/>
                  </a:lnTo>
                  <a:lnTo>
                    <a:pt x="660" y="829"/>
                  </a:lnTo>
                  <a:lnTo>
                    <a:pt x="692" y="840"/>
                  </a:lnTo>
                  <a:lnTo>
                    <a:pt x="706" y="846"/>
                  </a:lnTo>
                  <a:lnTo>
                    <a:pt x="720" y="852"/>
                  </a:lnTo>
                  <a:lnTo>
                    <a:pt x="733" y="858"/>
                  </a:lnTo>
                  <a:lnTo>
                    <a:pt x="745" y="866"/>
                  </a:lnTo>
                  <a:lnTo>
                    <a:pt x="755" y="873"/>
                  </a:lnTo>
                  <a:lnTo>
                    <a:pt x="764" y="880"/>
                  </a:lnTo>
                  <a:lnTo>
                    <a:pt x="772" y="888"/>
                  </a:lnTo>
                  <a:lnTo>
                    <a:pt x="779" y="896"/>
                  </a:lnTo>
                  <a:lnTo>
                    <a:pt x="785" y="905"/>
                  </a:lnTo>
                  <a:lnTo>
                    <a:pt x="791" y="913"/>
                  </a:lnTo>
                  <a:lnTo>
                    <a:pt x="795" y="923"/>
                  </a:lnTo>
                  <a:lnTo>
                    <a:pt x="799" y="931"/>
                  </a:lnTo>
                  <a:lnTo>
                    <a:pt x="805" y="947"/>
                  </a:lnTo>
                  <a:lnTo>
                    <a:pt x="808" y="962"/>
                  </a:lnTo>
                  <a:lnTo>
                    <a:pt x="810" y="975"/>
                  </a:lnTo>
                  <a:lnTo>
                    <a:pt x="811" y="986"/>
                  </a:lnTo>
                  <a:lnTo>
                    <a:pt x="811" y="994"/>
                  </a:lnTo>
                  <a:lnTo>
                    <a:pt x="810" y="1004"/>
                  </a:lnTo>
                  <a:lnTo>
                    <a:pt x="808" y="1015"/>
                  </a:lnTo>
                  <a:lnTo>
                    <a:pt x="805" y="1027"/>
                  </a:lnTo>
                  <a:lnTo>
                    <a:pt x="801" y="1041"/>
                  </a:lnTo>
                  <a:lnTo>
                    <a:pt x="795" y="1054"/>
                  </a:lnTo>
                  <a:lnTo>
                    <a:pt x="787" y="1068"/>
                  </a:lnTo>
                  <a:lnTo>
                    <a:pt x="777" y="1083"/>
                  </a:lnTo>
                  <a:lnTo>
                    <a:pt x="770" y="1091"/>
                  </a:lnTo>
                  <a:lnTo>
                    <a:pt x="764" y="1097"/>
                  </a:lnTo>
                  <a:lnTo>
                    <a:pt x="757" y="1103"/>
                  </a:lnTo>
                  <a:lnTo>
                    <a:pt x="750" y="1109"/>
                  </a:lnTo>
                  <a:lnTo>
                    <a:pt x="743" y="1115"/>
                  </a:lnTo>
                  <a:lnTo>
                    <a:pt x="735" y="1120"/>
                  </a:lnTo>
                  <a:lnTo>
                    <a:pt x="728" y="1125"/>
                  </a:lnTo>
                  <a:lnTo>
                    <a:pt x="721" y="1130"/>
                  </a:lnTo>
                  <a:lnTo>
                    <a:pt x="708" y="1136"/>
                  </a:lnTo>
                  <a:lnTo>
                    <a:pt x="696" y="1141"/>
                  </a:lnTo>
                  <a:lnTo>
                    <a:pt x="681" y="1147"/>
                  </a:lnTo>
                  <a:lnTo>
                    <a:pt x="668" y="1151"/>
                  </a:lnTo>
                  <a:lnTo>
                    <a:pt x="641" y="1157"/>
                  </a:lnTo>
                  <a:lnTo>
                    <a:pt x="614" y="1161"/>
                  </a:lnTo>
                  <a:lnTo>
                    <a:pt x="590" y="1164"/>
                  </a:lnTo>
                  <a:lnTo>
                    <a:pt x="569" y="1165"/>
                  </a:lnTo>
                  <a:lnTo>
                    <a:pt x="554" y="1166"/>
                  </a:lnTo>
                  <a:lnTo>
                    <a:pt x="545" y="1166"/>
                  </a:lnTo>
                  <a:lnTo>
                    <a:pt x="514" y="1165"/>
                  </a:lnTo>
                  <a:lnTo>
                    <a:pt x="487" y="1163"/>
                  </a:lnTo>
                  <a:lnTo>
                    <a:pt x="460" y="1160"/>
                  </a:lnTo>
                  <a:lnTo>
                    <a:pt x="436" y="1156"/>
                  </a:lnTo>
                  <a:lnTo>
                    <a:pt x="413" y="1151"/>
                  </a:lnTo>
                  <a:lnTo>
                    <a:pt x="392" y="1144"/>
                  </a:lnTo>
                  <a:lnTo>
                    <a:pt x="372" y="1138"/>
                  </a:lnTo>
                  <a:lnTo>
                    <a:pt x="355" y="1130"/>
                  </a:lnTo>
                  <a:lnTo>
                    <a:pt x="338" y="1122"/>
                  </a:lnTo>
                  <a:lnTo>
                    <a:pt x="323" y="1113"/>
                  </a:lnTo>
                  <a:lnTo>
                    <a:pt x="309" y="1103"/>
                  </a:lnTo>
                  <a:lnTo>
                    <a:pt x="297" y="1093"/>
                  </a:lnTo>
                  <a:lnTo>
                    <a:pt x="286" y="1082"/>
                  </a:lnTo>
                  <a:lnTo>
                    <a:pt x="275" y="1071"/>
                  </a:lnTo>
                  <a:lnTo>
                    <a:pt x="267" y="1059"/>
                  </a:lnTo>
                  <a:lnTo>
                    <a:pt x="259" y="1048"/>
                  </a:lnTo>
                  <a:lnTo>
                    <a:pt x="254" y="1040"/>
                  </a:lnTo>
                  <a:lnTo>
                    <a:pt x="249" y="1031"/>
                  </a:lnTo>
                  <a:lnTo>
                    <a:pt x="245" y="1023"/>
                  </a:lnTo>
                  <a:lnTo>
                    <a:pt x="241" y="1015"/>
                  </a:lnTo>
                  <a:lnTo>
                    <a:pt x="238" y="1008"/>
                  </a:lnTo>
                  <a:lnTo>
                    <a:pt x="235" y="1000"/>
                  </a:lnTo>
                  <a:lnTo>
                    <a:pt x="232" y="991"/>
                  </a:lnTo>
                  <a:lnTo>
                    <a:pt x="228" y="983"/>
                  </a:lnTo>
                  <a:lnTo>
                    <a:pt x="0" y="1025"/>
                  </a:lnTo>
                  <a:close/>
                </a:path>
              </a:pathLst>
            </a:custGeom>
            <a:solidFill>
              <a:srgbClr val="5E737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276" u="sng">
                <a:solidFill>
                  <a:srgbClr val="000000"/>
                </a:solidFill>
                <a:latin typeface="Arial" charset="0"/>
                <a:cs typeface="Arial"/>
              </a:endParaRPr>
            </a:p>
          </p:txBody>
        </p:sp>
        <p:sp>
          <p:nvSpPr>
            <p:cNvPr id="1042" name="Freeform 66"/>
            <p:cNvSpPr>
              <a:spLocks noEditPoints="1"/>
            </p:cNvSpPr>
            <p:nvPr userDrawn="1"/>
          </p:nvSpPr>
          <p:spPr bwMode="auto">
            <a:xfrm>
              <a:off x="5267" y="362"/>
              <a:ext cx="44" cy="50"/>
            </a:xfrm>
            <a:custGeom>
              <a:avLst/>
              <a:gdLst>
                <a:gd name="T0" fmla="*/ 0 w 873"/>
                <a:gd name="T1" fmla="*/ 0 h 1017"/>
                <a:gd name="T2" fmla="*/ 0 w 873"/>
                <a:gd name="T3" fmla="*/ 0 h 1017"/>
                <a:gd name="T4" fmla="*/ 0 w 873"/>
                <a:gd name="T5" fmla="*/ 0 h 1017"/>
                <a:gd name="T6" fmla="*/ 0 w 873"/>
                <a:gd name="T7" fmla="*/ 0 h 1017"/>
                <a:gd name="T8" fmla="*/ 0 w 873"/>
                <a:gd name="T9" fmla="*/ 0 h 1017"/>
                <a:gd name="T10" fmla="*/ 0 w 873"/>
                <a:gd name="T11" fmla="*/ 0 h 1017"/>
                <a:gd name="T12" fmla="*/ 0 w 873"/>
                <a:gd name="T13" fmla="*/ 0 h 1017"/>
                <a:gd name="T14" fmla="*/ 0 w 873"/>
                <a:gd name="T15" fmla="*/ 0 h 1017"/>
                <a:gd name="T16" fmla="*/ 0 w 873"/>
                <a:gd name="T17" fmla="*/ 0 h 1017"/>
                <a:gd name="T18" fmla="*/ 0 w 873"/>
                <a:gd name="T19" fmla="*/ 0 h 1017"/>
                <a:gd name="T20" fmla="*/ 0 w 873"/>
                <a:gd name="T21" fmla="*/ 0 h 1017"/>
                <a:gd name="T22" fmla="*/ 0 w 873"/>
                <a:gd name="T23" fmla="*/ 0 h 1017"/>
                <a:gd name="T24" fmla="*/ 0 w 873"/>
                <a:gd name="T25" fmla="*/ 0 h 1017"/>
                <a:gd name="T26" fmla="*/ 0 w 873"/>
                <a:gd name="T27" fmla="*/ 0 h 1017"/>
                <a:gd name="T28" fmla="*/ 0 w 873"/>
                <a:gd name="T29" fmla="*/ 0 h 1017"/>
                <a:gd name="T30" fmla="*/ 0 w 873"/>
                <a:gd name="T31" fmla="*/ 0 h 1017"/>
                <a:gd name="T32" fmla="*/ 0 w 873"/>
                <a:gd name="T33" fmla="*/ 0 h 1017"/>
                <a:gd name="T34" fmla="*/ 0 w 873"/>
                <a:gd name="T35" fmla="*/ 0 h 1017"/>
                <a:gd name="T36" fmla="*/ 0 w 873"/>
                <a:gd name="T37" fmla="*/ 0 h 1017"/>
                <a:gd name="T38" fmla="*/ 0 w 873"/>
                <a:gd name="T39" fmla="*/ 0 h 1017"/>
                <a:gd name="T40" fmla="*/ 0 w 873"/>
                <a:gd name="T41" fmla="*/ 0 h 1017"/>
                <a:gd name="T42" fmla="*/ 0 w 873"/>
                <a:gd name="T43" fmla="*/ 0 h 1017"/>
                <a:gd name="T44" fmla="*/ 0 w 873"/>
                <a:gd name="T45" fmla="*/ 0 h 1017"/>
                <a:gd name="T46" fmla="*/ 0 w 873"/>
                <a:gd name="T47" fmla="*/ 0 h 1017"/>
                <a:gd name="T48" fmla="*/ 0 w 873"/>
                <a:gd name="T49" fmla="*/ 0 h 1017"/>
                <a:gd name="T50" fmla="*/ 0 w 873"/>
                <a:gd name="T51" fmla="*/ 0 h 1017"/>
                <a:gd name="T52" fmla="*/ 0 w 873"/>
                <a:gd name="T53" fmla="*/ 0 h 1017"/>
                <a:gd name="T54" fmla="*/ 0 w 873"/>
                <a:gd name="T55" fmla="*/ 0 h 1017"/>
                <a:gd name="T56" fmla="*/ 0 w 873"/>
                <a:gd name="T57" fmla="*/ 0 h 1017"/>
                <a:gd name="T58" fmla="*/ 0 w 873"/>
                <a:gd name="T59" fmla="*/ 0 h 1017"/>
                <a:gd name="T60" fmla="*/ 0 w 873"/>
                <a:gd name="T61" fmla="*/ 0 h 1017"/>
                <a:gd name="T62" fmla="*/ 0 w 873"/>
                <a:gd name="T63" fmla="*/ 0 h 1017"/>
                <a:gd name="T64" fmla="*/ 0 w 873"/>
                <a:gd name="T65" fmla="*/ 0 h 1017"/>
                <a:gd name="T66" fmla="*/ 0 w 873"/>
                <a:gd name="T67" fmla="*/ 0 h 1017"/>
                <a:gd name="T68" fmla="*/ 0 w 873"/>
                <a:gd name="T69" fmla="*/ 0 h 1017"/>
                <a:gd name="T70" fmla="*/ 0 w 873"/>
                <a:gd name="T71" fmla="*/ 0 h 1017"/>
                <a:gd name="T72" fmla="*/ 0 w 873"/>
                <a:gd name="T73" fmla="*/ 0 h 1017"/>
                <a:gd name="T74" fmla="*/ 0 w 873"/>
                <a:gd name="T75" fmla="*/ 0 h 1017"/>
                <a:gd name="T76" fmla="*/ 0 w 873"/>
                <a:gd name="T77" fmla="*/ 0 h 1017"/>
                <a:gd name="T78" fmla="*/ 0 w 873"/>
                <a:gd name="T79" fmla="*/ 0 h 1017"/>
                <a:gd name="T80" fmla="*/ 0 w 873"/>
                <a:gd name="T81" fmla="*/ 0 h 1017"/>
                <a:gd name="T82" fmla="*/ 0 w 873"/>
                <a:gd name="T83" fmla="*/ 0 h 1017"/>
                <a:gd name="T84" fmla="*/ 0 w 873"/>
                <a:gd name="T85" fmla="*/ 0 h 1017"/>
                <a:gd name="T86" fmla="*/ 0 w 873"/>
                <a:gd name="T87" fmla="*/ 0 h 1017"/>
                <a:gd name="T88" fmla="*/ 0 w 873"/>
                <a:gd name="T89" fmla="*/ 0 h 1017"/>
                <a:gd name="T90" fmla="*/ 0 w 873"/>
                <a:gd name="T91" fmla="*/ 0 h 1017"/>
                <a:gd name="T92" fmla="*/ 0 w 873"/>
                <a:gd name="T93" fmla="*/ 0 h 1017"/>
                <a:gd name="T94" fmla="*/ 0 w 873"/>
                <a:gd name="T95" fmla="*/ 0 h 1017"/>
                <a:gd name="T96" fmla="*/ 0 w 873"/>
                <a:gd name="T97" fmla="*/ 0 h 1017"/>
                <a:gd name="T98" fmla="*/ 0 w 873"/>
                <a:gd name="T99" fmla="*/ 0 h 1017"/>
                <a:gd name="T100" fmla="*/ 0 w 873"/>
                <a:gd name="T101" fmla="*/ 0 h 1017"/>
                <a:gd name="T102" fmla="*/ 0 w 873"/>
                <a:gd name="T103" fmla="*/ 0 h 1017"/>
                <a:gd name="T104" fmla="*/ 0 w 873"/>
                <a:gd name="T105" fmla="*/ 0 h 1017"/>
                <a:gd name="T106" fmla="*/ 0 w 873"/>
                <a:gd name="T107" fmla="*/ 0 h 1017"/>
                <a:gd name="T108" fmla="*/ 0 w 873"/>
                <a:gd name="T109" fmla="*/ 0 h 1017"/>
                <a:gd name="T110" fmla="*/ 0 w 873"/>
                <a:gd name="T111" fmla="*/ 0 h 1017"/>
                <a:gd name="T112" fmla="*/ 0 w 873"/>
                <a:gd name="T113" fmla="*/ 0 h 1017"/>
                <a:gd name="T114" fmla="*/ 0 w 873"/>
                <a:gd name="T115" fmla="*/ 0 h 1017"/>
                <a:gd name="T116" fmla="*/ 0 w 873"/>
                <a:gd name="T117" fmla="*/ 0 h 1017"/>
                <a:gd name="T118" fmla="*/ 0 w 873"/>
                <a:gd name="T119" fmla="*/ 0 h 1017"/>
                <a:gd name="T120" fmla="*/ 0 w 873"/>
                <a:gd name="T121" fmla="*/ 0 h 1017"/>
                <a:gd name="T122" fmla="*/ 0 w 873"/>
                <a:gd name="T123" fmla="*/ 0 h 1017"/>
                <a:gd name="T124" fmla="*/ 0 w 873"/>
                <a:gd name="T125" fmla="*/ 0 h 101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873" h="1017">
                  <a:moveTo>
                    <a:pt x="873" y="537"/>
                  </a:moveTo>
                  <a:lnTo>
                    <a:pt x="873" y="509"/>
                  </a:lnTo>
                  <a:lnTo>
                    <a:pt x="872" y="481"/>
                  </a:lnTo>
                  <a:lnTo>
                    <a:pt x="871" y="451"/>
                  </a:lnTo>
                  <a:lnTo>
                    <a:pt x="869" y="423"/>
                  </a:lnTo>
                  <a:lnTo>
                    <a:pt x="867" y="394"/>
                  </a:lnTo>
                  <a:lnTo>
                    <a:pt x="862" y="366"/>
                  </a:lnTo>
                  <a:lnTo>
                    <a:pt x="858" y="338"/>
                  </a:lnTo>
                  <a:lnTo>
                    <a:pt x="851" y="311"/>
                  </a:lnTo>
                  <a:lnTo>
                    <a:pt x="848" y="301"/>
                  </a:lnTo>
                  <a:lnTo>
                    <a:pt x="844" y="287"/>
                  </a:lnTo>
                  <a:lnTo>
                    <a:pt x="839" y="273"/>
                  </a:lnTo>
                  <a:lnTo>
                    <a:pt x="833" y="256"/>
                  </a:lnTo>
                  <a:lnTo>
                    <a:pt x="825" y="238"/>
                  </a:lnTo>
                  <a:lnTo>
                    <a:pt x="816" y="219"/>
                  </a:lnTo>
                  <a:lnTo>
                    <a:pt x="803" y="199"/>
                  </a:lnTo>
                  <a:lnTo>
                    <a:pt x="790" y="178"/>
                  </a:lnTo>
                  <a:lnTo>
                    <a:pt x="779" y="163"/>
                  </a:lnTo>
                  <a:lnTo>
                    <a:pt x="769" y="150"/>
                  </a:lnTo>
                  <a:lnTo>
                    <a:pt x="757" y="137"/>
                  </a:lnTo>
                  <a:lnTo>
                    <a:pt x="746" y="124"/>
                  </a:lnTo>
                  <a:lnTo>
                    <a:pt x="734" y="112"/>
                  </a:lnTo>
                  <a:lnTo>
                    <a:pt x="723" y="102"/>
                  </a:lnTo>
                  <a:lnTo>
                    <a:pt x="710" y="92"/>
                  </a:lnTo>
                  <a:lnTo>
                    <a:pt x="699" y="82"/>
                  </a:lnTo>
                  <a:lnTo>
                    <a:pt x="687" y="74"/>
                  </a:lnTo>
                  <a:lnTo>
                    <a:pt x="675" y="65"/>
                  </a:lnTo>
                  <a:lnTo>
                    <a:pt x="663" y="57"/>
                  </a:lnTo>
                  <a:lnTo>
                    <a:pt x="650" y="51"/>
                  </a:lnTo>
                  <a:lnTo>
                    <a:pt x="626" y="39"/>
                  </a:lnTo>
                  <a:lnTo>
                    <a:pt x="601" y="29"/>
                  </a:lnTo>
                  <a:lnTo>
                    <a:pt x="578" y="21"/>
                  </a:lnTo>
                  <a:lnTo>
                    <a:pt x="555" y="13"/>
                  </a:lnTo>
                  <a:lnTo>
                    <a:pt x="533" y="8"/>
                  </a:lnTo>
                  <a:lnTo>
                    <a:pt x="513" y="5"/>
                  </a:lnTo>
                  <a:lnTo>
                    <a:pt x="492" y="2"/>
                  </a:lnTo>
                  <a:lnTo>
                    <a:pt x="475" y="1"/>
                  </a:lnTo>
                  <a:lnTo>
                    <a:pt x="459" y="0"/>
                  </a:lnTo>
                  <a:lnTo>
                    <a:pt x="444" y="0"/>
                  </a:lnTo>
                  <a:lnTo>
                    <a:pt x="426" y="0"/>
                  </a:lnTo>
                  <a:lnTo>
                    <a:pt x="408" y="1"/>
                  </a:lnTo>
                  <a:lnTo>
                    <a:pt x="389" y="3"/>
                  </a:lnTo>
                  <a:lnTo>
                    <a:pt x="372" y="5"/>
                  </a:lnTo>
                  <a:lnTo>
                    <a:pt x="353" y="8"/>
                  </a:lnTo>
                  <a:lnTo>
                    <a:pt x="336" y="12"/>
                  </a:lnTo>
                  <a:lnTo>
                    <a:pt x="320" y="17"/>
                  </a:lnTo>
                  <a:lnTo>
                    <a:pt x="303" y="22"/>
                  </a:lnTo>
                  <a:lnTo>
                    <a:pt x="287" y="28"/>
                  </a:lnTo>
                  <a:lnTo>
                    <a:pt x="271" y="34"/>
                  </a:lnTo>
                  <a:lnTo>
                    <a:pt x="256" y="41"/>
                  </a:lnTo>
                  <a:lnTo>
                    <a:pt x="240" y="48"/>
                  </a:lnTo>
                  <a:lnTo>
                    <a:pt x="225" y="56"/>
                  </a:lnTo>
                  <a:lnTo>
                    <a:pt x="211" y="65"/>
                  </a:lnTo>
                  <a:lnTo>
                    <a:pt x="197" y="75"/>
                  </a:lnTo>
                  <a:lnTo>
                    <a:pt x="183" y="84"/>
                  </a:lnTo>
                  <a:lnTo>
                    <a:pt x="170" y="95"/>
                  </a:lnTo>
                  <a:lnTo>
                    <a:pt x="158" y="105"/>
                  </a:lnTo>
                  <a:lnTo>
                    <a:pt x="145" y="117"/>
                  </a:lnTo>
                  <a:lnTo>
                    <a:pt x="133" y="129"/>
                  </a:lnTo>
                  <a:lnTo>
                    <a:pt x="122" y="142"/>
                  </a:lnTo>
                  <a:lnTo>
                    <a:pt x="111" y="154"/>
                  </a:lnTo>
                  <a:lnTo>
                    <a:pt x="100" y="168"/>
                  </a:lnTo>
                  <a:lnTo>
                    <a:pt x="90" y="181"/>
                  </a:lnTo>
                  <a:lnTo>
                    <a:pt x="80" y="196"/>
                  </a:lnTo>
                  <a:lnTo>
                    <a:pt x="71" y="211"/>
                  </a:lnTo>
                  <a:lnTo>
                    <a:pt x="63" y="226"/>
                  </a:lnTo>
                  <a:lnTo>
                    <a:pt x="55" y="242"/>
                  </a:lnTo>
                  <a:lnTo>
                    <a:pt x="47" y="258"/>
                  </a:lnTo>
                  <a:lnTo>
                    <a:pt x="40" y="275"/>
                  </a:lnTo>
                  <a:lnTo>
                    <a:pt x="33" y="291"/>
                  </a:lnTo>
                  <a:lnTo>
                    <a:pt x="28" y="309"/>
                  </a:lnTo>
                  <a:lnTo>
                    <a:pt x="19" y="341"/>
                  </a:lnTo>
                  <a:lnTo>
                    <a:pt x="13" y="373"/>
                  </a:lnTo>
                  <a:lnTo>
                    <a:pt x="8" y="402"/>
                  </a:lnTo>
                  <a:lnTo>
                    <a:pt x="4" y="431"/>
                  </a:lnTo>
                  <a:lnTo>
                    <a:pt x="2" y="456"/>
                  </a:lnTo>
                  <a:lnTo>
                    <a:pt x="1" y="478"/>
                  </a:lnTo>
                  <a:lnTo>
                    <a:pt x="0" y="497"/>
                  </a:lnTo>
                  <a:lnTo>
                    <a:pt x="0" y="511"/>
                  </a:lnTo>
                  <a:lnTo>
                    <a:pt x="0" y="536"/>
                  </a:lnTo>
                  <a:lnTo>
                    <a:pt x="1" y="560"/>
                  </a:lnTo>
                  <a:lnTo>
                    <a:pt x="3" y="584"/>
                  </a:lnTo>
                  <a:lnTo>
                    <a:pt x="5" y="606"/>
                  </a:lnTo>
                  <a:lnTo>
                    <a:pt x="8" y="627"/>
                  </a:lnTo>
                  <a:lnTo>
                    <a:pt x="11" y="648"/>
                  </a:lnTo>
                  <a:lnTo>
                    <a:pt x="14" y="668"/>
                  </a:lnTo>
                  <a:lnTo>
                    <a:pt x="18" y="688"/>
                  </a:lnTo>
                  <a:lnTo>
                    <a:pt x="23" y="706"/>
                  </a:lnTo>
                  <a:lnTo>
                    <a:pt x="28" y="723"/>
                  </a:lnTo>
                  <a:lnTo>
                    <a:pt x="33" y="739"/>
                  </a:lnTo>
                  <a:lnTo>
                    <a:pt x="39" y="756"/>
                  </a:lnTo>
                  <a:lnTo>
                    <a:pt x="45" y="771"/>
                  </a:lnTo>
                  <a:lnTo>
                    <a:pt x="53" y="786"/>
                  </a:lnTo>
                  <a:lnTo>
                    <a:pt x="60" y="801"/>
                  </a:lnTo>
                  <a:lnTo>
                    <a:pt x="67" y="814"/>
                  </a:lnTo>
                  <a:lnTo>
                    <a:pt x="75" y="827"/>
                  </a:lnTo>
                  <a:lnTo>
                    <a:pt x="82" y="839"/>
                  </a:lnTo>
                  <a:lnTo>
                    <a:pt x="90" y="850"/>
                  </a:lnTo>
                  <a:lnTo>
                    <a:pt x="99" y="862"/>
                  </a:lnTo>
                  <a:lnTo>
                    <a:pt x="117" y="882"/>
                  </a:lnTo>
                  <a:lnTo>
                    <a:pt x="135" y="900"/>
                  </a:lnTo>
                  <a:lnTo>
                    <a:pt x="154" y="918"/>
                  </a:lnTo>
                  <a:lnTo>
                    <a:pt x="173" y="932"/>
                  </a:lnTo>
                  <a:lnTo>
                    <a:pt x="192" y="945"/>
                  </a:lnTo>
                  <a:lnTo>
                    <a:pt x="212" y="957"/>
                  </a:lnTo>
                  <a:lnTo>
                    <a:pt x="229" y="967"/>
                  </a:lnTo>
                  <a:lnTo>
                    <a:pt x="246" y="976"/>
                  </a:lnTo>
                  <a:lnTo>
                    <a:pt x="264" y="983"/>
                  </a:lnTo>
                  <a:lnTo>
                    <a:pt x="281" y="990"/>
                  </a:lnTo>
                  <a:lnTo>
                    <a:pt x="297" y="995"/>
                  </a:lnTo>
                  <a:lnTo>
                    <a:pt x="314" y="1000"/>
                  </a:lnTo>
                  <a:lnTo>
                    <a:pt x="329" y="1004"/>
                  </a:lnTo>
                  <a:lnTo>
                    <a:pt x="344" y="1007"/>
                  </a:lnTo>
                  <a:lnTo>
                    <a:pt x="372" y="1012"/>
                  </a:lnTo>
                  <a:lnTo>
                    <a:pt x="397" y="1015"/>
                  </a:lnTo>
                  <a:lnTo>
                    <a:pt x="420" y="1016"/>
                  </a:lnTo>
                  <a:lnTo>
                    <a:pt x="437" y="1017"/>
                  </a:lnTo>
                  <a:lnTo>
                    <a:pt x="464" y="1016"/>
                  </a:lnTo>
                  <a:lnTo>
                    <a:pt x="490" y="1014"/>
                  </a:lnTo>
                  <a:lnTo>
                    <a:pt x="517" y="1010"/>
                  </a:lnTo>
                  <a:lnTo>
                    <a:pt x="542" y="1005"/>
                  </a:lnTo>
                  <a:lnTo>
                    <a:pt x="568" y="999"/>
                  </a:lnTo>
                  <a:lnTo>
                    <a:pt x="592" y="991"/>
                  </a:lnTo>
                  <a:lnTo>
                    <a:pt x="617" y="982"/>
                  </a:lnTo>
                  <a:lnTo>
                    <a:pt x="640" y="972"/>
                  </a:lnTo>
                  <a:lnTo>
                    <a:pt x="664" y="959"/>
                  </a:lnTo>
                  <a:lnTo>
                    <a:pt x="685" y="946"/>
                  </a:lnTo>
                  <a:lnTo>
                    <a:pt x="706" y="932"/>
                  </a:lnTo>
                  <a:lnTo>
                    <a:pt x="727" y="916"/>
                  </a:lnTo>
                  <a:lnTo>
                    <a:pt x="746" y="898"/>
                  </a:lnTo>
                  <a:lnTo>
                    <a:pt x="765" y="880"/>
                  </a:lnTo>
                  <a:lnTo>
                    <a:pt x="782" y="861"/>
                  </a:lnTo>
                  <a:lnTo>
                    <a:pt x="797" y="839"/>
                  </a:lnTo>
                  <a:lnTo>
                    <a:pt x="809" y="821"/>
                  </a:lnTo>
                  <a:lnTo>
                    <a:pt x="820" y="802"/>
                  </a:lnTo>
                  <a:lnTo>
                    <a:pt x="830" y="783"/>
                  </a:lnTo>
                  <a:lnTo>
                    <a:pt x="839" y="765"/>
                  </a:lnTo>
                  <a:lnTo>
                    <a:pt x="847" y="748"/>
                  </a:lnTo>
                  <a:lnTo>
                    <a:pt x="853" y="733"/>
                  </a:lnTo>
                  <a:lnTo>
                    <a:pt x="858" y="722"/>
                  </a:lnTo>
                  <a:lnTo>
                    <a:pt x="861" y="715"/>
                  </a:lnTo>
                  <a:lnTo>
                    <a:pt x="660" y="683"/>
                  </a:lnTo>
                  <a:lnTo>
                    <a:pt x="657" y="692"/>
                  </a:lnTo>
                  <a:lnTo>
                    <a:pt x="654" y="700"/>
                  </a:lnTo>
                  <a:lnTo>
                    <a:pt x="651" y="708"/>
                  </a:lnTo>
                  <a:lnTo>
                    <a:pt x="648" y="715"/>
                  </a:lnTo>
                  <a:lnTo>
                    <a:pt x="645" y="723"/>
                  </a:lnTo>
                  <a:lnTo>
                    <a:pt x="641" y="730"/>
                  </a:lnTo>
                  <a:lnTo>
                    <a:pt x="637" y="737"/>
                  </a:lnTo>
                  <a:lnTo>
                    <a:pt x="632" y="746"/>
                  </a:lnTo>
                  <a:lnTo>
                    <a:pt x="624" y="757"/>
                  </a:lnTo>
                  <a:lnTo>
                    <a:pt x="616" y="767"/>
                  </a:lnTo>
                  <a:lnTo>
                    <a:pt x="606" y="776"/>
                  </a:lnTo>
                  <a:lnTo>
                    <a:pt x="596" y="786"/>
                  </a:lnTo>
                  <a:lnTo>
                    <a:pt x="586" y="794"/>
                  </a:lnTo>
                  <a:lnTo>
                    <a:pt x="575" y="803"/>
                  </a:lnTo>
                  <a:lnTo>
                    <a:pt x="564" y="810"/>
                  </a:lnTo>
                  <a:lnTo>
                    <a:pt x="552" y="817"/>
                  </a:lnTo>
                  <a:lnTo>
                    <a:pt x="540" y="823"/>
                  </a:lnTo>
                  <a:lnTo>
                    <a:pt x="528" y="828"/>
                  </a:lnTo>
                  <a:lnTo>
                    <a:pt x="516" y="832"/>
                  </a:lnTo>
                  <a:lnTo>
                    <a:pt x="502" y="836"/>
                  </a:lnTo>
                  <a:lnTo>
                    <a:pt x="490" y="839"/>
                  </a:lnTo>
                  <a:lnTo>
                    <a:pt x="477" y="841"/>
                  </a:lnTo>
                  <a:lnTo>
                    <a:pt x="464" y="842"/>
                  </a:lnTo>
                  <a:lnTo>
                    <a:pt x="450" y="842"/>
                  </a:lnTo>
                  <a:lnTo>
                    <a:pt x="439" y="842"/>
                  </a:lnTo>
                  <a:lnTo>
                    <a:pt x="426" y="841"/>
                  </a:lnTo>
                  <a:lnTo>
                    <a:pt x="412" y="839"/>
                  </a:lnTo>
                  <a:lnTo>
                    <a:pt x="395" y="835"/>
                  </a:lnTo>
                  <a:lnTo>
                    <a:pt x="387" y="833"/>
                  </a:lnTo>
                  <a:lnTo>
                    <a:pt x="379" y="829"/>
                  </a:lnTo>
                  <a:lnTo>
                    <a:pt x="370" y="826"/>
                  </a:lnTo>
                  <a:lnTo>
                    <a:pt x="362" y="821"/>
                  </a:lnTo>
                  <a:lnTo>
                    <a:pt x="352" y="816"/>
                  </a:lnTo>
                  <a:lnTo>
                    <a:pt x="343" y="810"/>
                  </a:lnTo>
                  <a:lnTo>
                    <a:pt x="334" y="803"/>
                  </a:lnTo>
                  <a:lnTo>
                    <a:pt x="324" y="794"/>
                  </a:lnTo>
                  <a:lnTo>
                    <a:pt x="310" y="781"/>
                  </a:lnTo>
                  <a:lnTo>
                    <a:pt x="297" y="767"/>
                  </a:lnTo>
                  <a:lnTo>
                    <a:pt x="286" y="753"/>
                  </a:lnTo>
                  <a:lnTo>
                    <a:pt x="277" y="737"/>
                  </a:lnTo>
                  <a:lnTo>
                    <a:pt x="269" y="723"/>
                  </a:lnTo>
                  <a:lnTo>
                    <a:pt x="262" y="708"/>
                  </a:lnTo>
                  <a:lnTo>
                    <a:pt x="256" y="694"/>
                  </a:lnTo>
                  <a:lnTo>
                    <a:pt x="250" y="679"/>
                  </a:lnTo>
                  <a:lnTo>
                    <a:pt x="246" y="666"/>
                  </a:lnTo>
                  <a:lnTo>
                    <a:pt x="243" y="653"/>
                  </a:lnTo>
                  <a:lnTo>
                    <a:pt x="240" y="641"/>
                  </a:lnTo>
                  <a:lnTo>
                    <a:pt x="238" y="629"/>
                  </a:lnTo>
                  <a:lnTo>
                    <a:pt x="236" y="609"/>
                  </a:lnTo>
                  <a:lnTo>
                    <a:pt x="234" y="594"/>
                  </a:lnTo>
                  <a:lnTo>
                    <a:pt x="234" y="587"/>
                  </a:lnTo>
                  <a:lnTo>
                    <a:pt x="233" y="580"/>
                  </a:lnTo>
                  <a:lnTo>
                    <a:pt x="232" y="572"/>
                  </a:lnTo>
                  <a:lnTo>
                    <a:pt x="232" y="565"/>
                  </a:lnTo>
                  <a:lnTo>
                    <a:pt x="231" y="559"/>
                  </a:lnTo>
                  <a:lnTo>
                    <a:pt x="231" y="552"/>
                  </a:lnTo>
                  <a:lnTo>
                    <a:pt x="231" y="546"/>
                  </a:lnTo>
                  <a:lnTo>
                    <a:pt x="231" y="540"/>
                  </a:lnTo>
                  <a:lnTo>
                    <a:pt x="873" y="537"/>
                  </a:lnTo>
                  <a:close/>
                  <a:moveTo>
                    <a:pt x="225" y="397"/>
                  </a:moveTo>
                  <a:lnTo>
                    <a:pt x="227" y="380"/>
                  </a:lnTo>
                  <a:lnTo>
                    <a:pt x="229" y="365"/>
                  </a:lnTo>
                  <a:lnTo>
                    <a:pt x="231" y="353"/>
                  </a:lnTo>
                  <a:lnTo>
                    <a:pt x="233" y="342"/>
                  </a:lnTo>
                  <a:lnTo>
                    <a:pt x="235" y="332"/>
                  </a:lnTo>
                  <a:lnTo>
                    <a:pt x="238" y="323"/>
                  </a:lnTo>
                  <a:lnTo>
                    <a:pt x="241" y="315"/>
                  </a:lnTo>
                  <a:lnTo>
                    <a:pt x="245" y="306"/>
                  </a:lnTo>
                  <a:lnTo>
                    <a:pt x="251" y="290"/>
                  </a:lnTo>
                  <a:lnTo>
                    <a:pt x="258" y="277"/>
                  </a:lnTo>
                  <a:lnTo>
                    <a:pt x="265" y="265"/>
                  </a:lnTo>
                  <a:lnTo>
                    <a:pt x="273" y="253"/>
                  </a:lnTo>
                  <a:lnTo>
                    <a:pt x="280" y="243"/>
                  </a:lnTo>
                  <a:lnTo>
                    <a:pt x="288" y="232"/>
                  </a:lnTo>
                  <a:lnTo>
                    <a:pt x="296" y="223"/>
                  </a:lnTo>
                  <a:lnTo>
                    <a:pt x="304" y="215"/>
                  </a:lnTo>
                  <a:lnTo>
                    <a:pt x="321" y="201"/>
                  </a:lnTo>
                  <a:lnTo>
                    <a:pt x="337" y="190"/>
                  </a:lnTo>
                  <a:lnTo>
                    <a:pt x="351" y="180"/>
                  </a:lnTo>
                  <a:lnTo>
                    <a:pt x="364" y="174"/>
                  </a:lnTo>
                  <a:lnTo>
                    <a:pt x="369" y="171"/>
                  </a:lnTo>
                  <a:lnTo>
                    <a:pt x="376" y="168"/>
                  </a:lnTo>
                  <a:lnTo>
                    <a:pt x="384" y="165"/>
                  </a:lnTo>
                  <a:lnTo>
                    <a:pt x="393" y="162"/>
                  </a:lnTo>
                  <a:lnTo>
                    <a:pt x="403" y="160"/>
                  </a:lnTo>
                  <a:lnTo>
                    <a:pt x="416" y="157"/>
                  </a:lnTo>
                  <a:lnTo>
                    <a:pt x="428" y="156"/>
                  </a:lnTo>
                  <a:lnTo>
                    <a:pt x="441" y="155"/>
                  </a:lnTo>
                  <a:lnTo>
                    <a:pt x="450" y="155"/>
                  </a:lnTo>
                  <a:lnTo>
                    <a:pt x="462" y="156"/>
                  </a:lnTo>
                  <a:lnTo>
                    <a:pt x="474" y="158"/>
                  </a:lnTo>
                  <a:lnTo>
                    <a:pt x="488" y="162"/>
                  </a:lnTo>
                  <a:lnTo>
                    <a:pt x="503" y="167"/>
                  </a:lnTo>
                  <a:lnTo>
                    <a:pt x="520" y="174"/>
                  </a:lnTo>
                  <a:lnTo>
                    <a:pt x="537" y="185"/>
                  </a:lnTo>
                  <a:lnTo>
                    <a:pt x="555" y="197"/>
                  </a:lnTo>
                  <a:lnTo>
                    <a:pt x="568" y="207"/>
                  </a:lnTo>
                  <a:lnTo>
                    <a:pt x="579" y="217"/>
                  </a:lnTo>
                  <a:lnTo>
                    <a:pt x="589" y="227"/>
                  </a:lnTo>
                  <a:lnTo>
                    <a:pt x="598" y="238"/>
                  </a:lnTo>
                  <a:lnTo>
                    <a:pt x="606" y="250"/>
                  </a:lnTo>
                  <a:lnTo>
                    <a:pt x="614" y="261"/>
                  </a:lnTo>
                  <a:lnTo>
                    <a:pt x="621" y="273"/>
                  </a:lnTo>
                  <a:lnTo>
                    <a:pt x="626" y="285"/>
                  </a:lnTo>
                  <a:lnTo>
                    <a:pt x="631" y="299"/>
                  </a:lnTo>
                  <a:lnTo>
                    <a:pt x="635" y="311"/>
                  </a:lnTo>
                  <a:lnTo>
                    <a:pt x="639" y="324"/>
                  </a:lnTo>
                  <a:lnTo>
                    <a:pt x="642" y="338"/>
                  </a:lnTo>
                  <a:lnTo>
                    <a:pt x="647" y="367"/>
                  </a:lnTo>
                  <a:lnTo>
                    <a:pt x="652" y="397"/>
                  </a:lnTo>
                  <a:lnTo>
                    <a:pt x="225" y="397"/>
                  </a:lnTo>
                  <a:close/>
                </a:path>
              </a:pathLst>
            </a:custGeom>
            <a:solidFill>
              <a:srgbClr val="5E737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276" u="sng">
                <a:solidFill>
                  <a:srgbClr val="000000"/>
                </a:solidFill>
                <a:latin typeface="Arial" charset="0"/>
                <a:cs typeface="Arial"/>
              </a:endParaRPr>
            </a:p>
          </p:txBody>
        </p:sp>
        <p:sp>
          <p:nvSpPr>
            <p:cNvPr id="1043" name="Freeform 67"/>
            <p:cNvSpPr>
              <a:spLocks/>
            </p:cNvSpPr>
            <p:nvPr userDrawn="1"/>
          </p:nvSpPr>
          <p:spPr bwMode="auto">
            <a:xfrm>
              <a:off x="5320" y="361"/>
              <a:ext cx="40" cy="50"/>
            </a:xfrm>
            <a:custGeom>
              <a:avLst/>
              <a:gdLst>
                <a:gd name="T0" fmla="*/ 0 w 798"/>
                <a:gd name="T1" fmla="*/ 0 h 1000"/>
                <a:gd name="T2" fmla="*/ 0 w 798"/>
                <a:gd name="T3" fmla="*/ 0 h 1000"/>
                <a:gd name="T4" fmla="*/ 0 w 798"/>
                <a:gd name="T5" fmla="*/ 0 h 1000"/>
                <a:gd name="T6" fmla="*/ 0 w 798"/>
                <a:gd name="T7" fmla="*/ 0 h 1000"/>
                <a:gd name="T8" fmla="*/ 0 w 798"/>
                <a:gd name="T9" fmla="*/ 0 h 1000"/>
                <a:gd name="T10" fmla="*/ 0 w 798"/>
                <a:gd name="T11" fmla="*/ 0 h 1000"/>
                <a:gd name="T12" fmla="*/ 0 w 798"/>
                <a:gd name="T13" fmla="*/ 0 h 1000"/>
                <a:gd name="T14" fmla="*/ 0 w 798"/>
                <a:gd name="T15" fmla="*/ 0 h 1000"/>
                <a:gd name="T16" fmla="*/ 0 w 798"/>
                <a:gd name="T17" fmla="*/ 0 h 1000"/>
                <a:gd name="T18" fmla="*/ 0 w 798"/>
                <a:gd name="T19" fmla="*/ 0 h 1000"/>
                <a:gd name="T20" fmla="*/ 0 w 798"/>
                <a:gd name="T21" fmla="*/ 0 h 1000"/>
                <a:gd name="T22" fmla="*/ 0 w 798"/>
                <a:gd name="T23" fmla="*/ 0 h 1000"/>
                <a:gd name="T24" fmla="*/ 0 w 798"/>
                <a:gd name="T25" fmla="*/ 0 h 1000"/>
                <a:gd name="T26" fmla="*/ 0 w 798"/>
                <a:gd name="T27" fmla="*/ 0 h 1000"/>
                <a:gd name="T28" fmla="*/ 0 w 798"/>
                <a:gd name="T29" fmla="*/ 0 h 1000"/>
                <a:gd name="T30" fmla="*/ 0 w 798"/>
                <a:gd name="T31" fmla="*/ 0 h 1000"/>
                <a:gd name="T32" fmla="*/ 0 w 798"/>
                <a:gd name="T33" fmla="*/ 0 h 1000"/>
                <a:gd name="T34" fmla="*/ 0 w 798"/>
                <a:gd name="T35" fmla="*/ 0 h 1000"/>
                <a:gd name="T36" fmla="*/ 0 w 798"/>
                <a:gd name="T37" fmla="*/ 0 h 1000"/>
                <a:gd name="T38" fmla="*/ 0 w 798"/>
                <a:gd name="T39" fmla="*/ 0 h 1000"/>
                <a:gd name="T40" fmla="*/ 0 w 798"/>
                <a:gd name="T41" fmla="*/ 0 h 1000"/>
                <a:gd name="T42" fmla="*/ 0 w 798"/>
                <a:gd name="T43" fmla="*/ 0 h 1000"/>
                <a:gd name="T44" fmla="*/ 0 w 798"/>
                <a:gd name="T45" fmla="*/ 0 h 1000"/>
                <a:gd name="T46" fmla="*/ 0 w 798"/>
                <a:gd name="T47" fmla="*/ 0 h 1000"/>
                <a:gd name="T48" fmla="*/ 0 w 798"/>
                <a:gd name="T49" fmla="*/ 0 h 1000"/>
                <a:gd name="T50" fmla="*/ 0 w 798"/>
                <a:gd name="T51" fmla="*/ 0 h 1000"/>
                <a:gd name="T52" fmla="*/ 0 w 798"/>
                <a:gd name="T53" fmla="*/ 0 h 1000"/>
                <a:gd name="T54" fmla="*/ 0 w 798"/>
                <a:gd name="T55" fmla="*/ 0 h 1000"/>
                <a:gd name="T56" fmla="*/ 0 w 798"/>
                <a:gd name="T57" fmla="*/ 0 h 1000"/>
                <a:gd name="T58" fmla="*/ 0 w 798"/>
                <a:gd name="T59" fmla="*/ 0 h 1000"/>
                <a:gd name="T60" fmla="*/ 0 w 798"/>
                <a:gd name="T61" fmla="*/ 0 h 1000"/>
                <a:gd name="T62" fmla="*/ 0 w 798"/>
                <a:gd name="T63" fmla="*/ 0 h 1000"/>
                <a:gd name="T64" fmla="*/ 0 w 798"/>
                <a:gd name="T65" fmla="*/ 0 h 1000"/>
                <a:gd name="T66" fmla="*/ 0 w 798"/>
                <a:gd name="T67" fmla="*/ 0 h 1000"/>
                <a:gd name="T68" fmla="*/ 0 w 798"/>
                <a:gd name="T69" fmla="*/ 0 h 1000"/>
                <a:gd name="T70" fmla="*/ 0 w 798"/>
                <a:gd name="T71" fmla="*/ 0 h 1000"/>
                <a:gd name="T72" fmla="*/ 0 w 798"/>
                <a:gd name="T73" fmla="*/ 0 h 1000"/>
                <a:gd name="T74" fmla="*/ 0 w 798"/>
                <a:gd name="T75" fmla="*/ 0 h 1000"/>
                <a:gd name="T76" fmla="*/ 0 w 798"/>
                <a:gd name="T77" fmla="*/ 0 h 1000"/>
                <a:gd name="T78" fmla="*/ 0 w 798"/>
                <a:gd name="T79" fmla="*/ 0 h 1000"/>
                <a:gd name="T80" fmla="*/ 0 w 798"/>
                <a:gd name="T81" fmla="*/ 0 h 1000"/>
                <a:gd name="T82" fmla="*/ 0 w 798"/>
                <a:gd name="T83" fmla="*/ 0 h 1000"/>
                <a:gd name="T84" fmla="*/ 0 w 798"/>
                <a:gd name="T85" fmla="*/ 0 h 1000"/>
                <a:gd name="T86" fmla="*/ 0 w 798"/>
                <a:gd name="T87" fmla="*/ 0 h 1000"/>
                <a:gd name="T88" fmla="*/ 0 w 798"/>
                <a:gd name="T89" fmla="*/ 0 h 1000"/>
                <a:gd name="T90" fmla="*/ 0 w 798"/>
                <a:gd name="T91" fmla="*/ 0 h 1000"/>
                <a:gd name="T92" fmla="*/ 0 w 798"/>
                <a:gd name="T93" fmla="*/ 0 h 1000"/>
                <a:gd name="T94" fmla="*/ 0 w 798"/>
                <a:gd name="T95" fmla="*/ 0 h 1000"/>
                <a:gd name="T96" fmla="*/ 0 w 798"/>
                <a:gd name="T97" fmla="*/ 0 h 1000"/>
                <a:gd name="T98" fmla="*/ 0 w 798"/>
                <a:gd name="T99" fmla="*/ 0 h 1000"/>
                <a:gd name="T100" fmla="*/ 0 w 798"/>
                <a:gd name="T101" fmla="*/ 0 h 1000"/>
                <a:gd name="T102" fmla="*/ 0 w 798"/>
                <a:gd name="T103" fmla="*/ 0 h 1000"/>
                <a:gd name="T104" fmla="*/ 0 w 798"/>
                <a:gd name="T105" fmla="*/ 0 h 1000"/>
                <a:gd name="T106" fmla="*/ 0 w 798"/>
                <a:gd name="T107" fmla="*/ 0 h 100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98" h="1000">
                  <a:moveTo>
                    <a:pt x="0" y="23"/>
                  </a:moveTo>
                  <a:lnTo>
                    <a:pt x="0" y="993"/>
                  </a:lnTo>
                  <a:lnTo>
                    <a:pt x="220" y="1000"/>
                  </a:lnTo>
                  <a:lnTo>
                    <a:pt x="220" y="483"/>
                  </a:lnTo>
                  <a:lnTo>
                    <a:pt x="222" y="446"/>
                  </a:lnTo>
                  <a:lnTo>
                    <a:pt x="226" y="410"/>
                  </a:lnTo>
                  <a:lnTo>
                    <a:pt x="228" y="391"/>
                  </a:lnTo>
                  <a:lnTo>
                    <a:pt x="231" y="374"/>
                  </a:lnTo>
                  <a:lnTo>
                    <a:pt x="235" y="358"/>
                  </a:lnTo>
                  <a:lnTo>
                    <a:pt x="239" y="340"/>
                  </a:lnTo>
                  <a:lnTo>
                    <a:pt x="244" y="324"/>
                  </a:lnTo>
                  <a:lnTo>
                    <a:pt x="251" y="309"/>
                  </a:lnTo>
                  <a:lnTo>
                    <a:pt x="258" y="293"/>
                  </a:lnTo>
                  <a:lnTo>
                    <a:pt x="268" y="278"/>
                  </a:lnTo>
                  <a:lnTo>
                    <a:pt x="278" y="264"/>
                  </a:lnTo>
                  <a:lnTo>
                    <a:pt x="290" y="251"/>
                  </a:lnTo>
                  <a:lnTo>
                    <a:pt x="303" y="237"/>
                  </a:lnTo>
                  <a:lnTo>
                    <a:pt x="319" y="225"/>
                  </a:lnTo>
                  <a:lnTo>
                    <a:pt x="336" y="212"/>
                  </a:lnTo>
                  <a:lnTo>
                    <a:pt x="352" y="202"/>
                  </a:lnTo>
                  <a:lnTo>
                    <a:pt x="369" y="195"/>
                  </a:lnTo>
                  <a:lnTo>
                    <a:pt x="384" y="190"/>
                  </a:lnTo>
                  <a:lnTo>
                    <a:pt x="397" y="186"/>
                  </a:lnTo>
                  <a:lnTo>
                    <a:pt x="410" y="183"/>
                  </a:lnTo>
                  <a:lnTo>
                    <a:pt x="421" y="182"/>
                  </a:lnTo>
                  <a:lnTo>
                    <a:pt x="430" y="181"/>
                  </a:lnTo>
                  <a:lnTo>
                    <a:pt x="448" y="182"/>
                  </a:lnTo>
                  <a:lnTo>
                    <a:pt x="464" y="186"/>
                  </a:lnTo>
                  <a:lnTo>
                    <a:pt x="479" y="190"/>
                  </a:lnTo>
                  <a:lnTo>
                    <a:pt x="492" y="195"/>
                  </a:lnTo>
                  <a:lnTo>
                    <a:pt x="503" y="201"/>
                  </a:lnTo>
                  <a:lnTo>
                    <a:pt x="512" y="206"/>
                  </a:lnTo>
                  <a:lnTo>
                    <a:pt x="521" y="212"/>
                  </a:lnTo>
                  <a:lnTo>
                    <a:pt x="528" y="217"/>
                  </a:lnTo>
                  <a:lnTo>
                    <a:pt x="538" y="227"/>
                  </a:lnTo>
                  <a:lnTo>
                    <a:pt x="546" y="237"/>
                  </a:lnTo>
                  <a:lnTo>
                    <a:pt x="554" y="248"/>
                  </a:lnTo>
                  <a:lnTo>
                    <a:pt x="561" y="259"/>
                  </a:lnTo>
                  <a:lnTo>
                    <a:pt x="566" y="270"/>
                  </a:lnTo>
                  <a:lnTo>
                    <a:pt x="572" y="281"/>
                  </a:lnTo>
                  <a:lnTo>
                    <a:pt x="576" y="293"/>
                  </a:lnTo>
                  <a:lnTo>
                    <a:pt x="579" y="306"/>
                  </a:lnTo>
                  <a:lnTo>
                    <a:pt x="583" y="331"/>
                  </a:lnTo>
                  <a:lnTo>
                    <a:pt x="586" y="358"/>
                  </a:lnTo>
                  <a:lnTo>
                    <a:pt x="587" y="384"/>
                  </a:lnTo>
                  <a:lnTo>
                    <a:pt x="588" y="412"/>
                  </a:lnTo>
                  <a:lnTo>
                    <a:pt x="588" y="1000"/>
                  </a:lnTo>
                  <a:lnTo>
                    <a:pt x="798" y="1000"/>
                  </a:lnTo>
                  <a:lnTo>
                    <a:pt x="798" y="339"/>
                  </a:lnTo>
                  <a:lnTo>
                    <a:pt x="797" y="333"/>
                  </a:lnTo>
                  <a:lnTo>
                    <a:pt x="796" y="323"/>
                  </a:lnTo>
                  <a:lnTo>
                    <a:pt x="796" y="311"/>
                  </a:lnTo>
                  <a:lnTo>
                    <a:pt x="795" y="296"/>
                  </a:lnTo>
                  <a:lnTo>
                    <a:pt x="793" y="281"/>
                  </a:lnTo>
                  <a:lnTo>
                    <a:pt x="791" y="264"/>
                  </a:lnTo>
                  <a:lnTo>
                    <a:pt x="788" y="247"/>
                  </a:lnTo>
                  <a:lnTo>
                    <a:pt x="785" y="230"/>
                  </a:lnTo>
                  <a:lnTo>
                    <a:pt x="780" y="213"/>
                  </a:lnTo>
                  <a:lnTo>
                    <a:pt x="776" y="198"/>
                  </a:lnTo>
                  <a:lnTo>
                    <a:pt x="770" y="184"/>
                  </a:lnTo>
                  <a:lnTo>
                    <a:pt x="765" y="171"/>
                  </a:lnTo>
                  <a:lnTo>
                    <a:pt x="760" y="161"/>
                  </a:lnTo>
                  <a:lnTo>
                    <a:pt x="756" y="151"/>
                  </a:lnTo>
                  <a:lnTo>
                    <a:pt x="752" y="143"/>
                  </a:lnTo>
                  <a:lnTo>
                    <a:pt x="749" y="137"/>
                  </a:lnTo>
                  <a:lnTo>
                    <a:pt x="742" y="125"/>
                  </a:lnTo>
                  <a:lnTo>
                    <a:pt x="734" y="113"/>
                  </a:lnTo>
                  <a:lnTo>
                    <a:pt x="726" y="102"/>
                  </a:lnTo>
                  <a:lnTo>
                    <a:pt x="716" y="91"/>
                  </a:lnTo>
                  <a:lnTo>
                    <a:pt x="707" y="81"/>
                  </a:lnTo>
                  <a:lnTo>
                    <a:pt x="698" y="71"/>
                  </a:lnTo>
                  <a:lnTo>
                    <a:pt x="688" y="62"/>
                  </a:lnTo>
                  <a:lnTo>
                    <a:pt x="678" y="54"/>
                  </a:lnTo>
                  <a:lnTo>
                    <a:pt x="666" y="47"/>
                  </a:lnTo>
                  <a:lnTo>
                    <a:pt x="652" y="38"/>
                  </a:lnTo>
                  <a:lnTo>
                    <a:pt x="635" y="30"/>
                  </a:lnTo>
                  <a:lnTo>
                    <a:pt x="614" y="21"/>
                  </a:lnTo>
                  <a:lnTo>
                    <a:pt x="591" y="13"/>
                  </a:lnTo>
                  <a:lnTo>
                    <a:pt x="564" y="6"/>
                  </a:lnTo>
                  <a:lnTo>
                    <a:pt x="550" y="4"/>
                  </a:lnTo>
                  <a:lnTo>
                    <a:pt x="535" y="2"/>
                  </a:lnTo>
                  <a:lnTo>
                    <a:pt x="520" y="0"/>
                  </a:lnTo>
                  <a:lnTo>
                    <a:pt x="503" y="0"/>
                  </a:lnTo>
                  <a:lnTo>
                    <a:pt x="489" y="0"/>
                  </a:lnTo>
                  <a:lnTo>
                    <a:pt x="475" y="1"/>
                  </a:lnTo>
                  <a:lnTo>
                    <a:pt x="461" y="2"/>
                  </a:lnTo>
                  <a:lnTo>
                    <a:pt x="449" y="4"/>
                  </a:lnTo>
                  <a:lnTo>
                    <a:pt x="425" y="9"/>
                  </a:lnTo>
                  <a:lnTo>
                    <a:pt x="402" y="15"/>
                  </a:lnTo>
                  <a:lnTo>
                    <a:pt x="382" y="24"/>
                  </a:lnTo>
                  <a:lnTo>
                    <a:pt x="362" y="33"/>
                  </a:lnTo>
                  <a:lnTo>
                    <a:pt x="345" y="43"/>
                  </a:lnTo>
                  <a:lnTo>
                    <a:pt x="329" y="54"/>
                  </a:lnTo>
                  <a:lnTo>
                    <a:pt x="315" y="65"/>
                  </a:lnTo>
                  <a:lnTo>
                    <a:pt x="301" y="78"/>
                  </a:lnTo>
                  <a:lnTo>
                    <a:pt x="289" y="89"/>
                  </a:lnTo>
                  <a:lnTo>
                    <a:pt x="279" y="101"/>
                  </a:lnTo>
                  <a:lnTo>
                    <a:pt x="262" y="124"/>
                  </a:lnTo>
                  <a:lnTo>
                    <a:pt x="248" y="144"/>
                  </a:lnTo>
                  <a:lnTo>
                    <a:pt x="241" y="154"/>
                  </a:lnTo>
                  <a:lnTo>
                    <a:pt x="235" y="165"/>
                  </a:lnTo>
                  <a:lnTo>
                    <a:pt x="229" y="176"/>
                  </a:lnTo>
                  <a:lnTo>
                    <a:pt x="222" y="189"/>
                  </a:lnTo>
                  <a:lnTo>
                    <a:pt x="217" y="200"/>
                  </a:lnTo>
                  <a:lnTo>
                    <a:pt x="211" y="211"/>
                  </a:lnTo>
                  <a:lnTo>
                    <a:pt x="205" y="222"/>
                  </a:lnTo>
                  <a:lnTo>
                    <a:pt x="201" y="232"/>
                  </a:lnTo>
                  <a:lnTo>
                    <a:pt x="201" y="23"/>
                  </a:lnTo>
                  <a:lnTo>
                    <a:pt x="0" y="23"/>
                  </a:lnTo>
                  <a:close/>
                </a:path>
              </a:pathLst>
            </a:custGeom>
            <a:solidFill>
              <a:srgbClr val="5E737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276" u="sng">
                <a:solidFill>
                  <a:srgbClr val="000000"/>
                </a:solidFill>
                <a:latin typeface="Arial" charset="0"/>
                <a:cs typeface="Arial"/>
              </a:endParaRPr>
            </a:p>
          </p:txBody>
        </p:sp>
        <p:sp>
          <p:nvSpPr>
            <p:cNvPr id="1044" name="Freeform 68"/>
            <p:cNvSpPr>
              <a:spLocks/>
            </p:cNvSpPr>
            <p:nvPr userDrawn="1"/>
          </p:nvSpPr>
          <p:spPr bwMode="auto">
            <a:xfrm>
              <a:off x="5369" y="361"/>
              <a:ext cx="42" cy="51"/>
            </a:xfrm>
            <a:custGeom>
              <a:avLst/>
              <a:gdLst>
                <a:gd name="T0" fmla="*/ 0 w 843"/>
                <a:gd name="T1" fmla="*/ 0 h 1019"/>
                <a:gd name="T2" fmla="*/ 0 w 843"/>
                <a:gd name="T3" fmla="*/ 0 h 1019"/>
                <a:gd name="T4" fmla="*/ 0 w 843"/>
                <a:gd name="T5" fmla="*/ 0 h 1019"/>
                <a:gd name="T6" fmla="*/ 0 w 843"/>
                <a:gd name="T7" fmla="*/ 0 h 1019"/>
                <a:gd name="T8" fmla="*/ 0 w 843"/>
                <a:gd name="T9" fmla="*/ 0 h 1019"/>
                <a:gd name="T10" fmla="*/ 0 w 843"/>
                <a:gd name="T11" fmla="*/ 0 h 1019"/>
                <a:gd name="T12" fmla="*/ 0 w 843"/>
                <a:gd name="T13" fmla="*/ 0 h 1019"/>
                <a:gd name="T14" fmla="*/ 0 w 843"/>
                <a:gd name="T15" fmla="*/ 0 h 1019"/>
                <a:gd name="T16" fmla="*/ 0 w 843"/>
                <a:gd name="T17" fmla="*/ 0 h 1019"/>
                <a:gd name="T18" fmla="*/ 0 w 843"/>
                <a:gd name="T19" fmla="*/ 0 h 1019"/>
                <a:gd name="T20" fmla="*/ 0 w 843"/>
                <a:gd name="T21" fmla="*/ 0 h 1019"/>
                <a:gd name="T22" fmla="*/ 0 w 843"/>
                <a:gd name="T23" fmla="*/ 0 h 1019"/>
                <a:gd name="T24" fmla="*/ 0 w 843"/>
                <a:gd name="T25" fmla="*/ 0 h 1019"/>
                <a:gd name="T26" fmla="*/ 0 w 843"/>
                <a:gd name="T27" fmla="*/ 0 h 1019"/>
                <a:gd name="T28" fmla="*/ 0 w 843"/>
                <a:gd name="T29" fmla="*/ 0 h 1019"/>
                <a:gd name="T30" fmla="*/ 0 w 843"/>
                <a:gd name="T31" fmla="*/ 0 h 1019"/>
                <a:gd name="T32" fmla="*/ 0 w 843"/>
                <a:gd name="T33" fmla="*/ 0 h 1019"/>
                <a:gd name="T34" fmla="*/ 0 w 843"/>
                <a:gd name="T35" fmla="*/ 0 h 1019"/>
                <a:gd name="T36" fmla="*/ 0 w 843"/>
                <a:gd name="T37" fmla="*/ 0 h 1019"/>
                <a:gd name="T38" fmla="*/ 0 w 843"/>
                <a:gd name="T39" fmla="*/ 0 h 1019"/>
                <a:gd name="T40" fmla="*/ 0 w 843"/>
                <a:gd name="T41" fmla="*/ 0 h 1019"/>
                <a:gd name="T42" fmla="*/ 0 w 843"/>
                <a:gd name="T43" fmla="*/ 0 h 1019"/>
                <a:gd name="T44" fmla="*/ 0 w 843"/>
                <a:gd name="T45" fmla="*/ 0 h 1019"/>
                <a:gd name="T46" fmla="*/ 0 w 843"/>
                <a:gd name="T47" fmla="*/ 0 h 1019"/>
                <a:gd name="T48" fmla="*/ 0 w 843"/>
                <a:gd name="T49" fmla="*/ 0 h 1019"/>
                <a:gd name="T50" fmla="*/ 0 w 843"/>
                <a:gd name="T51" fmla="*/ 0 h 1019"/>
                <a:gd name="T52" fmla="*/ 0 w 843"/>
                <a:gd name="T53" fmla="*/ 0 h 1019"/>
                <a:gd name="T54" fmla="*/ 0 w 843"/>
                <a:gd name="T55" fmla="*/ 0 h 1019"/>
                <a:gd name="T56" fmla="*/ 0 w 843"/>
                <a:gd name="T57" fmla="*/ 0 h 1019"/>
                <a:gd name="T58" fmla="*/ 0 w 843"/>
                <a:gd name="T59" fmla="*/ 0 h 1019"/>
                <a:gd name="T60" fmla="*/ 0 w 843"/>
                <a:gd name="T61" fmla="*/ 0 h 1019"/>
                <a:gd name="T62" fmla="*/ 0 w 843"/>
                <a:gd name="T63" fmla="*/ 0 h 1019"/>
                <a:gd name="T64" fmla="*/ 0 w 843"/>
                <a:gd name="T65" fmla="*/ 0 h 1019"/>
                <a:gd name="T66" fmla="*/ 0 w 843"/>
                <a:gd name="T67" fmla="*/ 0 h 1019"/>
                <a:gd name="T68" fmla="*/ 0 w 843"/>
                <a:gd name="T69" fmla="*/ 0 h 1019"/>
                <a:gd name="T70" fmla="*/ 0 w 843"/>
                <a:gd name="T71" fmla="*/ 0 h 1019"/>
                <a:gd name="T72" fmla="*/ 0 w 843"/>
                <a:gd name="T73" fmla="*/ 0 h 1019"/>
                <a:gd name="T74" fmla="*/ 0 w 843"/>
                <a:gd name="T75" fmla="*/ 0 h 1019"/>
                <a:gd name="T76" fmla="*/ 0 w 843"/>
                <a:gd name="T77" fmla="*/ 0 h 1019"/>
                <a:gd name="T78" fmla="*/ 0 w 843"/>
                <a:gd name="T79" fmla="*/ 0 h 1019"/>
                <a:gd name="T80" fmla="*/ 0 w 843"/>
                <a:gd name="T81" fmla="*/ 0 h 1019"/>
                <a:gd name="T82" fmla="*/ 0 w 843"/>
                <a:gd name="T83" fmla="*/ 0 h 1019"/>
                <a:gd name="T84" fmla="*/ 0 w 843"/>
                <a:gd name="T85" fmla="*/ 0 h 1019"/>
                <a:gd name="T86" fmla="*/ 0 w 843"/>
                <a:gd name="T87" fmla="*/ 0 h 1019"/>
                <a:gd name="T88" fmla="*/ 0 w 843"/>
                <a:gd name="T89" fmla="*/ 0 h 1019"/>
                <a:gd name="T90" fmla="*/ 0 w 843"/>
                <a:gd name="T91" fmla="*/ 0 h 1019"/>
                <a:gd name="T92" fmla="*/ 0 w 843"/>
                <a:gd name="T93" fmla="*/ 0 h 1019"/>
                <a:gd name="T94" fmla="*/ 0 w 843"/>
                <a:gd name="T95" fmla="*/ 0 h 1019"/>
                <a:gd name="T96" fmla="*/ 0 w 843"/>
                <a:gd name="T97" fmla="*/ 0 h 1019"/>
                <a:gd name="T98" fmla="*/ 0 w 843"/>
                <a:gd name="T99" fmla="*/ 0 h 1019"/>
                <a:gd name="T100" fmla="*/ 0 w 843"/>
                <a:gd name="T101" fmla="*/ 0 h 1019"/>
                <a:gd name="T102" fmla="*/ 0 w 843"/>
                <a:gd name="T103" fmla="*/ 0 h 1019"/>
                <a:gd name="T104" fmla="*/ 0 w 843"/>
                <a:gd name="T105" fmla="*/ 0 h 1019"/>
                <a:gd name="T106" fmla="*/ 0 w 843"/>
                <a:gd name="T107" fmla="*/ 0 h 1019"/>
                <a:gd name="T108" fmla="*/ 0 w 843"/>
                <a:gd name="T109" fmla="*/ 0 h 1019"/>
                <a:gd name="T110" fmla="*/ 0 w 843"/>
                <a:gd name="T111" fmla="*/ 0 h 1019"/>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843" h="1019">
                  <a:moveTo>
                    <a:pt x="498" y="635"/>
                  </a:moveTo>
                  <a:lnTo>
                    <a:pt x="515" y="639"/>
                  </a:lnTo>
                  <a:lnTo>
                    <a:pt x="531" y="643"/>
                  </a:lnTo>
                  <a:lnTo>
                    <a:pt x="546" y="648"/>
                  </a:lnTo>
                  <a:lnTo>
                    <a:pt x="561" y="654"/>
                  </a:lnTo>
                  <a:lnTo>
                    <a:pt x="575" y="661"/>
                  </a:lnTo>
                  <a:lnTo>
                    <a:pt x="587" y="669"/>
                  </a:lnTo>
                  <a:lnTo>
                    <a:pt x="593" y="674"/>
                  </a:lnTo>
                  <a:lnTo>
                    <a:pt x="598" y="679"/>
                  </a:lnTo>
                  <a:lnTo>
                    <a:pt x="602" y="685"/>
                  </a:lnTo>
                  <a:lnTo>
                    <a:pt x="606" y="691"/>
                  </a:lnTo>
                  <a:lnTo>
                    <a:pt x="609" y="699"/>
                  </a:lnTo>
                  <a:lnTo>
                    <a:pt x="612" y="705"/>
                  </a:lnTo>
                  <a:lnTo>
                    <a:pt x="614" y="712"/>
                  </a:lnTo>
                  <a:lnTo>
                    <a:pt x="616" y="718"/>
                  </a:lnTo>
                  <a:lnTo>
                    <a:pt x="617" y="723"/>
                  </a:lnTo>
                  <a:lnTo>
                    <a:pt x="618" y="728"/>
                  </a:lnTo>
                  <a:lnTo>
                    <a:pt x="618" y="732"/>
                  </a:lnTo>
                  <a:lnTo>
                    <a:pt x="618" y="736"/>
                  </a:lnTo>
                  <a:lnTo>
                    <a:pt x="618" y="746"/>
                  </a:lnTo>
                  <a:lnTo>
                    <a:pt x="616" y="756"/>
                  </a:lnTo>
                  <a:lnTo>
                    <a:pt x="613" y="765"/>
                  </a:lnTo>
                  <a:lnTo>
                    <a:pt x="610" y="773"/>
                  </a:lnTo>
                  <a:lnTo>
                    <a:pt x="607" y="780"/>
                  </a:lnTo>
                  <a:lnTo>
                    <a:pt x="603" y="787"/>
                  </a:lnTo>
                  <a:lnTo>
                    <a:pt x="598" y="794"/>
                  </a:lnTo>
                  <a:lnTo>
                    <a:pt x="593" y="799"/>
                  </a:lnTo>
                  <a:lnTo>
                    <a:pt x="584" y="811"/>
                  </a:lnTo>
                  <a:lnTo>
                    <a:pt x="574" y="819"/>
                  </a:lnTo>
                  <a:lnTo>
                    <a:pt x="565" y="825"/>
                  </a:lnTo>
                  <a:lnTo>
                    <a:pt x="558" y="828"/>
                  </a:lnTo>
                  <a:lnTo>
                    <a:pt x="549" y="833"/>
                  </a:lnTo>
                  <a:lnTo>
                    <a:pt x="538" y="837"/>
                  </a:lnTo>
                  <a:lnTo>
                    <a:pt x="524" y="842"/>
                  </a:lnTo>
                  <a:lnTo>
                    <a:pt x="507" y="846"/>
                  </a:lnTo>
                  <a:lnTo>
                    <a:pt x="489" y="850"/>
                  </a:lnTo>
                  <a:lnTo>
                    <a:pt x="469" y="853"/>
                  </a:lnTo>
                  <a:lnTo>
                    <a:pt x="446" y="855"/>
                  </a:lnTo>
                  <a:lnTo>
                    <a:pt x="423" y="856"/>
                  </a:lnTo>
                  <a:lnTo>
                    <a:pt x="414" y="856"/>
                  </a:lnTo>
                  <a:lnTo>
                    <a:pt x="398" y="855"/>
                  </a:lnTo>
                  <a:lnTo>
                    <a:pt x="378" y="853"/>
                  </a:lnTo>
                  <a:lnTo>
                    <a:pt x="353" y="849"/>
                  </a:lnTo>
                  <a:lnTo>
                    <a:pt x="341" y="846"/>
                  </a:lnTo>
                  <a:lnTo>
                    <a:pt x="328" y="843"/>
                  </a:lnTo>
                  <a:lnTo>
                    <a:pt x="315" y="839"/>
                  </a:lnTo>
                  <a:lnTo>
                    <a:pt x="302" y="834"/>
                  </a:lnTo>
                  <a:lnTo>
                    <a:pt x="289" y="829"/>
                  </a:lnTo>
                  <a:lnTo>
                    <a:pt x="277" y="822"/>
                  </a:lnTo>
                  <a:lnTo>
                    <a:pt x="265" y="815"/>
                  </a:lnTo>
                  <a:lnTo>
                    <a:pt x="254" y="806"/>
                  </a:lnTo>
                  <a:lnTo>
                    <a:pt x="247" y="800"/>
                  </a:lnTo>
                  <a:lnTo>
                    <a:pt x="242" y="794"/>
                  </a:lnTo>
                  <a:lnTo>
                    <a:pt x="236" y="788"/>
                  </a:lnTo>
                  <a:lnTo>
                    <a:pt x="231" y="781"/>
                  </a:lnTo>
                  <a:lnTo>
                    <a:pt x="225" y="772"/>
                  </a:lnTo>
                  <a:lnTo>
                    <a:pt x="219" y="762"/>
                  </a:lnTo>
                  <a:lnTo>
                    <a:pt x="213" y="750"/>
                  </a:lnTo>
                  <a:lnTo>
                    <a:pt x="205" y="734"/>
                  </a:lnTo>
                  <a:lnTo>
                    <a:pt x="0" y="778"/>
                  </a:lnTo>
                  <a:lnTo>
                    <a:pt x="14" y="803"/>
                  </a:lnTo>
                  <a:lnTo>
                    <a:pt x="26" y="827"/>
                  </a:lnTo>
                  <a:lnTo>
                    <a:pt x="37" y="846"/>
                  </a:lnTo>
                  <a:lnTo>
                    <a:pt x="47" y="864"/>
                  </a:lnTo>
                  <a:lnTo>
                    <a:pt x="57" y="879"/>
                  </a:lnTo>
                  <a:lnTo>
                    <a:pt x="66" y="892"/>
                  </a:lnTo>
                  <a:lnTo>
                    <a:pt x="75" y="903"/>
                  </a:lnTo>
                  <a:lnTo>
                    <a:pt x="85" y="914"/>
                  </a:lnTo>
                  <a:lnTo>
                    <a:pt x="100" y="928"/>
                  </a:lnTo>
                  <a:lnTo>
                    <a:pt x="117" y="940"/>
                  </a:lnTo>
                  <a:lnTo>
                    <a:pt x="134" y="952"/>
                  </a:lnTo>
                  <a:lnTo>
                    <a:pt x="153" y="962"/>
                  </a:lnTo>
                  <a:lnTo>
                    <a:pt x="173" y="973"/>
                  </a:lnTo>
                  <a:lnTo>
                    <a:pt x="194" y="981"/>
                  </a:lnTo>
                  <a:lnTo>
                    <a:pt x="215" y="989"/>
                  </a:lnTo>
                  <a:lnTo>
                    <a:pt x="237" y="995"/>
                  </a:lnTo>
                  <a:lnTo>
                    <a:pt x="260" y="1001"/>
                  </a:lnTo>
                  <a:lnTo>
                    <a:pt x="281" y="1006"/>
                  </a:lnTo>
                  <a:lnTo>
                    <a:pt x="303" y="1010"/>
                  </a:lnTo>
                  <a:lnTo>
                    <a:pt x="326" y="1013"/>
                  </a:lnTo>
                  <a:lnTo>
                    <a:pt x="348" y="1016"/>
                  </a:lnTo>
                  <a:lnTo>
                    <a:pt x="370" y="1018"/>
                  </a:lnTo>
                  <a:lnTo>
                    <a:pt x="391" y="1019"/>
                  </a:lnTo>
                  <a:lnTo>
                    <a:pt x="412" y="1019"/>
                  </a:lnTo>
                  <a:lnTo>
                    <a:pt x="431" y="1019"/>
                  </a:lnTo>
                  <a:lnTo>
                    <a:pt x="460" y="1017"/>
                  </a:lnTo>
                  <a:lnTo>
                    <a:pt x="478" y="1016"/>
                  </a:lnTo>
                  <a:lnTo>
                    <a:pt x="497" y="1014"/>
                  </a:lnTo>
                  <a:lnTo>
                    <a:pt x="519" y="1011"/>
                  </a:lnTo>
                  <a:lnTo>
                    <a:pt x="540" y="1007"/>
                  </a:lnTo>
                  <a:lnTo>
                    <a:pt x="563" y="1003"/>
                  </a:lnTo>
                  <a:lnTo>
                    <a:pt x="587" y="997"/>
                  </a:lnTo>
                  <a:lnTo>
                    <a:pt x="611" y="990"/>
                  </a:lnTo>
                  <a:lnTo>
                    <a:pt x="635" y="982"/>
                  </a:lnTo>
                  <a:lnTo>
                    <a:pt x="659" y="971"/>
                  </a:lnTo>
                  <a:lnTo>
                    <a:pt x="683" y="960"/>
                  </a:lnTo>
                  <a:lnTo>
                    <a:pt x="694" y="954"/>
                  </a:lnTo>
                  <a:lnTo>
                    <a:pt x="705" y="948"/>
                  </a:lnTo>
                  <a:lnTo>
                    <a:pt x="716" y="941"/>
                  </a:lnTo>
                  <a:lnTo>
                    <a:pt x="727" y="933"/>
                  </a:lnTo>
                  <a:lnTo>
                    <a:pt x="745" y="919"/>
                  </a:lnTo>
                  <a:lnTo>
                    <a:pt x="761" y="903"/>
                  </a:lnTo>
                  <a:lnTo>
                    <a:pt x="776" y="887"/>
                  </a:lnTo>
                  <a:lnTo>
                    <a:pt x="789" y="872"/>
                  </a:lnTo>
                  <a:lnTo>
                    <a:pt x="799" y="855"/>
                  </a:lnTo>
                  <a:lnTo>
                    <a:pt x="809" y="839"/>
                  </a:lnTo>
                  <a:lnTo>
                    <a:pt x="817" y="823"/>
                  </a:lnTo>
                  <a:lnTo>
                    <a:pt x="824" y="807"/>
                  </a:lnTo>
                  <a:lnTo>
                    <a:pt x="829" y="791"/>
                  </a:lnTo>
                  <a:lnTo>
                    <a:pt x="834" y="776"/>
                  </a:lnTo>
                  <a:lnTo>
                    <a:pt x="837" y="761"/>
                  </a:lnTo>
                  <a:lnTo>
                    <a:pt x="840" y="747"/>
                  </a:lnTo>
                  <a:lnTo>
                    <a:pt x="842" y="722"/>
                  </a:lnTo>
                  <a:lnTo>
                    <a:pt x="843" y="701"/>
                  </a:lnTo>
                  <a:lnTo>
                    <a:pt x="843" y="683"/>
                  </a:lnTo>
                  <a:lnTo>
                    <a:pt x="841" y="665"/>
                  </a:lnTo>
                  <a:lnTo>
                    <a:pt x="838" y="648"/>
                  </a:lnTo>
                  <a:lnTo>
                    <a:pt x="835" y="630"/>
                  </a:lnTo>
                  <a:lnTo>
                    <a:pt x="830" y="613"/>
                  </a:lnTo>
                  <a:lnTo>
                    <a:pt x="824" y="597"/>
                  </a:lnTo>
                  <a:lnTo>
                    <a:pt x="817" y="581"/>
                  </a:lnTo>
                  <a:lnTo>
                    <a:pt x="809" y="564"/>
                  </a:lnTo>
                  <a:lnTo>
                    <a:pt x="800" y="549"/>
                  </a:lnTo>
                  <a:lnTo>
                    <a:pt x="791" y="535"/>
                  </a:lnTo>
                  <a:lnTo>
                    <a:pt x="780" y="520"/>
                  </a:lnTo>
                  <a:lnTo>
                    <a:pt x="767" y="507"/>
                  </a:lnTo>
                  <a:lnTo>
                    <a:pt x="755" y="495"/>
                  </a:lnTo>
                  <a:lnTo>
                    <a:pt x="742" y="484"/>
                  </a:lnTo>
                  <a:lnTo>
                    <a:pt x="728" y="473"/>
                  </a:lnTo>
                  <a:lnTo>
                    <a:pt x="711" y="463"/>
                  </a:lnTo>
                  <a:lnTo>
                    <a:pt x="702" y="457"/>
                  </a:lnTo>
                  <a:lnTo>
                    <a:pt x="692" y="452"/>
                  </a:lnTo>
                  <a:lnTo>
                    <a:pt x="682" y="448"/>
                  </a:lnTo>
                  <a:lnTo>
                    <a:pt x="670" y="443"/>
                  </a:lnTo>
                  <a:lnTo>
                    <a:pt x="656" y="438"/>
                  </a:lnTo>
                  <a:lnTo>
                    <a:pt x="642" y="433"/>
                  </a:lnTo>
                  <a:lnTo>
                    <a:pt x="624" y="427"/>
                  </a:lnTo>
                  <a:lnTo>
                    <a:pt x="603" y="420"/>
                  </a:lnTo>
                  <a:lnTo>
                    <a:pt x="382" y="379"/>
                  </a:lnTo>
                  <a:lnTo>
                    <a:pt x="362" y="374"/>
                  </a:lnTo>
                  <a:lnTo>
                    <a:pt x="343" y="369"/>
                  </a:lnTo>
                  <a:lnTo>
                    <a:pt x="325" y="364"/>
                  </a:lnTo>
                  <a:lnTo>
                    <a:pt x="308" y="356"/>
                  </a:lnTo>
                  <a:lnTo>
                    <a:pt x="300" y="352"/>
                  </a:lnTo>
                  <a:lnTo>
                    <a:pt x="292" y="348"/>
                  </a:lnTo>
                  <a:lnTo>
                    <a:pt x="285" y="343"/>
                  </a:lnTo>
                  <a:lnTo>
                    <a:pt x="278" y="338"/>
                  </a:lnTo>
                  <a:lnTo>
                    <a:pt x="272" y="332"/>
                  </a:lnTo>
                  <a:lnTo>
                    <a:pt x="266" y="325"/>
                  </a:lnTo>
                  <a:lnTo>
                    <a:pt x="261" y="318"/>
                  </a:lnTo>
                  <a:lnTo>
                    <a:pt x="255" y="309"/>
                  </a:lnTo>
                  <a:lnTo>
                    <a:pt x="252" y="303"/>
                  </a:lnTo>
                  <a:lnTo>
                    <a:pt x="250" y="296"/>
                  </a:lnTo>
                  <a:lnTo>
                    <a:pt x="248" y="291"/>
                  </a:lnTo>
                  <a:lnTo>
                    <a:pt x="246" y="285"/>
                  </a:lnTo>
                  <a:lnTo>
                    <a:pt x="245" y="280"/>
                  </a:lnTo>
                  <a:lnTo>
                    <a:pt x="245" y="276"/>
                  </a:lnTo>
                  <a:lnTo>
                    <a:pt x="244" y="273"/>
                  </a:lnTo>
                  <a:lnTo>
                    <a:pt x="244" y="270"/>
                  </a:lnTo>
                  <a:lnTo>
                    <a:pt x="245" y="262"/>
                  </a:lnTo>
                  <a:lnTo>
                    <a:pt x="245" y="255"/>
                  </a:lnTo>
                  <a:lnTo>
                    <a:pt x="247" y="249"/>
                  </a:lnTo>
                  <a:lnTo>
                    <a:pt x="248" y="241"/>
                  </a:lnTo>
                  <a:lnTo>
                    <a:pt x="250" y="236"/>
                  </a:lnTo>
                  <a:lnTo>
                    <a:pt x="252" y="231"/>
                  </a:lnTo>
                  <a:lnTo>
                    <a:pt x="254" y="227"/>
                  </a:lnTo>
                  <a:lnTo>
                    <a:pt x="255" y="225"/>
                  </a:lnTo>
                  <a:lnTo>
                    <a:pt x="262" y="216"/>
                  </a:lnTo>
                  <a:lnTo>
                    <a:pt x="268" y="209"/>
                  </a:lnTo>
                  <a:lnTo>
                    <a:pt x="275" y="202"/>
                  </a:lnTo>
                  <a:lnTo>
                    <a:pt x="283" y="196"/>
                  </a:lnTo>
                  <a:lnTo>
                    <a:pt x="290" y="191"/>
                  </a:lnTo>
                  <a:lnTo>
                    <a:pt x="298" y="185"/>
                  </a:lnTo>
                  <a:lnTo>
                    <a:pt x="307" y="181"/>
                  </a:lnTo>
                  <a:lnTo>
                    <a:pt x="316" y="178"/>
                  </a:lnTo>
                  <a:lnTo>
                    <a:pt x="331" y="173"/>
                  </a:lnTo>
                  <a:lnTo>
                    <a:pt x="346" y="170"/>
                  </a:lnTo>
                  <a:lnTo>
                    <a:pt x="358" y="168"/>
                  </a:lnTo>
                  <a:lnTo>
                    <a:pt x="367" y="167"/>
                  </a:lnTo>
                  <a:lnTo>
                    <a:pt x="375" y="165"/>
                  </a:lnTo>
                  <a:lnTo>
                    <a:pt x="383" y="165"/>
                  </a:lnTo>
                  <a:lnTo>
                    <a:pt x="390" y="164"/>
                  </a:lnTo>
                  <a:lnTo>
                    <a:pt x="397" y="163"/>
                  </a:lnTo>
                  <a:lnTo>
                    <a:pt x="403" y="163"/>
                  </a:lnTo>
                  <a:lnTo>
                    <a:pt x="409" y="163"/>
                  </a:lnTo>
                  <a:lnTo>
                    <a:pt x="414" y="163"/>
                  </a:lnTo>
                  <a:lnTo>
                    <a:pt x="418" y="163"/>
                  </a:lnTo>
                  <a:lnTo>
                    <a:pt x="438" y="164"/>
                  </a:lnTo>
                  <a:lnTo>
                    <a:pt x="457" y="166"/>
                  </a:lnTo>
                  <a:lnTo>
                    <a:pt x="476" y="169"/>
                  </a:lnTo>
                  <a:lnTo>
                    <a:pt x="492" y="174"/>
                  </a:lnTo>
                  <a:lnTo>
                    <a:pt x="506" y="179"/>
                  </a:lnTo>
                  <a:lnTo>
                    <a:pt x="520" y="186"/>
                  </a:lnTo>
                  <a:lnTo>
                    <a:pt x="532" y="194"/>
                  </a:lnTo>
                  <a:lnTo>
                    <a:pt x="543" y="201"/>
                  </a:lnTo>
                  <a:lnTo>
                    <a:pt x="552" y="210"/>
                  </a:lnTo>
                  <a:lnTo>
                    <a:pt x="561" y="218"/>
                  </a:lnTo>
                  <a:lnTo>
                    <a:pt x="569" y="227"/>
                  </a:lnTo>
                  <a:lnTo>
                    <a:pt x="577" y="236"/>
                  </a:lnTo>
                  <a:lnTo>
                    <a:pt x="589" y="254"/>
                  </a:lnTo>
                  <a:lnTo>
                    <a:pt x="599" y="270"/>
                  </a:lnTo>
                  <a:lnTo>
                    <a:pt x="792" y="229"/>
                  </a:lnTo>
                  <a:lnTo>
                    <a:pt x="781" y="205"/>
                  </a:lnTo>
                  <a:lnTo>
                    <a:pt x="771" y="184"/>
                  </a:lnTo>
                  <a:lnTo>
                    <a:pt x="761" y="168"/>
                  </a:lnTo>
                  <a:lnTo>
                    <a:pt x="753" y="153"/>
                  </a:lnTo>
                  <a:lnTo>
                    <a:pt x="745" y="141"/>
                  </a:lnTo>
                  <a:lnTo>
                    <a:pt x="737" y="129"/>
                  </a:lnTo>
                  <a:lnTo>
                    <a:pt x="729" y="119"/>
                  </a:lnTo>
                  <a:lnTo>
                    <a:pt x="720" y="109"/>
                  </a:lnTo>
                  <a:lnTo>
                    <a:pt x="705" y="95"/>
                  </a:lnTo>
                  <a:lnTo>
                    <a:pt x="690" y="83"/>
                  </a:lnTo>
                  <a:lnTo>
                    <a:pt x="674" y="70"/>
                  </a:lnTo>
                  <a:lnTo>
                    <a:pt x="656" y="59"/>
                  </a:lnTo>
                  <a:lnTo>
                    <a:pt x="638" y="50"/>
                  </a:lnTo>
                  <a:lnTo>
                    <a:pt x="620" y="41"/>
                  </a:lnTo>
                  <a:lnTo>
                    <a:pt x="600" y="33"/>
                  </a:lnTo>
                  <a:lnTo>
                    <a:pt x="581" y="26"/>
                  </a:lnTo>
                  <a:lnTo>
                    <a:pt x="560" y="19"/>
                  </a:lnTo>
                  <a:lnTo>
                    <a:pt x="540" y="14"/>
                  </a:lnTo>
                  <a:lnTo>
                    <a:pt x="520" y="9"/>
                  </a:lnTo>
                  <a:lnTo>
                    <a:pt x="498" y="6"/>
                  </a:lnTo>
                  <a:lnTo>
                    <a:pt x="478" y="3"/>
                  </a:lnTo>
                  <a:lnTo>
                    <a:pt x="458" y="1"/>
                  </a:lnTo>
                  <a:lnTo>
                    <a:pt x="438" y="0"/>
                  </a:lnTo>
                  <a:lnTo>
                    <a:pt x="419" y="0"/>
                  </a:lnTo>
                  <a:lnTo>
                    <a:pt x="400" y="0"/>
                  </a:lnTo>
                  <a:lnTo>
                    <a:pt x="382" y="1"/>
                  </a:lnTo>
                  <a:lnTo>
                    <a:pt x="364" y="2"/>
                  </a:lnTo>
                  <a:lnTo>
                    <a:pt x="344" y="5"/>
                  </a:lnTo>
                  <a:lnTo>
                    <a:pt x="325" y="7"/>
                  </a:lnTo>
                  <a:lnTo>
                    <a:pt x="306" y="11"/>
                  </a:lnTo>
                  <a:lnTo>
                    <a:pt x="288" y="15"/>
                  </a:lnTo>
                  <a:lnTo>
                    <a:pt x="269" y="19"/>
                  </a:lnTo>
                  <a:lnTo>
                    <a:pt x="250" y="26"/>
                  </a:lnTo>
                  <a:lnTo>
                    <a:pt x="233" y="32"/>
                  </a:lnTo>
                  <a:lnTo>
                    <a:pt x="216" y="39"/>
                  </a:lnTo>
                  <a:lnTo>
                    <a:pt x="198" y="47"/>
                  </a:lnTo>
                  <a:lnTo>
                    <a:pt x="182" y="55"/>
                  </a:lnTo>
                  <a:lnTo>
                    <a:pt x="167" y="65"/>
                  </a:lnTo>
                  <a:lnTo>
                    <a:pt x="151" y="75"/>
                  </a:lnTo>
                  <a:lnTo>
                    <a:pt x="137" y="87"/>
                  </a:lnTo>
                  <a:lnTo>
                    <a:pt x="126" y="97"/>
                  </a:lnTo>
                  <a:lnTo>
                    <a:pt x="116" y="108"/>
                  </a:lnTo>
                  <a:lnTo>
                    <a:pt x="106" y="120"/>
                  </a:lnTo>
                  <a:lnTo>
                    <a:pt x="95" y="134"/>
                  </a:lnTo>
                  <a:lnTo>
                    <a:pt x="86" y="147"/>
                  </a:lnTo>
                  <a:lnTo>
                    <a:pt x="78" y="161"/>
                  </a:lnTo>
                  <a:lnTo>
                    <a:pt x="71" y="175"/>
                  </a:lnTo>
                  <a:lnTo>
                    <a:pt x="64" y="191"/>
                  </a:lnTo>
                  <a:lnTo>
                    <a:pt x="58" y="206"/>
                  </a:lnTo>
                  <a:lnTo>
                    <a:pt x="51" y="222"/>
                  </a:lnTo>
                  <a:lnTo>
                    <a:pt x="47" y="237"/>
                  </a:lnTo>
                  <a:lnTo>
                    <a:pt x="43" y="254"/>
                  </a:lnTo>
                  <a:lnTo>
                    <a:pt x="40" y="270"/>
                  </a:lnTo>
                  <a:lnTo>
                    <a:pt x="38" y="286"/>
                  </a:lnTo>
                  <a:lnTo>
                    <a:pt x="36" y="303"/>
                  </a:lnTo>
                  <a:lnTo>
                    <a:pt x="36" y="319"/>
                  </a:lnTo>
                  <a:lnTo>
                    <a:pt x="37" y="343"/>
                  </a:lnTo>
                  <a:lnTo>
                    <a:pt x="40" y="366"/>
                  </a:lnTo>
                  <a:lnTo>
                    <a:pt x="44" y="387"/>
                  </a:lnTo>
                  <a:lnTo>
                    <a:pt x="49" y="406"/>
                  </a:lnTo>
                  <a:lnTo>
                    <a:pt x="57" y="425"/>
                  </a:lnTo>
                  <a:lnTo>
                    <a:pt x="65" y="441"/>
                  </a:lnTo>
                  <a:lnTo>
                    <a:pt x="73" y="456"/>
                  </a:lnTo>
                  <a:lnTo>
                    <a:pt x="83" y="471"/>
                  </a:lnTo>
                  <a:lnTo>
                    <a:pt x="92" y="484"/>
                  </a:lnTo>
                  <a:lnTo>
                    <a:pt x="102" y="495"/>
                  </a:lnTo>
                  <a:lnTo>
                    <a:pt x="113" y="506"/>
                  </a:lnTo>
                  <a:lnTo>
                    <a:pt x="123" y="515"/>
                  </a:lnTo>
                  <a:lnTo>
                    <a:pt x="133" y="523"/>
                  </a:lnTo>
                  <a:lnTo>
                    <a:pt x="143" y="531"/>
                  </a:lnTo>
                  <a:lnTo>
                    <a:pt x="151" y="537"/>
                  </a:lnTo>
                  <a:lnTo>
                    <a:pt x="160" y="542"/>
                  </a:lnTo>
                  <a:lnTo>
                    <a:pt x="174" y="550"/>
                  </a:lnTo>
                  <a:lnTo>
                    <a:pt x="188" y="557"/>
                  </a:lnTo>
                  <a:lnTo>
                    <a:pt x="201" y="564"/>
                  </a:lnTo>
                  <a:lnTo>
                    <a:pt x="216" y="569"/>
                  </a:lnTo>
                  <a:lnTo>
                    <a:pt x="230" y="574"/>
                  </a:lnTo>
                  <a:lnTo>
                    <a:pt x="244" y="578"/>
                  </a:lnTo>
                  <a:lnTo>
                    <a:pt x="260" y="584"/>
                  </a:lnTo>
                  <a:lnTo>
                    <a:pt x="275" y="589"/>
                  </a:lnTo>
                  <a:lnTo>
                    <a:pt x="498" y="635"/>
                  </a:lnTo>
                  <a:close/>
                </a:path>
              </a:pathLst>
            </a:custGeom>
            <a:solidFill>
              <a:srgbClr val="5E737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276" u="sng">
                <a:solidFill>
                  <a:srgbClr val="000000"/>
                </a:solidFill>
                <a:latin typeface="Arial" charset="0"/>
                <a:cs typeface="Arial"/>
              </a:endParaRPr>
            </a:p>
          </p:txBody>
        </p:sp>
        <p:sp>
          <p:nvSpPr>
            <p:cNvPr id="1045" name="Freeform 69"/>
            <p:cNvSpPr>
              <a:spLocks noEditPoints="1"/>
            </p:cNvSpPr>
            <p:nvPr userDrawn="1"/>
          </p:nvSpPr>
          <p:spPr bwMode="auto">
            <a:xfrm>
              <a:off x="5416" y="362"/>
              <a:ext cx="45" cy="50"/>
            </a:xfrm>
            <a:custGeom>
              <a:avLst/>
              <a:gdLst>
                <a:gd name="T0" fmla="*/ 0 w 902"/>
                <a:gd name="T1" fmla="*/ 0 h 1017"/>
                <a:gd name="T2" fmla="*/ 0 w 902"/>
                <a:gd name="T3" fmla="*/ 0 h 1017"/>
                <a:gd name="T4" fmla="*/ 0 w 902"/>
                <a:gd name="T5" fmla="*/ 0 h 1017"/>
                <a:gd name="T6" fmla="*/ 0 w 902"/>
                <a:gd name="T7" fmla="*/ 0 h 1017"/>
                <a:gd name="T8" fmla="*/ 0 w 902"/>
                <a:gd name="T9" fmla="*/ 0 h 1017"/>
                <a:gd name="T10" fmla="*/ 0 w 902"/>
                <a:gd name="T11" fmla="*/ 0 h 1017"/>
                <a:gd name="T12" fmla="*/ 0 w 902"/>
                <a:gd name="T13" fmla="*/ 0 h 1017"/>
                <a:gd name="T14" fmla="*/ 0 w 902"/>
                <a:gd name="T15" fmla="*/ 0 h 1017"/>
                <a:gd name="T16" fmla="*/ 0 w 902"/>
                <a:gd name="T17" fmla="*/ 0 h 1017"/>
                <a:gd name="T18" fmla="*/ 0 w 902"/>
                <a:gd name="T19" fmla="*/ 0 h 1017"/>
                <a:gd name="T20" fmla="*/ 0 w 902"/>
                <a:gd name="T21" fmla="*/ 0 h 1017"/>
                <a:gd name="T22" fmla="*/ 0 w 902"/>
                <a:gd name="T23" fmla="*/ 0 h 1017"/>
                <a:gd name="T24" fmla="*/ 0 w 902"/>
                <a:gd name="T25" fmla="*/ 0 h 1017"/>
                <a:gd name="T26" fmla="*/ 0 w 902"/>
                <a:gd name="T27" fmla="*/ 0 h 1017"/>
                <a:gd name="T28" fmla="*/ 0 w 902"/>
                <a:gd name="T29" fmla="*/ 0 h 1017"/>
                <a:gd name="T30" fmla="*/ 0 w 902"/>
                <a:gd name="T31" fmla="*/ 0 h 1017"/>
                <a:gd name="T32" fmla="*/ 0 w 902"/>
                <a:gd name="T33" fmla="*/ 0 h 1017"/>
                <a:gd name="T34" fmla="*/ 0 w 902"/>
                <a:gd name="T35" fmla="*/ 0 h 1017"/>
                <a:gd name="T36" fmla="*/ 0 w 902"/>
                <a:gd name="T37" fmla="*/ 0 h 1017"/>
                <a:gd name="T38" fmla="*/ 0 w 902"/>
                <a:gd name="T39" fmla="*/ 0 h 1017"/>
                <a:gd name="T40" fmla="*/ 0 w 902"/>
                <a:gd name="T41" fmla="*/ 0 h 1017"/>
                <a:gd name="T42" fmla="*/ 0 w 902"/>
                <a:gd name="T43" fmla="*/ 0 h 1017"/>
                <a:gd name="T44" fmla="*/ 0 w 902"/>
                <a:gd name="T45" fmla="*/ 0 h 1017"/>
                <a:gd name="T46" fmla="*/ 0 w 902"/>
                <a:gd name="T47" fmla="*/ 0 h 1017"/>
                <a:gd name="T48" fmla="*/ 0 w 902"/>
                <a:gd name="T49" fmla="*/ 0 h 1017"/>
                <a:gd name="T50" fmla="*/ 0 w 902"/>
                <a:gd name="T51" fmla="*/ 0 h 1017"/>
                <a:gd name="T52" fmla="*/ 0 w 902"/>
                <a:gd name="T53" fmla="*/ 0 h 1017"/>
                <a:gd name="T54" fmla="*/ 0 w 902"/>
                <a:gd name="T55" fmla="*/ 0 h 1017"/>
                <a:gd name="T56" fmla="*/ 0 w 902"/>
                <a:gd name="T57" fmla="*/ 0 h 1017"/>
                <a:gd name="T58" fmla="*/ 0 w 902"/>
                <a:gd name="T59" fmla="*/ 0 h 1017"/>
                <a:gd name="T60" fmla="*/ 0 w 902"/>
                <a:gd name="T61" fmla="*/ 0 h 1017"/>
                <a:gd name="T62" fmla="*/ 0 w 902"/>
                <a:gd name="T63" fmla="*/ 0 h 1017"/>
                <a:gd name="T64" fmla="*/ 0 w 902"/>
                <a:gd name="T65" fmla="*/ 0 h 1017"/>
                <a:gd name="T66" fmla="*/ 0 w 902"/>
                <a:gd name="T67" fmla="*/ 0 h 1017"/>
                <a:gd name="T68" fmla="*/ 0 w 902"/>
                <a:gd name="T69" fmla="*/ 0 h 1017"/>
                <a:gd name="T70" fmla="*/ 0 w 902"/>
                <a:gd name="T71" fmla="*/ 0 h 1017"/>
                <a:gd name="T72" fmla="*/ 0 w 902"/>
                <a:gd name="T73" fmla="*/ 0 h 1017"/>
                <a:gd name="T74" fmla="*/ 0 w 902"/>
                <a:gd name="T75" fmla="*/ 0 h 1017"/>
                <a:gd name="T76" fmla="*/ 0 w 902"/>
                <a:gd name="T77" fmla="*/ 0 h 1017"/>
                <a:gd name="T78" fmla="*/ 0 w 902"/>
                <a:gd name="T79" fmla="*/ 0 h 1017"/>
                <a:gd name="T80" fmla="*/ 0 w 902"/>
                <a:gd name="T81" fmla="*/ 0 h 1017"/>
                <a:gd name="T82" fmla="*/ 0 w 902"/>
                <a:gd name="T83" fmla="*/ 0 h 1017"/>
                <a:gd name="T84" fmla="*/ 0 w 902"/>
                <a:gd name="T85" fmla="*/ 0 h 1017"/>
                <a:gd name="T86" fmla="*/ 0 w 902"/>
                <a:gd name="T87" fmla="*/ 0 h 1017"/>
                <a:gd name="T88" fmla="*/ 0 w 902"/>
                <a:gd name="T89" fmla="*/ 0 h 1017"/>
                <a:gd name="T90" fmla="*/ 0 w 902"/>
                <a:gd name="T91" fmla="*/ 0 h 1017"/>
                <a:gd name="T92" fmla="*/ 0 w 902"/>
                <a:gd name="T93" fmla="*/ 0 h 1017"/>
                <a:gd name="T94" fmla="*/ 0 w 902"/>
                <a:gd name="T95" fmla="*/ 0 h 1017"/>
                <a:gd name="T96" fmla="*/ 0 w 902"/>
                <a:gd name="T97" fmla="*/ 0 h 1017"/>
                <a:gd name="T98" fmla="*/ 0 w 902"/>
                <a:gd name="T99" fmla="*/ 0 h 1017"/>
                <a:gd name="T100" fmla="*/ 0 w 902"/>
                <a:gd name="T101" fmla="*/ 0 h 1017"/>
                <a:gd name="T102" fmla="*/ 0 w 902"/>
                <a:gd name="T103" fmla="*/ 0 h 1017"/>
                <a:gd name="T104" fmla="*/ 0 w 902"/>
                <a:gd name="T105" fmla="*/ 0 h 1017"/>
                <a:gd name="T106" fmla="*/ 0 w 902"/>
                <a:gd name="T107" fmla="*/ 0 h 1017"/>
                <a:gd name="T108" fmla="*/ 0 w 902"/>
                <a:gd name="T109" fmla="*/ 0 h 1017"/>
                <a:gd name="T110" fmla="*/ 0 w 902"/>
                <a:gd name="T111" fmla="*/ 0 h 1017"/>
                <a:gd name="T112" fmla="*/ 0 w 902"/>
                <a:gd name="T113" fmla="*/ 0 h 1017"/>
                <a:gd name="T114" fmla="*/ 0 w 902"/>
                <a:gd name="T115" fmla="*/ 0 h 1017"/>
                <a:gd name="T116" fmla="*/ 0 w 902"/>
                <a:gd name="T117" fmla="*/ 0 h 1017"/>
                <a:gd name="T118" fmla="*/ 0 w 902"/>
                <a:gd name="T119" fmla="*/ 0 h 1017"/>
                <a:gd name="T120" fmla="*/ 0 w 902"/>
                <a:gd name="T121" fmla="*/ 0 h 1017"/>
                <a:gd name="T122" fmla="*/ 0 w 902"/>
                <a:gd name="T123" fmla="*/ 0 h 1017"/>
                <a:gd name="T124" fmla="*/ 0 w 902"/>
                <a:gd name="T125" fmla="*/ 0 h 101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902" h="1017">
                  <a:moveTo>
                    <a:pt x="1" y="483"/>
                  </a:moveTo>
                  <a:lnTo>
                    <a:pt x="0" y="507"/>
                  </a:lnTo>
                  <a:lnTo>
                    <a:pt x="0" y="532"/>
                  </a:lnTo>
                  <a:lnTo>
                    <a:pt x="1" y="554"/>
                  </a:lnTo>
                  <a:lnTo>
                    <a:pt x="2" y="577"/>
                  </a:lnTo>
                  <a:lnTo>
                    <a:pt x="4" y="599"/>
                  </a:lnTo>
                  <a:lnTo>
                    <a:pt x="7" y="620"/>
                  </a:lnTo>
                  <a:lnTo>
                    <a:pt x="10" y="641"/>
                  </a:lnTo>
                  <a:lnTo>
                    <a:pt x="15" y="660"/>
                  </a:lnTo>
                  <a:lnTo>
                    <a:pt x="19" y="679"/>
                  </a:lnTo>
                  <a:lnTo>
                    <a:pt x="25" y="699"/>
                  </a:lnTo>
                  <a:lnTo>
                    <a:pt x="31" y="716"/>
                  </a:lnTo>
                  <a:lnTo>
                    <a:pt x="38" y="734"/>
                  </a:lnTo>
                  <a:lnTo>
                    <a:pt x="44" y="751"/>
                  </a:lnTo>
                  <a:lnTo>
                    <a:pt x="51" y="767"/>
                  </a:lnTo>
                  <a:lnTo>
                    <a:pt x="59" y="782"/>
                  </a:lnTo>
                  <a:lnTo>
                    <a:pt x="67" y="797"/>
                  </a:lnTo>
                  <a:lnTo>
                    <a:pt x="76" y="812"/>
                  </a:lnTo>
                  <a:lnTo>
                    <a:pt x="84" y="825"/>
                  </a:lnTo>
                  <a:lnTo>
                    <a:pt x="93" y="838"/>
                  </a:lnTo>
                  <a:lnTo>
                    <a:pt x="102" y="850"/>
                  </a:lnTo>
                  <a:lnTo>
                    <a:pt x="120" y="874"/>
                  </a:lnTo>
                  <a:lnTo>
                    <a:pt x="139" y="895"/>
                  </a:lnTo>
                  <a:lnTo>
                    <a:pt x="158" y="914"/>
                  </a:lnTo>
                  <a:lnTo>
                    <a:pt x="177" y="930"/>
                  </a:lnTo>
                  <a:lnTo>
                    <a:pt x="196" y="944"/>
                  </a:lnTo>
                  <a:lnTo>
                    <a:pt x="213" y="955"/>
                  </a:lnTo>
                  <a:lnTo>
                    <a:pt x="231" y="965"/>
                  </a:lnTo>
                  <a:lnTo>
                    <a:pt x="248" y="975"/>
                  </a:lnTo>
                  <a:lnTo>
                    <a:pt x="265" y="983"/>
                  </a:lnTo>
                  <a:lnTo>
                    <a:pt x="283" y="990"/>
                  </a:lnTo>
                  <a:lnTo>
                    <a:pt x="300" y="995"/>
                  </a:lnTo>
                  <a:lnTo>
                    <a:pt x="316" y="1000"/>
                  </a:lnTo>
                  <a:lnTo>
                    <a:pt x="333" y="1004"/>
                  </a:lnTo>
                  <a:lnTo>
                    <a:pt x="349" y="1008"/>
                  </a:lnTo>
                  <a:lnTo>
                    <a:pt x="379" y="1013"/>
                  </a:lnTo>
                  <a:lnTo>
                    <a:pt x="405" y="1015"/>
                  </a:lnTo>
                  <a:lnTo>
                    <a:pt x="427" y="1016"/>
                  </a:lnTo>
                  <a:lnTo>
                    <a:pt x="444" y="1017"/>
                  </a:lnTo>
                  <a:lnTo>
                    <a:pt x="458" y="1016"/>
                  </a:lnTo>
                  <a:lnTo>
                    <a:pt x="474" y="1016"/>
                  </a:lnTo>
                  <a:lnTo>
                    <a:pt x="492" y="1014"/>
                  </a:lnTo>
                  <a:lnTo>
                    <a:pt x="511" y="1012"/>
                  </a:lnTo>
                  <a:lnTo>
                    <a:pt x="533" y="1009"/>
                  </a:lnTo>
                  <a:lnTo>
                    <a:pt x="554" y="1005"/>
                  </a:lnTo>
                  <a:lnTo>
                    <a:pt x="577" y="999"/>
                  </a:lnTo>
                  <a:lnTo>
                    <a:pt x="601" y="991"/>
                  </a:lnTo>
                  <a:lnTo>
                    <a:pt x="625" y="982"/>
                  </a:lnTo>
                  <a:lnTo>
                    <a:pt x="650" y="971"/>
                  </a:lnTo>
                  <a:lnTo>
                    <a:pt x="675" y="957"/>
                  </a:lnTo>
                  <a:lnTo>
                    <a:pt x="700" y="941"/>
                  </a:lnTo>
                  <a:lnTo>
                    <a:pt x="712" y="933"/>
                  </a:lnTo>
                  <a:lnTo>
                    <a:pt x="724" y="923"/>
                  </a:lnTo>
                  <a:lnTo>
                    <a:pt x="737" y="913"/>
                  </a:lnTo>
                  <a:lnTo>
                    <a:pt x="749" y="901"/>
                  </a:lnTo>
                  <a:lnTo>
                    <a:pt x="761" y="890"/>
                  </a:lnTo>
                  <a:lnTo>
                    <a:pt x="772" y="878"/>
                  </a:lnTo>
                  <a:lnTo>
                    <a:pt x="783" y="865"/>
                  </a:lnTo>
                  <a:lnTo>
                    <a:pt x="795" y="850"/>
                  </a:lnTo>
                  <a:lnTo>
                    <a:pt x="809" y="831"/>
                  </a:lnTo>
                  <a:lnTo>
                    <a:pt x="821" y="812"/>
                  </a:lnTo>
                  <a:lnTo>
                    <a:pt x="832" y="792"/>
                  </a:lnTo>
                  <a:lnTo>
                    <a:pt x="844" y="772"/>
                  </a:lnTo>
                  <a:lnTo>
                    <a:pt x="853" y="752"/>
                  </a:lnTo>
                  <a:lnTo>
                    <a:pt x="862" y="730"/>
                  </a:lnTo>
                  <a:lnTo>
                    <a:pt x="869" y="709"/>
                  </a:lnTo>
                  <a:lnTo>
                    <a:pt x="876" y="688"/>
                  </a:lnTo>
                  <a:lnTo>
                    <a:pt x="882" y="665"/>
                  </a:lnTo>
                  <a:lnTo>
                    <a:pt x="888" y="644"/>
                  </a:lnTo>
                  <a:lnTo>
                    <a:pt x="893" y="621"/>
                  </a:lnTo>
                  <a:lnTo>
                    <a:pt x="896" y="599"/>
                  </a:lnTo>
                  <a:lnTo>
                    <a:pt x="899" y="576"/>
                  </a:lnTo>
                  <a:lnTo>
                    <a:pt x="901" y="553"/>
                  </a:lnTo>
                  <a:lnTo>
                    <a:pt x="902" y="531"/>
                  </a:lnTo>
                  <a:lnTo>
                    <a:pt x="902" y="507"/>
                  </a:lnTo>
                  <a:lnTo>
                    <a:pt x="902" y="483"/>
                  </a:lnTo>
                  <a:lnTo>
                    <a:pt x="900" y="458"/>
                  </a:lnTo>
                  <a:lnTo>
                    <a:pt x="898" y="434"/>
                  </a:lnTo>
                  <a:lnTo>
                    <a:pt x="895" y="411"/>
                  </a:lnTo>
                  <a:lnTo>
                    <a:pt x="891" y="387"/>
                  </a:lnTo>
                  <a:lnTo>
                    <a:pt x="885" y="364"/>
                  </a:lnTo>
                  <a:lnTo>
                    <a:pt x="880" y="340"/>
                  </a:lnTo>
                  <a:lnTo>
                    <a:pt x="873" y="318"/>
                  </a:lnTo>
                  <a:lnTo>
                    <a:pt x="866" y="296"/>
                  </a:lnTo>
                  <a:lnTo>
                    <a:pt x="858" y="274"/>
                  </a:lnTo>
                  <a:lnTo>
                    <a:pt x="849" y="253"/>
                  </a:lnTo>
                  <a:lnTo>
                    <a:pt x="839" y="231"/>
                  </a:lnTo>
                  <a:lnTo>
                    <a:pt x="827" y="212"/>
                  </a:lnTo>
                  <a:lnTo>
                    <a:pt x="816" y="192"/>
                  </a:lnTo>
                  <a:lnTo>
                    <a:pt x="803" y="173"/>
                  </a:lnTo>
                  <a:lnTo>
                    <a:pt x="790" y="155"/>
                  </a:lnTo>
                  <a:lnTo>
                    <a:pt x="775" y="138"/>
                  </a:lnTo>
                  <a:lnTo>
                    <a:pt x="761" y="121"/>
                  </a:lnTo>
                  <a:lnTo>
                    <a:pt x="745" y="106"/>
                  </a:lnTo>
                  <a:lnTo>
                    <a:pt x="728" y="91"/>
                  </a:lnTo>
                  <a:lnTo>
                    <a:pt x="710" y="78"/>
                  </a:lnTo>
                  <a:lnTo>
                    <a:pt x="693" y="64"/>
                  </a:lnTo>
                  <a:lnTo>
                    <a:pt x="673" y="53"/>
                  </a:lnTo>
                  <a:lnTo>
                    <a:pt x="653" y="42"/>
                  </a:lnTo>
                  <a:lnTo>
                    <a:pt x="633" y="33"/>
                  </a:lnTo>
                  <a:lnTo>
                    <a:pt x="611" y="25"/>
                  </a:lnTo>
                  <a:lnTo>
                    <a:pt x="589" y="17"/>
                  </a:lnTo>
                  <a:lnTo>
                    <a:pt x="566" y="11"/>
                  </a:lnTo>
                  <a:lnTo>
                    <a:pt x="543" y="6"/>
                  </a:lnTo>
                  <a:lnTo>
                    <a:pt x="518" y="2"/>
                  </a:lnTo>
                  <a:lnTo>
                    <a:pt x="493" y="0"/>
                  </a:lnTo>
                  <a:lnTo>
                    <a:pt x="466" y="0"/>
                  </a:lnTo>
                  <a:lnTo>
                    <a:pt x="441" y="0"/>
                  </a:lnTo>
                  <a:lnTo>
                    <a:pt x="408" y="4"/>
                  </a:lnTo>
                  <a:lnTo>
                    <a:pt x="390" y="6"/>
                  </a:lnTo>
                  <a:lnTo>
                    <a:pt x="369" y="10"/>
                  </a:lnTo>
                  <a:lnTo>
                    <a:pt x="349" y="16"/>
                  </a:lnTo>
                  <a:lnTo>
                    <a:pt x="327" y="22"/>
                  </a:lnTo>
                  <a:lnTo>
                    <a:pt x="304" y="30"/>
                  </a:lnTo>
                  <a:lnTo>
                    <a:pt x="281" y="39"/>
                  </a:lnTo>
                  <a:lnTo>
                    <a:pt x="257" y="50"/>
                  </a:lnTo>
                  <a:lnTo>
                    <a:pt x="233" y="63"/>
                  </a:lnTo>
                  <a:lnTo>
                    <a:pt x="209" y="78"/>
                  </a:lnTo>
                  <a:lnTo>
                    <a:pt x="186" y="95"/>
                  </a:lnTo>
                  <a:lnTo>
                    <a:pt x="174" y="105"/>
                  </a:lnTo>
                  <a:lnTo>
                    <a:pt x="162" y="114"/>
                  </a:lnTo>
                  <a:lnTo>
                    <a:pt x="151" y="125"/>
                  </a:lnTo>
                  <a:lnTo>
                    <a:pt x="140" y="137"/>
                  </a:lnTo>
                  <a:lnTo>
                    <a:pt x="129" y="149"/>
                  </a:lnTo>
                  <a:lnTo>
                    <a:pt x="118" y="161"/>
                  </a:lnTo>
                  <a:lnTo>
                    <a:pt x="108" y="174"/>
                  </a:lnTo>
                  <a:lnTo>
                    <a:pt x="98" y="187"/>
                  </a:lnTo>
                  <a:lnTo>
                    <a:pt x="82" y="213"/>
                  </a:lnTo>
                  <a:lnTo>
                    <a:pt x="66" y="238"/>
                  </a:lnTo>
                  <a:lnTo>
                    <a:pt x="53" y="264"/>
                  </a:lnTo>
                  <a:lnTo>
                    <a:pt x="42" y="289"/>
                  </a:lnTo>
                  <a:lnTo>
                    <a:pt x="33" y="315"/>
                  </a:lnTo>
                  <a:lnTo>
                    <a:pt x="25" y="338"/>
                  </a:lnTo>
                  <a:lnTo>
                    <a:pt x="18" y="362"/>
                  </a:lnTo>
                  <a:lnTo>
                    <a:pt x="13" y="384"/>
                  </a:lnTo>
                  <a:lnTo>
                    <a:pt x="9" y="405"/>
                  </a:lnTo>
                  <a:lnTo>
                    <a:pt x="6" y="425"/>
                  </a:lnTo>
                  <a:lnTo>
                    <a:pt x="2" y="457"/>
                  </a:lnTo>
                  <a:lnTo>
                    <a:pt x="1" y="483"/>
                  </a:lnTo>
                  <a:close/>
                  <a:moveTo>
                    <a:pt x="231" y="507"/>
                  </a:moveTo>
                  <a:lnTo>
                    <a:pt x="233" y="475"/>
                  </a:lnTo>
                  <a:lnTo>
                    <a:pt x="236" y="439"/>
                  </a:lnTo>
                  <a:lnTo>
                    <a:pt x="239" y="421"/>
                  </a:lnTo>
                  <a:lnTo>
                    <a:pt x="242" y="402"/>
                  </a:lnTo>
                  <a:lnTo>
                    <a:pt x="246" y="384"/>
                  </a:lnTo>
                  <a:lnTo>
                    <a:pt x="250" y="366"/>
                  </a:lnTo>
                  <a:lnTo>
                    <a:pt x="255" y="347"/>
                  </a:lnTo>
                  <a:lnTo>
                    <a:pt x="261" y="329"/>
                  </a:lnTo>
                  <a:lnTo>
                    <a:pt x="268" y="313"/>
                  </a:lnTo>
                  <a:lnTo>
                    <a:pt x="276" y="296"/>
                  </a:lnTo>
                  <a:lnTo>
                    <a:pt x="285" y="280"/>
                  </a:lnTo>
                  <a:lnTo>
                    <a:pt x="294" y="265"/>
                  </a:lnTo>
                  <a:lnTo>
                    <a:pt x="305" y="251"/>
                  </a:lnTo>
                  <a:lnTo>
                    <a:pt x="316" y="237"/>
                  </a:lnTo>
                  <a:lnTo>
                    <a:pt x="327" y="229"/>
                  </a:lnTo>
                  <a:lnTo>
                    <a:pt x="336" y="221"/>
                  </a:lnTo>
                  <a:lnTo>
                    <a:pt x="347" y="214"/>
                  </a:lnTo>
                  <a:lnTo>
                    <a:pt x="357" y="208"/>
                  </a:lnTo>
                  <a:lnTo>
                    <a:pt x="367" y="203"/>
                  </a:lnTo>
                  <a:lnTo>
                    <a:pt x="378" y="198"/>
                  </a:lnTo>
                  <a:lnTo>
                    <a:pt x="389" y="194"/>
                  </a:lnTo>
                  <a:lnTo>
                    <a:pt x="399" y="191"/>
                  </a:lnTo>
                  <a:lnTo>
                    <a:pt x="418" y="186"/>
                  </a:lnTo>
                  <a:lnTo>
                    <a:pt x="436" y="184"/>
                  </a:lnTo>
                  <a:lnTo>
                    <a:pt x="450" y="181"/>
                  </a:lnTo>
                  <a:lnTo>
                    <a:pt x="461" y="181"/>
                  </a:lnTo>
                  <a:lnTo>
                    <a:pt x="473" y="181"/>
                  </a:lnTo>
                  <a:lnTo>
                    <a:pt x="485" y="182"/>
                  </a:lnTo>
                  <a:lnTo>
                    <a:pt x="496" y="185"/>
                  </a:lnTo>
                  <a:lnTo>
                    <a:pt x="506" y="187"/>
                  </a:lnTo>
                  <a:lnTo>
                    <a:pt x="525" y="193"/>
                  </a:lnTo>
                  <a:lnTo>
                    <a:pt x="542" y="200"/>
                  </a:lnTo>
                  <a:lnTo>
                    <a:pt x="557" y="207"/>
                  </a:lnTo>
                  <a:lnTo>
                    <a:pt x="569" y="215"/>
                  </a:lnTo>
                  <a:lnTo>
                    <a:pt x="579" y="223"/>
                  </a:lnTo>
                  <a:lnTo>
                    <a:pt x="587" y="230"/>
                  </a:lnTo>
                  <a:lnTo>
                    <a:pt x="601" y="245"/>
                  </a:lnTo>
                  <a:lnTo>
                    <a:pt x="613" y="261"/>
                  </a:lnTo>
                  <a:lnTo>
                    <a:pt x="624" y="277"/>
                  </a:lnTo>
                  <a:lnTo>
                    <a:pt x="634" y="293"/>
                  </a:lnTo>
                  <a:lnTo>
                    <a:pt x="642" y="311"/>
                  </a:lnTo>
                  <a:lnTo>
                    <a:pt x="648" y="327"/>
                  </a:lnTo>
                  <a:lnTo>
                    <a:pt x="654" y="344"/>
                  </a:lnTo>
                  <a:lnTo>
                    <a:pt x="658" y="361"/>
                  </a:lnTo>
                  <a:lnTo>
                    <a:pt x="665" y="391"/>
                  </a:lnTo>
                  <a:lnTo>
                    <a:pt x="668" y="419"/>
                  </a:lnTo>
                  <a:lnTo>
                    <a:pt x="670" y="441"/>
                  </a:lnTo>
                  <a:lnTo>
                    <a:pt x="671" y="457"/>
                  </a:lnTo>
                  <a:lnTo>
                    <a:pt x="671" y="465"/>
                  </a:lnTo>
                  <a:lnTo>
                    <a:pt x="672" y="473"/>
                  </a:lnTo>
                  <a:lnTo>
                    <a:pt x="672" y="480"/>
                  </a:lnTo>
                  <a:lnTo>
                    <a:pt x="672" y="488"/>
                  </a:lnTo>
                  <a:lnTo>
                    <a:pt x="673" y="496"/>
                  </a:lnTo>
                  <a:lnTo>
                    <a:pt x="673" y="504"/>
                  </a:lnTo>
                  <a:lnTo>
                    <a:pt x="673" y="512"/>
                  </a:lnTo>
                  <a:lnTo>
                    <a:pt x="673" y="521"/>
                  </a:lnTo>
                  <a:lnTo>
                    <a:pt x="673" y="539"/>
                  </a:lnTo>
                  <a:lnTo>
                    <a:pt x="672" y="567"/>
                  </a:lnTo>
                  <a:lnTo>
                    <a:pt x="671" y="585"/>
                  </a:lnTo>
                  <a:lnTo>
                    <a:pt x="669" y="602"/>
                  </a:lnTo>
                  <a:lnTo>
                    <a:pt x="666" y="621"/>
                  </a:lnTo>
                  <a:lnTo>
                    <a:pt x="662" y="642"/>
                  </a:lnTo>
                  <a:lnTo>
                    <a:pt x="657" y="663"/>
                  </a:lnTo>
                  <a:lnTo>
                    <a:pt x="650" y="683"/>
                  </a:lnTo>
                  <a:lnTo>
                    <a:pt x="642" y="705"/>
                  </a:lnTo>
                  <a:lnTo>
                    <a:pt x="631" y="725"/>
                  </a:lnTo>
                  <a:lnTo>
                    <a:pt x="626" y="736"/>
                  </a:lnTo>
                  <a:lnTo>
                    <a:pt x="619" y="746"/>
                  </a:lnTo>
                  <a:lnTo>
                    <a:pt x="613" y="756"/>
                  </a:lnTo>
                  <a:lnTo>
                    <a:pt x="605" y="765"/>
                  </a:lnTo>
                  <a:lnTo>
                    <a:pt x="598" y="774"/>
                  </a:lnTo>
                  <a:lnTo>
                    <a:pt x="589" y="783"/>
                  </a:lnTo>
                  <a:lnTo>
                    <a:pt x="579" y="791"/>
                  </a:lnTo>
                  <a:lnTo>
                    <a:pt x="570" y="800"/>
                  </a:lnTo>
                  <a:lnTo>
                    <a:pt x="561" y="806"/>
                  </a:lnTo>
                  <a:lnTo>
                    <a:pt x="551" y="813"/>
                  </a:lnTo>
                  <a:lnTo>
                    <a:pt x="539" y="820"/>
                  </a:lnTo>
                  <a:lnTo>
                    <a:pt x="525" y="826"/>
                  </a:lnTo>
                  <a:lnTo>
                    <a:pt x="509" y="832"/>
                  </a:lnTo>
                  <a:lnTo>
                    <a:pt x="491" y="836"/>
                  </a:lnTo>
                  <a:lnTo>
                    <a:pt x="481" y="838"/>
                  </a:lnTo>
                  <a:lnTo>
                    <a:pt x="470" y="840"/>
                  </a:lnTo>
                  <a:lnTo>
                    <a:pt x="459" y="840"/>
                  </a:lnTo>
                  <a:lnTo>
                    <a:pt x="448" y="841"/>
                  </a:lnTo>
                  <a:lnTo>
                    <a:pt x="434" y="840"/>
                  </a:lnTo>
                  <a:lnTo>
                    <a:pt x="420" y="839"/>
                  </a:lnTo>
                  <a:lnTo>
                    <a:pt x="407" y="837"/>
                  </a:lnTo>
                  <a:lnTo>
                    <a:pt x="395" y="834"/>
                  </a:lnTo>
                  <a:lnTo>
                    <a:pt x="383" y="831"/>
                  </a:lnTo>
                  <a:lnTo>
                    <a:pt x="371" y="827"/>
                  </a:lnTo>
                  <a:lnTo>
                    <a:pt x="360" y="822"/>
                  </a:lnTo>
                  <a:lnTo>
                    <a:pt x="351" y="817"/>
                  </a:lnTo>
                  <a:lnTo>
                    <a:pt x="341" y="811"/>
                  </a:lnTo>
                  <a:lnTo>
                    <a:pt x="332" y="805"/>
                  </a:lnTo>
                  <a:lnTo>
                    <a:pt x="323" y="797"/>
                  </a:lnTo>
                  <a:lnTo>
                    <a:pt x="315" y="790"/>
                  </a:lnTo>
                  <a:lnTo>
                    <a:pt x="301" y="775"/>
                  </a:lnTo>
                  <a:lnTo>
                    <a:pt x="288" y="759"/>
                  </a:lnTo>
                  <a:lnTo>
                    <a:pt x="277" y="743"/>
                  </a:lnTo>
                  <a:lnTo>
                    <a:pt x="267" y="726"/>
                  </a:lnTo>
                  <a:lnTo>
                    <a:pt x="259" y="710"/>
                  </a:lnTo>
                  <a:lnTo>
                    <a:pt x="253" y="695"/>
                  </a:lnTo>
                  <a:lnTo>
                    <a:pt x="248" y="680"/>
                  </a:lnTo>
                  <a:lnTo>
                    <a:pt x="244" y="668"/>
                  </a:lnTo>
                  <a:lnTo>
                    <a:pt x="241" y="657"/>
                  </a:lnTo>
                  <a:lnTo>
                    <a:pt x="240" y="648"/>
                  </a:lnTo>
                  <a:lnTo>
                    <a:pt x="235" y="625"/>
                  </a:lnTo>
                  <a:lnTo>
                    <a:pt x="232" y="603"/>
                  </a:lnTo>
                  <a:lnTo>
                    <a:pt x="230" y="583"/>
                  </a:lnTo>
                  <a:lnTo>
                    <a:pt x="229" y="562"/>
                  </a:lnTo>
                  <a:lnTo>
                    <a:pt x="229" y="544"/>
                  </a:lnTo>
                  <a:lnTo>
                    <a:pt x="229" y="529"/>
                  </a:lnTo>
                  <a:lnTo>
                    <a:pt x="230" y="516"/>
                  </a:lnTo>
                  <a:lnTo>
                    <a:pt x="231" y="507"/>
                  </a:lnTo>
                  <a:close/>
                </a:path>
              </a:pathLst>
            </a:custGeom>
            <a:solidFill>
              <a:srgbClr val="5E737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276" u="sng">
                <a:solidFill>
                  <a:srgbClr val="000000"/>
                </a:solidFill>
                <a:latin typeface="Arial" charset="0"/>
                <a:cs typeface="Arial"/>
              </a:endParaRPr>
            </a:p>
          </p:txBody>
        </p:sp>
        <p:sp>
          <p:nvSpPr>
            <p:cNvPr id="1046" name="Freeform 70"/>
            <p:cNvSpPr>
              <a:spLocks/>
            </p:cNvSpPr>
            <p:nvPr userDrawn="1"/>
          </p:nvSpPr>
          <p:spPr bwMode="auto">
            <a:xfrm>
              <a:off x="5472" y="362"/>
              <a:ext cx="25" cy="49"/>
            </a:xfrm>
            <a:custGeom>
              <a:avLst/>
              <a:gdLst>
                <a:gd name="T0" fmla="*/ 0 w 499"/>
                <a:gd name="T1" fmla="*/ 0 h 998"/>
                <a:gd name="T2" fmla="*/ 0 w 499"/>
                <a:gd name="T3" fmla="*/ 0 h 998"/>
                <a:gd name="T4" fmla="*/ 0 w 499"/>
                <a:gd name="T5" fmla="*/ 0 h 998"/>
                <a:gd name="T6" fmla="*/ 0 w 499"/>
                <a:gd name="T7" fmla="*/ 0 h 998"/>
                <a:gd name="T8" fmla="*/ 0 w 499"/>
                <a:gd name="T9" fmla="*/ 0 h 998"/>
                <a:gd name="T10" fmla="*/ 0 w 499"/>
                <a:gd name="T11" fmla="*/ 0 h 998"/>
                <a:gd name="T12" fmla="*/ 0 w 499"/>
                <a:gd name="T13" fmla="*/ 0 h 998"/>
                <a:gd name="T14" fmla="*/ 0 w 499"/>
                <a:gd name="T15" fmla="*/ 0 h 998"/>
                <a:gd name="T16" fmla="*/ 0 w 499"/>
                <a:gd name="T17" fmla="*/ 0 h 998"/>
                <a:gd name="T18" fmla="*/ 0 w 499"/>
                <a:gd name="T19" fmla="*/ 0 h 998"/>
                <a:gd name="T20" fmla="*/ 0 w 499"/>
                <a:gd name="T21" fmla="*/ 0 h 998"/>
                <a:gd name="T22" fmla="*/ 0 w 499"/>
                <a:gd name="T23" fmla="*/ 0 h 998"/>
                <a:gd name="T24" fmla="*/ 0 w 499"/>
                <a:gd name="T25" fmla="*/ 0 h 998"/>
                <a:gd name="T26" fmla="*/ 0 w 499"/>
                <a:gd name="T27" fmla="*/ 0 h 998"/>
                <a:gd name="T28" fmla="*/ 0 w 499"/>
                <a:gd name="T29" fmla="*/ 0 h 998"/>
                <a:gd name="T30" fmla="*/ 0 w 499"/>
                <a:gd name="T31" fmla="*/ 0 h 998"/>
                <a:gd name="T32" fmla="*/ 0 w 499"/>
                <a:gd name="T33" fmla="*/ 0 h 998"/>
                <a:gd name="T34" fmla="*/ 0 w 499"/>
                <a:gd name="T35" fmla="*/ 0 h 998"/>
                <a:gd name="T36" fmla="*/ 0 w 499"/>
                <a:gd name="T37" fmla="*/ 0 h 998"/>
                <a:gd name="T38" fmla="*/ 0 w 499"/>
                <a:gd name="T39" fmla="*/ 0 h 998"/>
                <a:gd name="T40" fmla="*/ 0 w 499"/>
                <a:gd name="T41" fmla="*/ 0 h 998"/>
                <a:gd name="T42" fmla="*/ 0 w 499"/>
                <a:gd name="T43" fmla="*/ 0 h 998"/>
                <a:gd name="T44" fmla="*/ 0 w 499"/>
                <a:gd name="T45" fmla="*/ 0 h 998"/>
                <a:gd name="T46" fmla="*/ 0 w 499"/>
                <a:gd name="T47" fmla="*/ 0 h 998"/>
                <a:gd name="T48" fmla="*/ 0 w 499"/>
                <a:gd name="T49" fmla="*/ 0 h 998"/>
                <a:gd name="T50" fmla="*/ 0 w 499"/>
                <a:gd name="T51" fmla="*/ 0 h 998"/>
                <a:gd name="T52" fmla="*/ 0 w 499"/>
                <a:gd name="T53" fmla="*/ 0 h 998"/>
                <a:gd name="T54" fmla="*/ 0 w 499"/>
                <a:gd name="T55" fmla="*/ 0 h 998"/>
                <a:gd name="T56" fmla="*/ 0 w 499"/>
                <a:gd name="T57" fmla="*/ 0 h 998"/>
                <a:gd name="T58" fmla="*/ 0 w 499"/>
                <a:gd name="T59" fmla="*/ 0 h 998"/>
                <a:gd name="T60" fmla="*/ 0 w 499"/>
                <a:gd name="T61" fmla="*/ 0 h 998"/>
                <a:gd name="T62" fmla="*/ 0 w 499"/>
                <a:gd name="T63" fmla="*/ 0 h 998"/>
                <a:gd name="T64" fmla="*/ 0 w 499"/>
                <a:gd name="T65" fmla="*/ 0 h 998"/>
                <a:gd name="T66" fmla="*/ 0 w 499"/>
                <a:gd name="T67" fmla="*/ 0 h 998"/>
                <a:gd name="T68" fmla="*/ 0 w 499"/>
                <a:gd name="T69" fmla="*/ 0 h 998"/>
                <a:gd name="T70" fmla="*/ 0 w 499"/>
                <a:gd name="T71" fmla="*/ 0 h 998"/>
                <a:gd name="T72" fmla="*/ 0 w 499"/>
                <a:gd name="T73" fmla="*/ 0 h 99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499" h="998">
                  <a:moveTo>
                    <a:pt x="0" y="21"/>
                  </a:moveTo>
                  <a:lnTo>
                    <a:pt x="0" y="998"/>
                  </a:lnTo>
                  <a:lnTo>
                    <a:pt x="78" y="993"/>
                  </a:lnTo>
                  <a:lnTo>
                    <a:pt x="96" y="992"/>
                  </a:lnTo>
                  <a:lnTo>
                    <a:pt x="112" y="992"/>
                  </a:lnTo>
                  <a:lnTo>
                    <a:pt x="129" y="992"/>
                  </a:lnTo>
                  <a:lnTo>
                    <a:pt x="147" y="992"/>
                  </a:lnTo>
                  <a:lnTo>
                    <a:pt x="164" y="993"/>
                  </a:lnTo>
                  <a:lnTo>
                    <a:pt x="181" y="993"/>
                  </a:lnTo>
                  <a:lnTo>
                    <a:pt x="199" y="994"/>
                  </a:lnTo>
                  <a:lnTo>
                    <a:pt x="215" y="995"/>
                  </a:lnTo>
                  <a:lnTo>
                    <a:pt x="215" y="592"/>
                  </a:lnTo>
                  <a:lnTo>
                    <a:pt x="216" y="571"/>
                  </a:lnTo>
                  <a:lnTo>
                    <a:pt x="216" y="543"/>
                  </a:lnTo>
                  <a:lnTo>
                    <a:pt x="217" y="526"/>
                  </a:lnTo>
                  <a:lnTo>
                    <a:pt x="219" y="507"/>
                  </a:lnTo>
                  <a:lnTo>
                    <a:pt x="221" y="488"/>
                  </a:lnTo>
                  <a:lnTo>
                    <a:pt x="225" y="468"/>
                  </a:lnTo>
                  <a:lnTo>
                    <a:pt x="229" y="446"/>
                  </a:lnTo>
                  <a:lnTo>
                    <a:pt x="236" y="425"/>
                  </a:lnTo>
                  <a:lnTo>
                    <a:pt x="243" y="403"/>
                  </a:lnTo>
                  <a:lnTo>
                    <a:pt x="252" y="381"/>
                  </a:lnTo>
                  <a:lnTo>
                    <a:pt x="263" y="360"/>
                  </a:lnTo>
                  <a:lnTo>
                    <a:pt x="276" y="339"/>
                  </a:lnTo>
                  <a:lnTo>
                    <a:pt x="283" y="328"/>
                  </a:lnTo>
                  <a:lnTo>
                    <a:pt x="292" y="319"/>
                  </a:lnTo>
                  <a:lnTo>
                    <a:pt x="300" y="309"/>
                  </a:lnTo>
                  <a:lnTo>
                    <a:pt x="309" y="300"/>
                  </a:lnTo>
                  <a:lnTo>
                    <a:pt x="319" y="289"/>
                  </a:lnTo>
                  <a:lnTo>
                    <a:pt x="329" y="281"/>
                  </a:lnTo>
                  <a:lnTo>
                    <a:pt x="340" y="274"/>
                  </a:lnTo>
                  <a:lnTo>
                    <a:pt x="349" y="267"/>
                  </a:lnTo>
                  <a:lnTo>
                    <a:pt x="359" y="262"/>
                  </a:lnTo>
                  <a:lnTo>
                    <a:pt x="368" y="257"/>
                  </a:lnTo>
                  <a:lnTo>
                    <a:pt x="377" y="253"/>
                  </a:lnTo>
                  <a:lnTo>
                    <a:pt x="386" y="250"/>
                  </a:lnTo>
                  <a:lnTo>
                    <a:pt x="403" y="246"/>
                  </a:lnTo>
                  <a:lnTo>
                    <a:pt x="419" y="243"/>
                  </a:lnTo>
                  <a:lnTo>
                    <a:pt x="433" y="241"/>
                  </a:lnTo>
                  <a:lnTo>
                    <a:pt x="447" y="240"/>
                  </a:lnTo>
                  <a:lnTo>
                    <a:pt x="453" y="240"/>
                  </a:lnTo>
                  <a:lnTo>
                    <a:pt x="459" y="238"/>
                  </a:lnTo>
                  <a:lnTo>
                    <a:pt x="465" y="238"/>
                  </a:lnTo>
                  <a:lnTo>
                    <a:pt x="471" y="238"/>
                  </a:lnTo>
                  <a:lnTo>
                    <a:pt x="478" y="238"/>
                  </a:lnTo>
                  <a:lnTo>
                    <a:pt x="484" y="237"/>
                  </a:lnTo>
                  <a:lnTo>
                    <a:pt x="491" y="237"/>
                  </a:lnTo>
                  <a:lnTo>
                    <a:pt x="497" y="237"/>
                  </a:lnTo>
                  <a:lnTo>
                    <a:pt x="499" y="0"/>
                  </a:lnTo>
                  <a:lnTo>
                    <a:pt x="487" y="0"/>
                  </a:lnTo>
                  <a:lnTo>
                    <a:pt x="473" y="1"/>
                  </a:lnTo>
                  <a:lnTo>
                    <a:pt x="457" y="2"/>
                  </a:lnTo>
                  <a:lnTo>
                    <a:pt x="438" y="5"/>
                  </a:lnTo>
                  <a:lnTo>
                    <a:pt x="418" y="9"/>
                  </a:lnTo>
                  <a:lnTo>
                    <a:pt x="396" y="16"/>
                  </a:lnTo>
                  <a:lnTo>
                    <a:pt x="385" y="20"/>
                  </a:lnTo>
                  <a:lnTo>
                    <a:pt x="373" y="25"/>
                  </a:lnTo>
                  <a:lnTo>
                    <a:pt x="362" y="31"/>
                  </a:lnTo>
                  <a:lnTo>
                    <a:pt x="351" y="37"/>
                  </a:lnTo>
                  <a:lnTo>
                    <a:pt x="335" y="47"/>
                  </a:lnTo>
                  <a:lnTo>
                    <a:pt x="321" y="57"/>
                  </a:lnTo>
                  <a:lnTo>
                    <a:pt x="308" y="69"/>
                  </a:lnTo>
                  <a:lnTo>
                    <a:pt x="296" y="81"/>
                  </a:lnTo>
                  <a:lnTo>
                    <a:pt x="284" y="94"/>
                  </a:lnTo>
                  <a:lnTo>
                    <a:pt x="274" y="107"/>
                  </a:lnTo>
                  <a:lnTo>
                    <a:pt x="264" y="120"/>
                  </a:lnTo>
                  <a:lnTo>
                    <a:pt x="255" y="135"/>
                  </a:lnTo>
                  <a:lnTo>
                    <a:pt x="247" y="150"/>
                  </a:lnTo>
                  <a:lnTo>
                    <a:pt x="239" y="165"/>
                  </a:lnTo>
                  <a:lnTo>
                    <a:pt x="231" y="180"/>
                  </a:lnTo>
                  <a:lnTo>
                    <a:pt x="224" y="196"/>
                  </a:lnTo>
                  <a:lnTo>
                    <a:pt x="210" y="228"/>
                  </a:lnTo>
                  <a:lnTo>
                    <a:pt x="197" y="262"/>
                  </a:lnTo>
                  <a:lnTo>
                    <a:pt x="197" y="21"/>
                  </a:lnTo>
                  <a:lnTo>
                    <a:pt x="0" y="21"/>
                  </a:lnTo>
                  <a:close/>
                </a:path>
              </a:pathLst>
            </a:custGeom>
            <a:solidFill>
              <a:srgbClr val="5E737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276" u="sng">
                <a:solidFill>
                  <a:srgbClr val="000000"/>
                </a:solidFill>
                <a:latin typeface="Arial" charset="0"/>
                <a:cs typeface="Arial"/>
              </a:endParaRPr>
            </a:p>
          </p:txBody>
        </p:sp>
        <p:sp>
          <p:nvSpPr>
            <p:cNvPr id="1047" name="Freeform 71"/>
            <p:cNvSpPr>
              <a:spLocks/>
            </p:cNvSpPr>
            <p:nvPr userDrawn="1"/>
          </p:nvSpPr>
          <p:spPr bwMode="auto">
            <a:xfrm>
              <a:off x="5531" y="346"/>
              <a:ext cx="12" cy="65"/>
            </a:xfrm>
            <a:custGeom>
              <a:avLst/>
              <a:gdLst>
                <a:gd name="T0" fmla="*/ 0 w 244"/>
                <a:gd name="T1" fmla="*/ 0 h 1304"/>
                <a:gd name="T2" fmla="*/ 0 w 244"/>
                <a:gd name="T3" fmla="*/ 0 h 1304"/>
                <a:gd name="T4" fmla="*/ 0 w 244"/>
                <a:gd name="T5" fmla="*/ 0 h 1304"/>
                <a:gd name="T6" fmla="*/ 0 w 244"/>
                <a:gd name="T7" fmla="*/ 0 h 1304"/>
                <a:gd name="T8" fmla="*/ 0 w 244"/>
                <a:gd name="T9" fmla="*/ 0 h 1304"/>
                <a:gd name="T10" fmla="*/ 0 w 244"/>
                <a:gd name="T11" fmla="*/ 0 h 1304"/>
                <a:gd name="T12" fmla="*/ 0 w 244"/>
                <a:gd name="T13" fmla="*/ 0 h 130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44" h="1304">
                  <a:moveTo>
                    <a:pt x="0" y="1203"/>
                  </a:moveTo>
                  <a:lnTo>
                    <a:pt x="0" y="1304"/>
                  </a:lnTo>
                  <a:lnTo>
                    <a:pt x="244" y="1304"/>
                  </a:lnTo>
                  <a:lnTo>
                    <a:pt x="244" y="0"/>
                  </a:lnTo>
                  <a:lnTo>
                    <a:pt x="1" y="0"/>
                  </a:lnTo>
                  <a:lnTo>
                    <a:pt x="1" y="136"/>
                  </a:lnTo>
                  <a:lnTo>
                    <a:pt x="0" y="1203"/>
                  </a:lnTo>
                  <a:close/>
                </a:path>
              </a:pathLst>
            </a:custGeom>
            <a:solidFill>
              <a:srgbClr val="5E737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276" u="sng">
                <a:solidFill>
                  <a:srgbClr val="000000"/>
                </a:solidFill>
                <a:latin typeface="Arial" charset="0"/>
                <a:cs typeface="Arial"/>
              </a:endParaRPr>
            </a:p>
          </p:txBody>
        </p:sp>
        <p:sp>
          <p:nvSpPr>
            <p:cNvPr id="1048" name="Freeform 72"/>
            <p:cNvSpPr>
              <a:spLocks/>
            </p:cNvSpPr>
            <p:nvPr userDrawn="1"/>
          </p:nvSpPr>
          <p:spPr bwMode="auto">
            <a:xfrm>
              <a:off x="5557" y="361"/>
              <a:ext cx="40" cy="50"/>
            </a:xfrm>
            <a:custGeom>
              <a:avLst/>
              <a:gdLst>
                <a:gd name="T0" fmla="*/ 0 w 798"/>
                <a:gd name="T1" fmla="*/ 0 h 1000"/>
                <a:gd name="T2" fmla="*/ 0 w 798"/>
                <a:gd name="T3" fmla="*/ 0 h 1000"/>
                <a:gd name="T4" fmla="*/ 0 w 798"/>
                <a:gd name="T5" fmla="*/ 0 h 1000"/>
                <a:gd name="T6" fmla="*/ 0 w 798"/>
                <a:gd name="T7" fmla="*/ 0 h 1000"/>
                <a:gd name="T8" fmla="*/ 0 w 798"/>
                <a:gd name="T9" fmla="*/ 0 h 1000"/>
                <a:gd name="T10" fmla="*/ 0 w 798"/>
                <a:gd name="T11" fmla="*/ 0 h 1000"/>
                <a:gd name="T12" fmla="*/ 0 w 798"/>
                <a:gd name="T13" fmla="*/ 0 h 1000"/>
                <a:gd name="T14" fmla="*/ 0 w 798"/>
                <a:gd name="T15" fmla="*/ 0 h 1000"/>
                <a:gd name="T16" fmla="*/ 0 w 798"/>
                <a:gd name="T17" fmla="*/ 0 h 1000"/>
                <a:gd name="T18" fmla="*/ 0 w 798"/>
                <a:gd name="T19" fmla="*/ 0 h 1000"/>
                <a:gd name="T20" fmla="*/ 0 w 798"/>
                <a:gd name="T21" fmla="*/ 0 h 1000"/>
                <a:gd name="T22" fmla="*/ 0 w 798"/>
                <a:gd name="T23" fmla="*/ 0 h 1000"/>
                <a:gd name="T24" fmla="*/ 0 w 798"/>
                <a:gd name="T25" fmla="*/ 0 h 1000"/>
                <a:gd name="T26" fmla="*/ 0 w 798"/>
                <a:gd name="T27" fmla="*/ 0 h 1000"/>
                <a:gd name="T28" fmla="*/ 0 w 798"/>
                <a:gd name="T29" fmla="*/ 0 h 1000"/>
                <a:gd name="T30" fmla="*/ 0 w 798"/>
                <a:gd name="T31" fmla="*/ 0 h 1000"/>
                <a:gd name="T32" fmla="*/ 0 w 798"/>
                <a:gd name="T33" fmla="*/ 0 h 1000"/>
                <a:gd name="T34" fmla="*/ 0 w 798"/>
                <a:gd name="T35" fmla="*/ 0 h 1000"/>
                <a:gd name="T36" fmla="*/ 0 w 798"/>
                <a:gd name="T37" fmla="*/ 0 h 1000"/>
                <a:gd name="T38" fmla="*/ 0 w 798"/>
                <a:gd name="T39" fmla="*/ 0 h 1000"/>
                <a:gd name="T40" fmla="*/ 0 w 798"/>
                <a:gd name="T41" fmla="*/ 0 h 1000"/>
                <a:gd name="T42" fmla="*/ 0 w 798"/>
                <a:gd name="T43" fmla="*/ 0 h 1000"/>
                <a:gd name="T44" fmla="*/ 0 w 798"/>
                <a:gd name="T45" fmla="*/ 0 h 1000"/>
                <a:gd name="T46" fmla="*/ 0 w 798"/>
                <a:gd name="T47" fmla="*/ 0 h 1000"/>
                <a:gd name="T48" fmla="*/ 0 w 798"/>
                <a:gd name="T49" fmla="*/ 0 h 1000"/>
                <a:gd name="T50" fmla="*/ 0 w 798"/>
                <a:gd name="T51" fmla="*/ 0 h 1000"/>
                <a:gd name="T52" fmla="*/ 0 w 798"/>
                <a:gd name="T53" fmla="*/ 0 h 1000"/>
                <a:gd name="T54" fmla="*/ 0 w 798"/>
                <a:gd name="T55" fmla="*/ 0 h 1000"/>
                <a:gd name="T56" fmla="*/ 0 w 798"/>
                <a:gd name="T57" fmla="*/ 0 h 1000"/>
                <a:gd name="T58" fmla="*/ 0 w 798"/>
                <a:gd name="T59" fmla="*/ 0 h 1000"/>
                <a:gd name="T60" fmla="*/ 0 w 798"/>
                <a:gd name="T61" fmla="*/ 0 h 1000"/>
                <a:gd name="T62" fmla="*/ 0 w 798"/>
                <a:gd name="T63" fmla="*/ 0 h 1000"/>
                <a:gd name="T64" fmla="*/ 0 w 798"/>
                <a:gd name="T65" fmla="*/ 0 h 1000"/>
                <a:gd name="T66" fmla="*/ 0 w 798"/>
                <a:gd name="T67" fmla="*/ 0 h 1000"/>
                <a:gd name="T68" fmla="*/ 0 w 798"/>
                <a:gd name="T69" fmla="*/ 0 h 1000"/>
                <a:gd name="T70" fmla="*/ 0 w 798"/>
                <a:gd name="T71" fmla="*/ 0 h 1000"/>
                <a:gd name="T72" fmla="*/ 0 w 798"/>
                <a:gd name="T73" fmla="*/ 0 h 1000"/>
                <a:gd name="T74" fmla="*/ 0 w 798"/>
                <a:gd name="T75" fmla="*/ 0 h 1000"/>
                <a:gd name="T76" fmla="*/ 0 w 798"/>
                <a:gd name="T77" fmla="*/ 0 h 1000"/>
                <a:gd name="T78" fmla="*/ 0 w 798"/>
                <a:gd name="T79" fmla="*/ 0 h 1000"/>
                <a:gd name="T80" fmla="*/ 0 w 798"/>
                <a:gd name="T81" fmla="*/ 0 h 1000"/>
                <a:gd name="T82" fmla="*/ 0 w 798"/>
                <a:gd name="T83" fmla="*/ 0 h 1000"/>
                <a:gd name="T84" fmla="*/ 0 w 798"/>
                <a:gd name="T85" fmla="*/ 0 h 1000"/>
                <a:gd name="T86" fmla="*/ 0 w 798"/>
                <a:gd name="T87" fmla="*/ 0 h 1000"/>
                <a:gd name="T88" fmla="*/ 0 w 798"/>
                <a:gd name="T89" fmla="*/ 0 h 1000"/>
                <a:gd name="T90" fmla="*/ 0 w 798"/>
                <a:gd name="T91" fmla="*/ 0 h 1000"/>
                <a:gd name="T92" fmla="*/ 0 w 798"/>
                <a:gd name="T93" fmla="*/ 0 h 1000"/>
                <a:gd name="T94" fmla="*/ 0 w 798"/>
                <a:gd name="T95" fmla="*/ 0 h 1000"/>
                <a:gd name="T96" fmla="*/ 0 w 798"/>
                <a:gd name="T97" fmla="*/ 0 h 1000"/>
                <a:gd name="T98" fmla="*/ 0 w 798"/>
                <a:gd name="T99" fmla="*/ 0 h 1000"/>
                <a:gd name="T100" fmla="*/ 0 w 798"/>
                <a:gd name="T101" fmla="*/ 0 h 1000"/>
                <a:gd name="T102" fmla="*/ 0 w 798"/>
                <a:gd name="T103" fmla="*/ 0 h 1000"/>
                <a:gd name="T104" fmla="*/ 0 w 798"/>
                <a:gd name="T105" fmla="*/ 0 h 1000"/>
                <a:gd name="T106" fmla="*/ 0 w 798"/>
                <a:gd name="T107" fmla="*/ 0 h 100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98" h="1000">
                  <a:moveTo>
                    <a:pt x="0" y="23"/>
                  </a:moveTo>
                  <a:lnTo>
                    <a:pt x="0" y="993"/>
                  </a:lnTo>
                  <a:lnTo>
                    <a:pt x="220" y="1000"/>
                  </a:lnTo>
                  <a:lnTo>
                    <a:pt x="220" y="483"/>
                  </a:lnTo>
                  <a:lnTo>
                    <a:pt x="222" y="446"/>
                  </a:lnTo>
                  <a:lnTo>
                    <a:pt x="226" y="410"/>
                  </a:lnTo>
                  <a:lnTo>
                    <a:pt x="229" y="391"/>
                  </a:lnTo>
                  <a:lnTo>
                    <a:pt x="232" y="374"/>
                  </a:lnTo>
                  <a:lnTo>
                    <a:pt x="235" y="358"/>
                  </a:lnTo>
                  <a:lnTo>
                    <a:pt x="240" y="340"/>
                  </a:lnTo>
                  <a:lnTo>
                    <a:pt x="245" y="324"/>
                  </a:lnTo>
                  <a:lnTo>
                    <a:pt x="251" y="309"/>
                  </a:lnTo>
                  <a:lnTo>
                    <a:pt x="259" y="293"/>
                  </a:lnTo>
                  <a:lnTo>
                    <a:pt x="268" y="278"/>
                  </a:lnTo>
                  <a:lnTo>
                    <a:pt x="279" y="264"/>
                  </a:lnTo>
                  <a:lnTo>
                    <a:pt x="291" y="251"/>
                  </a:lnTo>
                  <a:lnTo>
                    <a:pt x="304" y="237"/>
                  </a:lnTo>
                  <a:lnTo>
                    <a:pt x="319" y="225"/>
                  </a:lnTo>
                  <a:lnTo>
                    <a:pt x="337" y="212"/>
                  </a:lnTo>
                  <a:lnTo>
                    <a:pt x="353" y="202"/>
                  </a:lnTo>
                  <a:lnTo>
                    <a:pt x="368" y="195"/>
                  </a:lnTo>
                  <a:lnTo>
                    <a:pt x="384" y="190"/>
                  </a:lnTo>
                  <a:lnTo>
                    <a:pt x="398" y="186"/>
                  </a:lnTo>
                  <a:lnTo>
                    <a:pt x="410" y="183"/>
                  </a:lnTo>
                  <a:lnTo>
                    <a:pt x="421" y="182"/>
                  </a:lnTo>
                  <a:lnTo>
                    <a:pt x="431" y="181"/>
                  </a:lnTo>
                  <a:lnTo>
                    <a:pt x="448" y="182"/>
                  </a:lnTo>
                  <a:lnTo>
                    <a:pt x="464" y="186"/>
                  </a:lnTo>
                  <a:lnTo>
                    <a:pt x="480" y="190"/>
                  </a:lnTo>
                  <a:lnTo>
                    <a:pt x="493" y="195"/>
                  </a:lnTo>
                  <a:lnTo>
                    <a:pt x="504" y="201"/>
                  </a:lnTo>
                  <a:lnTo>
                    <a:pt x="513" y="206"/>
                  </a:lnTo>
                  <a:lnTo>
                    <a:pt x="521" y="212"/>
                  </a:lnTo>
                  <a:lnTo>
                    <a:pt x="527" y="217"/>
                  </a:lnTo>
                  <a:lnTo>
                    <a:pt x="538" y="227"/>
                  </a:lnTo>
                  <a:lnTo>
                    <a:pt x="547" y="237"/>
                  </a:lnTo>
                  <a:lnTo>
                    <a:pt x="555" y="248"/>
                  </a:lnTo>
                  <a:lnTo>
                    <a:pt x="561" y="259"/>
                  </a:lnTo>
                  <a:lnTo>
                    <a:pt x="567" y="270"/>
                  </a:lnTo>
                  <a:lnTo>
                    <a:pt x="572" y="281"/>
                  </a:lnTo>
                  <a:lnTo>
                    <a:pt x="575" y="293"/>
                  </a:lnTo>
                  <a:lnTo>
                    <a:pt x="578" y="306"/>
                  </a:lnTo>
                  <a:lnTo>
                    <a:pt x="584" y="331"/>
                  </a:lnTo>
                  <a:lnTo>
                    <a:pt x="586" y="358"/>
                  </a:lnTo>
                  <a:lnTo>
                    <a:pt x="587" y="384"/>
                  </a:lnTo>
                  <a:lnTo>
                    <a:pt x="588" y="412"/>
                  </a:lnTo>
                  <a:lnTo>
                    <a:pt x="588" y="1000"/>
                  </a:lnTo>
                  <a:lnTo>
                    <a:pt x="798" y="1000"/>
                  </a:lnTo>
                  <a:lnTo>
                    <a:pt x="798" y="339"/>
                  </a:lnTo>
                  <a:lnTo>
                    <a:pt x="798" y="333"/>
                  </a:lnTo>
                  <a:lnTo>
                    <a:pt x="797" y="323"/>
                  </a:lnTo>
                  <a:lnTo>
                    <a:pt x="796" y="311"/>
                  </a:lnTo>
                  <a:lnTo>
                    <a:pt x="795" y="296"/>
                  </a:lnTo>
                  <a:lnTo>
                    <a:pt x="794" y="281"/>
                  </a:lnTo>
                  <a:lnTo>
                    <a:pt x="792" y="264"/>
                  </a:lnTo>
                  <a:lnTo>
                    <a:pt x="789" y="247"/>
                  </a:lnTo>
                  <a:lnTo>
                    <a:pt x="785" y="230"/>
                  </a:lnTo>
                  <a:lnTo>
                    <a:pt x="780" y="213"/>
                  </a:lnTo>
                  <a:lnTo>
                    <a:pt x="775" y="198"/>
                  </a:lnTo>
                  <a:lnTo>
                    <a:pt x="770" y="184"/>
                  </a:lnTo>
                  <a:lnTo>
                    <a:pt x="766" y="171"/>
                  </a:lnTo>
                  <a:lnTo>
                    <a:pt x="761" y="161"/>
                  </a:lnTo>
                  <a:lnTo>
                    <a:pt x="756" y="151"/>
                  </a:lnTo>
                  <a:lnTo>
                    <a:pt x="753" y="143"/>
                  </a:lnTo>
                  <a:lnTo>
                    <a:pt x="749" y="137"/>
                  </a:lnTo>
                  <a:lnTo>
                    <a:pt x="742" y="125"/>
                  </a:lnTo>
                  <a:lnTo>
                    <a:pt x="735" y="113"/>
                  </a:lnTo>
                  <a:lnTo>
                    <a:pt x="726" y="102"/>
                  </a:lnTo>
                  <a:lnTo>
                    <a:pt x="717" y="91"/>
                  </a:lnTo>
                  <a:lnTo>
                    <a:pt x="708" y="81"/>
                  </a:lnTo>
                  <a:lnTo>
                    <a:pt x="699" y="71"/>
                  </a:lnTo>
                  <a:lnTo>
                    <a:pt x="689" y="62"/>
                  </a:lnTo>
                  <a:lnTo>
                    <a:pt x="678" y="54"/>
                  </a:lnTo>
                  <a:lnTo>
                    <a:pt x="666" y="47"/>
                  </a:lnTo>
                  <a:lnTo>
                    <a:pt x="652" y="38"/>
                  </a:lnTo>
                  <a:lnTo>
                    <a:pt x="635" y="30"/>
                  </a:lnTo>
                  <a:lnTo>
                    <a:pt x="614" y="21"/>
                  </a:lnTo>
                  <a:lnTo>
                    <a:pt x="592" y="13"/>
                  </a:lnTo>
                  <a:lnTo>
                    <a:pt x="565" y="6"/>
                  </a:lnTo>
                  <a:lnTo>
                    <a:pt x="551" y="4"/>
                  </a:lnTo>
                  <a:lnTo>
                    <a:pt x="536" y="2"/>
                  </a:lnTo>
                  <a:lnTo>
                    <a:pt x="520" y="0"/>
                  </a:lnTo>
                  <a:lnTo>
                    <a:pt x="503" y="0"/>
                  </a:lnTo>
                  <a:lnTo>
                    <a:pt x="489" y="0"/>
                  </a:lnTo>
                  <a:lnTo>
                    <a:pt x="475" y="1"/>
                  </a:lnTo>
                  <a:lnTo>
                    <a:pt x="462" y="2"/>
                  </a:lnTo>
                  <a:lnTo>
                    <a:pt x="450" y="4"/>
                  </a:lnTo>
                  <a:lnTo>
                    <a:pt x="425" y="9"/>
                  </a:lnTo>
                  <a:lnTo>
                    <a:pt x="403" y="15"/>
                  </a:lnTo>
                  <a:lnTo>
                    <a:pt x="382" y="24"/>
                  </a:lnTo>
                  <a:lnTo>
                    <a:pt x="363" y="33"/>
                  </a:lnTo>
                  <a:lnTo>
                    <a:pt x="345" y="43"/>
                  </a:lnTo>
                  <a:lnTo>
                    <a:pt x="330" y="54"/>
                  </a:lnTo>
                  <a:lnTo>
                    <a:pt x="314" y="65"/>
                  </a:lnTo>
                  <a:lnTo>
                    <a:pt x="302" y="78"/>
                  </a:lnTo>
                  <a:lnTo>
                    <a:pt x="290" y="89"/>
                  </a:lnTo>
                  <a:lnTo>
                    <a:pt x="280" y="101"/>
                  </a:lnTo>
                  <a:lnTo>
                    <a:pt x="261" y="124"/>
                  </a:lnTo>
                  <a:lnTo>
                    <a:pt x="248" y="144"/>
                  </a:lnTo>
                  <a:lnTo>
                    <a:pt x="242" y="154"/>
                  </a:lnTo>
                  <a:lnTo>
                    <a:pt x="236" y="165"/>
                  </a:lnTo>
                  <a:lnTo>
                    <a:pt x="229" y="176"/>
                  </a:lnTo>
                  <a:lnTo>
                    <a:pt x="222" y="189"/>
                  </a:lnTo>
                  <a:lnTo>
                    <a:pt x="216" y="200"/>
                  </a:lnTo>
                  <a:lnTo>
                    <a:pt x="211" y="211"/>
                  </a:lnTo>
                  <a:lnTo>
                    <a:pt x="206" y="222"/>
                  </a:lnTo>
                  <a:lnTo>
                    <a:pt x="201" y="232"/>
                  </a:lnTo>
                  <a:lnTo>
                    <a:pt x="201" y="23"/>
                  </a:lnTo>
                  <a:lnTo>
                    <a:pt x="0" y="23"/>
                  </a:lnTo>
                  <a:close/>
                </a:path>
              </a:pathLst>
            </a:custGeom>
            <a:solidFill>
              <a:srgbClr val="5E737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276" u="sng">
                <a:solidFill>
                  <a:srgbClr val="000000"/>
                </a:solidFill>
                <a:latin typeface="Arial" charset="0"/>
                <a:cs typeface="Arial"/>
              </a:endParaRPr>
            </a:p>
          </p:txBody>
        </p:sp>
        <p:sp>
          <p:nvSpPr>
            <p:cNvPr id="1049" name="Freeform 73"/>
            <p:cNvSpPr>
              <a:spLocks/>
            </p:cNvSpPr>
            <p:nvPr userDrawn="1"/>
          </p:nvSpPr>
          <p:spPr bwMode="auto">
            <a:xfrm>
              <a:off x="5604" y="349"/>
              <a:ext cx="27" cy="63"/>
            </a:xfrm>
            <a:custGeom>
              <a:avLst/>
              <a:gdLst>
                <a:gd name="T0" fmla="*/ 0 w 538"/>
                <a:gd name="T1" fmla="*/ 0 h 1259"/>
                <a:gd name="T2" fmla="*/ 0 w 538"/>
                <a:gd name="T3" fmla="*/ 0 h 1259"/>
                <a:gd name="T4" fmla="*/ 0 w 538"/>
                <a:gd name="T5" fmla="*/ 0 h 1259"/>
                <a:gd name="T6" fmla="*/ 0 w 538"/>
                <a:gd name="T7" fmla="*/ 0 h 1259"/>
                <a:gd name="T8" fmla="*/ 0 w 538"/>
                <a:gd name="T9" fmla="*/ 0 h 1259"/>
                <a:gd name="T10" fmla="*/ 0 w 538"/>
                <a:gd name="T11" fmla="*/ 0 h 1259"/>
                <a:gd name="T12" fmla="*/ 0 w 538"/>
                <a:gd name="T13" fmla="*/ 0 h 1259"/>
                <a:gd name="T14" fmla="*/ 0 w 538"/>
                <a:gd name="T15" fmla="*/ 0 h 1259"/>
                <a:gd name="T16" fmla="*/ 0 w 538"/>
                <a:gd name="T17" fmla="*/ 0 h 1259"/>
                <a:gd name="T18" fmla="*/ 0 w 538"/>
                <a:gd name="T19" fmla="*/ 0 h 1259"/>
                <a:gd name="T20" fmla="*/ 0 w 538"/>
                <a:gd name="T21" fmla="*/ 0 h 1259"/>
                <a:gd name="T22" fmla="*/ 0 w 538"/>
                <a:gd name="T23" fmla="*/ 0 h 1259"/>
                <a:gd name="T24" fmla="*/ 0 w 538"/>
                <a:gd name="T25" fmla="*/ 0 h 1259"/>
                <a:gd name="T26" fmla="*/ 0 w 538"/>
                <a:gd name="T27" fmla="*/ 0 h 1259"/>
                <a:gd name="T28" fmla="*/ 0 w 538"/>
                <a:gd name="T29" fmla="*/ 0 h 1259"/>
                <a:gd name="T30" fmla="*/ 0 w 538"/>
                <a:gd name="T31" fmla="*/ 0 h 1259"/>
                <a:gd name="T32" fmla="*/ 0 w 538"/>
                <a:gd name="T33" fmla="*/ 0 h 1259"/>
                <a:gd name="T34" fmla="*/ 0 w 538"/>
                <a:gd name="T35" fmla="*/ 0 h 1259"/>
                <a:gd name="T36" fmla="*/ 0 w 538"/>
                <a:gd name="T37" fmla="*/ 0 h 1259"/>
                <a:gd name="T38" fmla="*/ 0 w 538"/>
                <a:gd name="T39" fmla="*/ 0 h 1259"/>
                <a:gd name="T40" fmla="*/ 0 w 538"/>
                <a:gd name="T41" fmla="*/ 0 h 1259"/>
                <a:gd name="T42" fmla="*/ 0 w 538"/>
                <a:gd name="T43" fmla="*/ 0 h 1259"/>
                <a:gd name="T44" fmla="*/ 0 w 538"/>
                <a:gd name="T45" fmla="*/ 0 h 1259"/>
                <a:gd name="T46" fmla="*/ 0 w 538"/>
                <a:gd name="T47" fmla="*/ 0 h 1259"/>
                <a:gd name="T48" fmla="*/ 0 w 538"/>
                <a:gd name="T49" fmla="*/ 0 h 1259"/>
                <a:gd name="T50" fmla="*/ 0 w 538"/>
                <a:gd name="T51" fmla="*/ 0 h 1259"/>
                <a:gd name="T52" fmla="*/ 0 w 538"/>
                <a:gd name="T53" fmla="*/ 0 h 1259"/>
                <a:gd name="T54" fmla="*/ 0 w 538"/>
                <a:gd name="T55" fmla="*/ 0 h 1259"/>
                <a:gd name="T56" fmla="*/ 0 w 538"/>
                <a:gd name="T57" fmla="*/ 0 h 1259"/>
                <a:gd name="T58" fmla="*/ 0 w 538"/>
                <a:gd name="T59" fmla="*/ 0 h 1259"/>
                <a:gd name="T60" fmla="*/ 0 w 538"/>
                <a:gd name="T61" fmla="*/ 0 h 1259"/>
                <a:gd name="T62" fmla="*/ 0 w 538"/>
                <a:gd name="T63" fmla="*/ 0 h 1259"/>
                <a:gd name="T64" fmla="*/ 0 w 538"/>
                <a:gd name="T65" fmla="*/ 0 h 125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538" h="1259">
                  <a:moveTo>
                    <a:pt x="0" y="276"/>
                  </a:moveTo>
                  <a:lnTo>
                    <a:pt x="0" y="457"/>
                  </a:lnTo>
                  <a:lnTo>
                    <a:pt x="118" y="457"/>
                  </a:lnTo>
                  <a:lnTo>
                    <a:pt x="118" y="996"/>
                  </a:lnTo>
                  <a:lnTo>
                    <a:pt x="121" y="1025"/>
                  </a:lnTo>
                  <a:lnTo>
                    <a:pt x="125" y="1051"/>
                  </a:lnTo>
                  <a:lnTo>
                    <a:pt x="130" y="1077"/>
                  </a:lnTo>
                  <a:lnTo>
                    <a:pt x="136" y="1101"/>
                  </a:lnTo>
                  <a:lnTo>
                    <a:pt x="140" y="1114"/>
                  </a:lnTo>
                  <a:lnTo>
                    <a:pt x="146" y="1126"/>
                  </a:lnTo>
                  <a:lnTo>
                    <a:pt x="151" y="1137"/>
                  </a:lnTo>
                  <a:lnTo>
                    <a:pt x="157" y="1148"/>
                  </a:lnTo>
                  <a:lnTo>
                    <a:pt x="164" y="1159"/>
                  </a:lnTo>
                  <a:lnTo>
                    <a:pt x="172" y="1171"/>
                  </a:lnTo>
                  <a:lnTo>
                    <a:pt x="181" y="1181"/>
                  </a:lnTo>
                  <a:lnTo>
                    <a:pt x="190" y="1191"/>
                  </a:lnTo>
                  <a:lnTo>
                    <a:pt x="202" y="1202"/>
                  </a:lnTo>
                  <a:lnTo>
                    <a:pt x="212" y="1211"/>
                  </a:lnTo>
                  <a:lnTo>
                    <a:pt x="223" y="1219"/>
                  </a:lnTo>
                  <a:lnTo>
                    <a:pt x="235" y="1227"/>
                  </a:lnTo>
                  <a:lnTo>
                    <a:pt x="248" y="1233"/>
                  </a:lnTo>
                  <a:lnTo>
                    <a:pt x="260" y="1239"/>
                  </a:lnTo>
                  <a:lnTo>
                    <a:pt x="272" y="1243"/>
                  </a:lnTo>
                  <a:lnTo>
                    <a:pt x="285" y="1247"/>
                  </a:lnTo>
                  <a:lnTo>
                    <a:pt x="299" y="1250"/>
                  </a:lnTo>
                  <a:lnTo>
                    <a:pt x="313" y="1253"/>
                  </a:lnTo>
                  <a:lnTo>
                    <a:pt x="327" y="1255"/>
                  </a:lnTo>
                  <a:lnTo>
                    <a:pt x="341" y="1256"/>
                  </a:lnTo>
                  <a:lnTo>
                    <a:pt x="371" y="1258"/>
                  </a:lnTo>
                  <a:lnTo>
                    <a:pt x="402" y="1259"/>
                  </a:lnTo>
                  <a:lnTo>
                    <a:pt x="418" y="1259"/>
                  </a:lnTo>
                  <a:lnTo>
                    <a:pt x="435" y="1258"/>
                  </a:lnTo>
                  <a:lnTo>
                    <a:pt x="452" y="1258"/>
                  </a:lnTo>
                  <a:lnTo>
                    <a:pt x="469" y="1257"/>
                  </a:lnTo>
                  <a:lnTo>
                    <a:pt x="485" y="1256"/>
                  </a:lnTo>
                  <a:lnTo>
                    <a:pt x="503" y="1255"/>
                  </a:lnTo>
                  <a:lnTo>
                    <a:pt x="519" y="1254"/>
                  </a:lnTo>
                  <a:lnTo>
                    <a:pt x="536" y="1253"/>
                  </a:lnTo>
                  <a:lnTo>
                    <a:pt x="538" y="1074"/>
                  </a:lnTo>
                  <a:lnTo>
                    <a:pt x="515" y="1076"/>
                  </a:lnTo>
                  <a:lnTo>
                    <a:pt x="491" y="1077"/>
                  </a:lnTo>
                  <a:lnTo>
                    <a:pt x="467" y="1078"/>
                  </a:lnTo>
                  <a:lnTo>
                    <a:pt x="442" y="1076"/>
                  </a:lnTo>
                  <a:lnTo>
                    <a:pt x="431" y="1075"/>
                  </a:lnTo>
                  <a:lnTo>
                    <a:pt x="420" y="1072"/>
                  </a:lnTo>
                  <a:lnTo>
                    <a:pt x="409" y="1069"/>
                  </a:lnTo>
                  <a:lnTo>
                    <a:pt x="399" y="1065"/>
                  </a:lnTo>
                  <a:lnTo>
                    <a:pt x="388" y="1060"/>
                  </a:lnTo>
                  <a:lnTo>
                    <a:pt x="378" y="1054"/>
                  </a:lnTo>
                  <a:lnTo>
                    <a:pt x="370" y="1046"/>
                  </a:lnTo>
                  <a:lnTo>
                    <a:pt x="362" y="1038"/>
                  </a:lnTo>
                  <a:lnTo>
                    <a:pt x="356" y="1030"/>
                  </a:lnTo>
                  <a:lnTo>
                    <a:pt x="351" y="1022"/>
                  </a:lnTo>
                  <a:lnTo>
                    <a:pt x="347" y="1013"/>
                  </a:lnTo>
                  <a:lnTo>
                    <a:pt x="342" y="1003"/>
                  </a:lnTo>
                  <a:lnTo>
                    <a:pt x="339" y="991"/>
                  </a:lnTo>
                  <a:lnTo>
                    <a:pt x="337" y="978"/>
                  </a:lnTo>
                  <a:lnTo>
                    <a:pt x="335" y="963"/>
                  </a:lnTo>
                  <a:lnTo>
                    <a:pt x="333" y="945"/>
                  </a:lnTo>
                  <a:lnTo>
                    <a:pt x="333" y="455"/>
                  </a:lnTo>
                  <a:lnTo>
                    <a:pt x="527" y="455"/>
                  </a:lnTo>
                  <a:lnTo>
                    <a:pt x="527" y="274"/>
                  </a:lnTo>
                  <a:lnTo>
                    <a:pt x="331" y="274"/>
                  </a:lnTo>
                  <a:lnTo>
                    <a:pt x="331" y="0"/>
                  </a:lnTo>
                  <a:lnTo>
                    <a:pt x="156" y="13"/>
                  </a:lnTo>
                  <a:lnTo>
                    <a:pt x="131" y="276"/>
                  </a:lnTo>
                  <a:lnTo>
                    <a:pt x="0" y="276"/>
                  </a:lnTo>
                  <a:close/>
                </a:path>
              </a:pathLst>
            </a:custGeom>
            <a:solidFill>
              <a:srgbClr val="5E737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276" u="sng">
                <a:solidFill>
                  <a:srgbClr val="000000"/>
                </a:solidFill>
                <a:latin typeface="Arial" charset="0"/>
                <a:cs typeface="Arial"/>
              </a:endParaRPr>
            </a:p>
          </p:txBody>
        </p:sp>
        <p:sp>
          <p:nvSpPr>
            <p:cNvPr id="1050" name="Freeform 74"/>
            <p:cNvSpPr>
              <a:spLocks noEditPoints="1"/>
            </p:cNvSpPr>
            <p:nvPr userDrawn="1"/>
          </p:nvSpPr>
          <p:spPr bwMode="auto">
            <a:xfrm>
              <a:off x="5635" y="362"/>
              <a:ext cx="44" cy="50"/>
            </a:xfrm>
            <a:custGeom>
              <a:avLst/>
              <a:gdLst>
                <a:gd name="T0" fmla="*/ 0 w 873"/>
                <a:gd name="T1" fmla="*/ 0 h 1017"/>
                <a:gd name="T2" fmla="*/ 0 w 873"/>
                <a:gd name="T3" fmla="*/ 0 h 1017"/>
                <a:gd name="T4" fmla="*/ 0 w 873"/>
                <a:gd name="T5" fmla="*/ 0 h 1017"/>
                <a:gd name="T6" fmla="*/ 0 w 873"/>
                <a:gd name="T7" fmla="*/ 0 h 1017"/>
                <a:gd name="T8" fmla="*/ 0 w 873"/>
                <a:gd name="T9" fmla="*/ 0 h 1017"/>
                <a:gd name="T10" fmla="*/ 0 w 873"/>
                <a:gd name="T11" fmla="*/ 0 h 1017"/>
                <a:gd name="T12" fmla="*/ 0 w 873"/>
                <a:gd name="T13" fmla="*/ 0 h 1017"/>
                <a:gd name="T14" fmla="*/ 0 w 873"/>
                <a:gd name="T15" fmla="*/ 0 h 1017"/>
                <a:gd name="T16" fmla="*/ 0 w 873"/>
                <a:gd name="T17" fmla="*/ 0 h 1017"/>
                <a:gd name="T18" fmla="*/ 0 w 873"/>
                <a:gd name="T19" fmla="*/ 0 h 1017"/>
                <a:gd name="T20" fmla="*/ 0 w 873"/>
                <a:gd name="T21" fmla="*/ 0 h 1017"/>
                <a:gd name="T22" fmla="*/ 0 w 873"/>
                <a:gd name="T23" fmla="*/ 0 h 1017"/>
                <a:gd name="T24" fmla="*/ 0 w 873"/>
                <a:gd name="T25" fmla="*/ 0 h 1017"/>
                <a:gd name="T26" fmla="*/ 0 w 873"/>
                <a:gd name="T27" fmla="*/ 0 h 1017"/>
                <a:gd name="T28" fmla="*/ 0 w 873"/>
                <a:gd name="T29" fmla="*/ 0 h 1017"/>
                <a:gd name="T30" fmla="*/ 0 w 873"/>
                <a:gd name="T31" fmla="*/ 0 h 1017"/>
                <a:gd name="T32" fmla="*/ 0 w 873"/>
                <a:gd name="T33" fmla="*/ 0 h 1017"/>
                <a:gd name="T34" fmla="*/ 0 w 873"/>
                <a:gd name="T35" fmla="*/ 0 h 1017"/>
                <a:gd name="T36" fmla="*/ 0 w 873"/>
                <a:gd name="T37" fmla="*/ 0 h 1017"/>
                <a:gd name="T38" fmla="*/ 0 w 873"/>
                <a:gd name="T39" fmla="*/ 0 h 1017"/>
                <a:gd name="T40" fmla="*/ 0 w 873"/>
                <a:gd name="T41" fmla="*/ 0 h 1017"/>
                <a:gd name="T42" fmla="*/ 0 w 873"/>
                <a:gd name="T43" fmla="*/ 0 h 1017"/>
                <a:gd name="T44" fmla="*/ 0 w 873"/>
                <a:gd name="T45" fmla="*/ 0 h 1017"/>
                <a:gd name="T46" fmla="*/ 0 w 873"/>
                <a:gd name="T47" fmla="*/ 0 h 1017"/>
                <a:gd name="T48" fmla="*/ 0 w 873"/>
                <a:gd name="T49" fmla="*/ 0 h 1017"/>
                <a:gd name="T50" fmla="*/ 0 w 873"/>
                <a:gd name="T51" fmla="*/ 0 h 1017"/>
                <a:gd name="T52" fmla="*/ 0 w 873"/>
                <a:gd name="T53" fmla="*/ 0 h 1017"/>
                <a:gd name="T54" fmla="*/ 0 w 873"/>
                <a:gd name="T55" fmla="*/ 0 h 1017"/>
                <a:gd name="T56" fmla="*/ 0 w 873"/>
                <a:gd name="T57" fmla="*/ 0 h 1017"/>
                <a:gd name="T58" fmla="*/ 0 w 873"/>
                <a:gd name="T59" fmla="*/ 0 h 1017"/>
                <a:gd name="T60" fmla="*/ 0 w 873"/>
                <a:gd name="T61" fmla="*/ 0 h 1017"/>
                <a:gd name="T62" fmla="*/ 0 w 873"/>
                <a:gd name="T63" fmla="*/ 0 h 1017"/>
                <a:gd name="T64" fmla="*/ 0 w 873"/>
                <a:gd name="T65" fmla="*/ 0 h 1017"/>
                <a:gd name="T66" fmla="*/ 0 w 873"/>
                <a:gd name="T67" fmla="*/ 0 h 1017"/>
                <a:gd name="T68" fmla="*/ 0 w 873"/>
                <a:gd name="T69" fmla="*/ 0 h 1017"/>
                <a:gd name="T70" fmla="*/ 0 w 873"/>
                <a:gd name="T71" fmla="*/ 0 h 1017"/>
                <a:gd name="T72" fmla="*/ 0 w 873"/>
                <a:gd name="T73" fmla="*/ 0 h 1017"/>
                <a:gd name="T74" fmla="*/ 0 w 873"/>
                <a:gd name="T75" fmla="*/ 0 h 1017"/>
                <a:gd name="T76" fmla="*/ 0 w 873"/>
                <a:gd name="T77" fmla="*/ 0 h 1017"/>
                <a:gd name="T78" fmla="*/ 0 w 873"/>
                <a:gd name="T79" fmla="*/ 0 h 1017"/>
                <a:gd name="T80" fmla="*/ 0 w 873"/>
                <a:gd name="T81" fmla="*/ 0 h 1017"/>
                <a:gd name="T82" fmla="*/ 0 w 873"/>
                <a:gd name="T83" fmla="*/ 0 h 1017"/>
                <a:gd name="T84" fmla="*/ 0 w 873"/>
                <a:gd name="T85" fmla="*/ 0 h 1017"/>
                <a:gd name="T86" fmla="*/ 0 w 873"/>
                <a:gd name="T87" fmla="*/ 0 h 1017"/>
                <a:gd name="T88" fmla="*/ 0 w 873"/>
                <a:gd name="T89" fmla="*/ 0 h 1017"/>
                <a:gd name="T90" fmla="*/ 0 w 873"/>
                <a:gd name="T91" fmla="*/ 0 h 1017"/>
                <a:gd name="T92" fmla="*/ 0 w 873"/>
                <a:gd name="T93" fmla="*/ 0 h 1017"/>
                <a:gd name="T94" fmla="*/ 0 w 873"/>
                <a:gd name="T95" fmla="*/ 0 h 1017"/>
                <a:gd name="T96" fmla="*/ 0 w 873"/>
                <a:gd name="T97" fmla="*/ 0 h 1017"/>
                <a:gd name="T98" fmla="*/ 0 w 873"/>
                <a:gd name="T99" fmla="*/ 0 h 1017"/>
                <a:gd name="T100" fmla="*/ 0 w 873"/>
                <a:gd name="T101" fmla="*/ 0 h 1017"/>
                <a:gd name="T102" fmla="*/ 0 w 873"/>
                <a:gd name="T103" fmla="*/ 0 h 1017"/>
                <a:gd name="T104" fmla="*/ 0 w 873"/>
                <a:gd name="T105" fmla="*/ 0 h 1017"/>
                <a:gd name="T106" fmla="*/ 0 w 873"/>
                <a:gd name="T107" fmla="*/ 0 h 1017"/>
                <a:gd name="T108" fmla="*/ 0 w 873"/>
                <a:gd name="T109" fmla="*/ 0 h 1017"/>
                <a:gd name="T110" fmla="*/ 0 w 873"/>
                <a:gd name="T111" fmla="*/ 0 h 1017"/>
                <a:gd name="T112" fmla="*/ 0 w 873"/>
                <a:gd name="T113" fmla="*/ 0 h 1017"/>
                <a:gd name="T114" fmla="*/ 0 w 873"/>
                <a:gd name="T115" fmla="*/ 0 h 1017"/>
                <a:gd name="T116" fmla="*/ 0 w 873"/>
                <a:gd name="T117" fmla="*/ 0 h 1017"/>
                <a:gd name="T118" fmla="*/ 0 w 873"/>
                <a:gd name="T119" fmla="*/ 0 h 1017"/>
                <a:gd name="T120" fmla="*/ 0 w 873"/>
                <a:gd name="T121" fmla="*/ 0 h 1017"/>
                <a:gd name="T122" fmla="*/ 0 w 873"/>
                <a:gd name="T123" fmla="*/ 0 h 1017"/>
                <a:gd name="T124" fmla="*/ 0 w 873"/>
                <a:gd name="T125" fmla="*/ 0 h 101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873" h="1017">
                  <a:moveTo>
                    <a:pt x="873" y="537"/>
                  </a:moveTo>
                  <a:lnTo>
                    <a:pt x="873" y="509"/>
                  </a:lnTo>
                  <a:lnTo>
                    <a:pt x="872" y="481"/>
                  </a:lnTo>
                  <a:lnTo>
                    <a:pt x="871" y="451"/>
                  </a:lnTo>
                  <a:lnTo>
                    <a:pt x="870" y="423"/>
                  </a:lnTo>
                  <a:lnTo>
                    <a:pt x="867" y="394"/>
                  </a:lnTo>
                  <a:lnTo>
                    <a:pt x="863" y="366"/>
                  </a:lnTo>
                  <a:lnTo>
                    <a:pt x="859" y="338"/>
                  </a:lnTo>
                  <a:lnTo>
                    <a:pt x="853" y="311"/>
                  </a:lnTo>
                  <a:lnTo>
                    <a:pt x="849" y="301"/>
                  </a:lnTo>
                  <a:lnTo>
                    <a:pt x="845" y="287"/>
                  </a:lnTo>
                  <a:lnTo>
                    <a:pt x="839" y="273"/>
                  </a:lnTo>
                  <a:lnTo>
                    <a:pt x="833" y="256"/>
                  </a:lnTo>
                  <a:lnTo>
                    <a:pt x="825" y="238"/>
                  </a:lnTo>
                  <a:lnTo>
                    <a:pt x="816" y="219"/>
                  </a:lnTo>
                  <a:lnTo>
                    <a:pt x="804" y="199"/>
                  </a:lnTo>
                  <a:lnTo>
                    <a:pt x="791" y="178"/>
                  </a:lnTo>
                  <a:lnTo>
                    <a:pt x="780" y="163"/>
                  </a:lnTo>
                  <a:lnTo>
                    <a:pt x="769" y="150"/>
                  </a:lnTo>
                  <a:lnTo>
                    <a:pt x="758" y="137"/>
                  </a:lnTo>
                  <a:lnTo>
                    <a:pt x="747" y="124"/>
                  </a:lnTo>
                  <a:lnTo>
                    <a:pt x="735" y="112"/>
                  </a:lnTo>
                  <a:lnTo>
                    <a:pt x="723" y="102"/>
                  </a:lnTo>
                  <a:lnTo>
                    <a:pt x="711" y="92"/>
                  </a:lnTo>
                  <a:lnTo>
                    <a:pt x="700" y="82"/>
                  </a:lnTo>
                  <a:lnTo>
                    <a:pt x="687" y="74"/>
                  </a:lnTo>
                  <a:lnTo>
                    <a:pt x="675" y="65"/>
                  </a:lnTo>
                  <a:lnTo>
                    <a:pt x="663" y="57"/>
                  </a:lnTo>
                  <a:lnTo>
                    <a:pt x="651" y="51"/>
                  </a:lnTo>
                  <a:lnTo>
                    <a:pt x="626" y="39"/>
                  </a:lnTo>
                  <a:lnTo>
                    <a:pt x="602" y="29"/>
                  </a:lnTo>
                  <a:lnTo>
                    <a:pt x="578" y="21"/>
                  </a:lnTo>
                  <a:lnTo>
                    <a:pt x="556" y="13"/>
                  </a:lnTo>
                  <a:lnTo>
                    <a:pt x="533" y="8"/>
                  </a:lnTo>
                  <a:lnTo>
                    <a:pt x="513" y="5"/>
                  </a:lnTo>
                  <a:lnTo>
                    <a:pt x="494" y="2"/>
                  </a:lnTo>
                  <a:lnTo>
                    <a:pt x="475" y="1"/>
                  </a:lnTo>
                  <a:lnTo>
                    <a:pt x="459" y="0"/>
                  </a:lnTo>
                  <a:lnTo>
                    <a:pt x="445" y="0"/>
                  </a:lnTo>
                  <a:lnTo>
                    <a:pt x="426" y="0"/>
                  </a:lnTo>
                  <a:lnTo>
                    <a:pt x="408" y="1"/>
                  </a:lnTo>
                  <a:lnTo>
                    <a:pt x="390" y="3"/>
                  </a:lnTo>
                  <a:lnTo>
                    <a:pt x="372" y="5"/>
                  </a:lnTo>
                  <a:lnTo>
                    <a:pt x="354" y="8"/>
                  </a:lnTo>
                  <a:lnTo>
                    <a:pt x="338" y="12"/>
                  </a:lnTo>
                  <a:lnTo>
                    <a:pt x="320" y="17"/>
                  </a:lnTo>
                  <a:lnTo>
                    <a:pt x="304" y="22"/>
                  </a:lnTo>
                  <a:lnTo>
                    <a:pt x="288" y="28"/>
                  </a:lnTo>
                  <a:lnTo>
                    <a:pt x="271" y="34"/>
                  </a:lnTo>
                  <a:lnTo>
                    <a:pt x="256" y="41"/>
                  </a:lnTo>
                  <a:lnTo>
                    <a:pt x="241" y="48"/>
                  </a:lnTo>
                  <a:lnTo>
                    <a:pt x="225" y="56"/>
                  </a:lnTo>
                  <a:lnTo>
                    <a:pt x="211" y="65"/>
                  </a:lnTo>
                  <a:lnTo>
                    <a:pt x="198" y="75"/>
                  </a:lnTo>
                  <a:lnTo>
                    <a:pt x="184" y="84"/>
                  </a:lnTo>
                  <a:lnTo>
                    <a:pt x="170" y="95"/>
                  </a:lnTo>
                  <a:lnTo>
                    <a:pt x="158" y="105"/>
                  </a:lnTo>
                  <a:lnTo>
                    <a:pt x="146" y="117"/>
                  </a:lnTo>
                  <a:lnTo>
                    <a:pt x="134" y="129"/>
                  </a:lnTo>
                  <a:lnTo>
                    <a:pt x="122" y="142"/>
                  </a:lnTo>
                  <a:lnTo>
                    <a:pt x="111" y="154"/>
                  </a:lnTo>
                  <a:lnTo>
                    <a:pt x="101" y="168"/>
                  </a:lnTo>
                  <a:lnTo>
                    <a:pt x="91" y="181"/>
                  </a:lnTo>
                  <a:lnTo>
                    <a:pt x="81" y="196"/>
                  </a:lnTo>
                  <a:lnTo>
                    <a:pt x="71" y="211"/>
                  </a:lnTo>
                  <a:lnTo>
                    <a:pt x="63" y="226"/>
                  </a:lnTo>
                  <a:lnTo>
                    <a:pt x="55" y="242"/>
                  </a:lnTo>
                  <a:lnTo>
                    <a:pt x="48" y="258"/>
                  </a:lnTo>
                  <a:lnTo>
                    <a:pt x="41" y="275"/>
                  </a:lnTo>
                  <a:lnTo>
                    <a:pt x="35" y="291"/>
                  </a:lnTo>
                  <a:lnTo>
                    <a:pt x="29" y="309"/>
                  </a:lnTo>
                  <a:lnTo>
                    <a:pt x="19" y="341"/>
                  </a:lnTo>
                  <a:lnTo>
                    <a:pt x="13" y="373"/>
                  </a:lnTo>
                  <a:lnTo>
                    <a:pt x="8" y="402"/>
                  </a:lnTo>
                  <a:lnTo>
                    <a:pt x="4" y="431"/>
                  </a:lnTo>
                  <a:lnTo>
                    <a:pt x="2" y="456"/>
                  </a:lnTo>
                  <a:lnTo>
                    <a:pt x="1" y="478"/>
                  </a:lnTo>
                  <a:lnTo>
                    <a:pt x="0" y="497"/>
                  </a:lnTo>
                  <a:lnTo>
                    <a:pt x="0" y="511"/>
                  </a:lnTo>
                  <a:lnTo>
                    <a:pt x="0" y="536"/>
                  </a:lnTo>
                  <a:lnTo>
                    <a:pt x="1" y="560"/>
                  </a:lnTo>
                  <a:lnTo>
                    <a:pt x="3" y="584"/>
                  </a:lnTo>
                  <a:lnTo>
                    <a:pt x="5" y="606"/>
                  </a:lnTo>
                  <a:lnTo>
                    <a:pt x="7" y="627"/>
                  </a:lnTo>
                  <a:lnTo>
                    <a:pt x="11" y="648"/>
                  </a:lnTo>
                  <a:lnTo>
                    <a:pt x="14" y="668"/>
                  </a:lnTo>
                  <a:lnTo>
                    <a:pt x="18" y="688"/>
                  </a:lnTo>
                  <a:lnTo>
                    <a:pt x="23" y="706"/>
                  </a:lnTo>
                  <a:lnTo>
                    <a:pt x="29" y="723"/>
                  </a:lnTo>
                  <a:lnTo>
                    <a:pt x="34" y="739"/>
                  </a:lnTo>
                  <a:lnTo>
                    <a:pt x="40" y="756"/>
                  </a:lnTo>
                  <a:lnTo>
                    <a:pt x="46" y="771"/>
                  </a:lnTo>
                  <a:lnTo>
                    <a:pt x="53" y="786"/>
                  </a:lnTo>
                  <a:lnTo>
                    <a:pt x="60" y="801"/>
                  </a:lnTo>
                  <a:lnTo>
                    <a:pt x="67" y="814"/>
                  </a:lnTo>
                  <a:lnTo>
                    <a:pt x="75" y="827"/>
                  </a:lnTo>
                  <a:lnTo>
                    <a:pt x="83" y="839"/>
                  </a:lnTo>
                  <a:lnTo>
                    <a:pt x="91" y="850"/>
                  </a:lnTo>
                  <a:lnTo>
                    <a:pt x="100" y="862"/>
                  </a:lnTo>
                  <a:lnTo>
                    <a:pt x="117" y="882"/>
                  </a:lnTo>
                  <a:lnTo>
                    <a:pt x="136" y="900"/>
                  </a:lnTo>
                  <a:lnTo>
                    <a:pt x="154" y="918"/>
                  </a:lnTo>
                  <a:lnTo>
                    <a:pt x="173" y="932"/>
                  </a:lnTo>
                  <a:lnTo>
                    <a:pt x="193" y="945"/>
                  </a:lnTo>
                  <a:lnTo>
                    <a:pt x="212" y="957"/>
                  </a:lnTo>
                  <a:lnTo>
                    <a:pt x="230" y="967"/>
                  </a:lnTo>
                  <a:lnTo>
                    <a:pt x="247" y="976"/>
                  </a:lnTo>
                  <a:lnTo>
                    <a:pt x="264" y="983"/>
                  </a:lnTo>
                  <a:lnTo>
                    <a:pt x="282" y="990"/>
                  </a:lnTo>
                  <a:lnTo>
                    <a:pt x="298" y="995"/>
                  </a:lnTo>
                  <a:lnTo>
                    <a:pt x="314" y="1000"/>
                  </a:lnTo>
                  <a:lnTo>
                    <a:pt x="329" y="1004"/>
                  </a:lnTo>
                  <a:lnTo>
                    <a:pt x="345" y="1007"/>
                  </a:lnTo>
                  <a:lnTo>
                    <a:pt x="372" y="1012"/>
                  </a:lnTo>
                  <a:lnTo>
                    <a:pt x="398" y="1015"/>
                  </a:lnTo>
                  <a:lnTo>
                    <a:pt x="419" y="1016"/>
                  </a:lnTo>
                  <a:lnTo>
                    <a:pt x="438" y="1017"/>
                  </a:lnTo>
                  <a:lnTo>
                    <a:pt x="464" y="1016"/>
                  </a:lnTo>
                  <a:lnTo>
                    <a:pt x="491" y="1014"/>
                  </a:lnTo>
                  <a:lnTo>
                    <a:pt x="517" y="1010"/>
                  </a:lnTo>
                  <a:lnTo>
                    <a:pt x="543" y="1005"/>
                  </a:lnTo>
                  <a:lnTo>
                    <a:pt x="568" y="999"/>
                  </a:lnTo>
                  <a:lnTo>
                    <a:pt x="593" y="991"/>
                  </a:lnTo>
                  <a:lnTo>
                    <a:pt x="617" y="982"/>
                  </a:lnTo>
                  <a:lnTo>
                    <a:pt x="641" y="972"/>
                  </a:lnTo>
                  <a:lnTo>
                    <a:pt x="664" y="959"/>
                  </a:lnTo>
                  <a:lnTo>
                    <a:pt x="685" y="946"/>
                  </a:lnTo>
                  <a:lnTo>
                    <a:pt x="707" y="932"/>
                  </a:lnTo>
                  <a:lnTo>
                    <a:pt x="727" y="916"/>
                  </a:lnTo>
                  <a:lnTo>
                    <a:pt x="747" y="898"/>
                  </a:lnTo>
                  <a:lnTo>
                    <a:pt x="765" y="880"/>
                  </a:lnTo>
                  <a:lnTo>
                    <a:pt x="782" y="861"/>
                  </a:lnTo>
                  <a:lnTo>
                    <a:pt x="798" y="839"/>
                  </a:lnTo>
                  <a:lnTo>
                    <a:pt x="810" y="821"/>
                  </a:lnTo>
                  <a:lnTo>
                    <a:pt x="820" y="802"/>
                  </a:lnTo>
                  <a:lnTo>
                    <a:pt x="830" y="783"/>
                  </a:lnTo>
                  <a:lnTo>
                    <a:pt x="839" y="765"/>
                  </a:lnTo>
                  <a:lnTo>
                    <a:pt x="848" y="748"/>
                  </a:lnTo>
                  <a:lnTo>
                    <a:pt x="854" y="733"/>
                  </a:lnTo>
                  <a:lnTo>
                    <a:pt x="859" y="722"/>
                  </a:lnTo>
                  <a:lnTo>
                    <a:pt x="862" y="715"/>
                  </a:lnTo>
                  <a:lnTo>
                    <a:pt x="661" y="683"/>
                  </a:lnTo>
                  <a:lnTo>
                    <a:pt x="658" y="692"/>
                  </a:lnTo>
                  <a:lnTo>
                    <a:pt x="655" y="700"/>
                  </a:lnTo>
                  <a:lnTo>
                    <a:pt x="652" y="708"/>
                  </a:lnTo>
                  <a:lnTo>
                    <a:pt x="649" y="715"/>
                  </a:lnTo>
                  <a:lnTo>
                    <a:pt x="646" y="723"/>
                  </a:lnTo>
                  <a:lnTo>
                    <a:pt x="642" y="730"/>
                  </a:lnTo>
                  <a:lnTo>
                    <a:pt x="638" y="737"/>
                  </a:lnTo>
                  <a:lnTo>
                    <a:pt x="632" y="746"/>
                  </a:lnTo>
                  <a:lnTo>
                    <a:pt x="624" y="757"/>
                  </a:lnTo>
                  <a:lnTo>
                    <a:pt x="616" y="767"/>
                  </a:lnTo>
                  <a:lnTo>
                    <a:pt x="607" y="776"/>
                  </a:lnTo>
                  <a:lnTo>
                    <a:pt x="597" y="786"/>
                  </a:lnTo>
                  <a:lnTo>
                    <a:pt x="587" y="794"/>
                  </a:lnTo>
                  <a:lnTo>
                    <a:pt x="575" y="803"/>
                  </a:lnTo>
                  <a:lnTo>
                    <a:pt x="564" y="810"/>
                  </a:lnTo>
                  <a:lnTo>
                    <a:pt x="553" y="817"/>
                  </a:lnTo>
                  <a:lnTo>
                    <a:pt x="541" y="823"/>
                  </a:lnTo>
                  <a:lnTo>
                    <a:pt x="528" y="828"/>
                  </a:lnTo>
                  <a:lnTo>
                    <a:pt x="516" y="832"/>
                  </a:lnTo>
                  <a:lnTo>
                    <a:pt x="504" y="836"/>
                  </a:lnTo>
                  <a:lnTo>
                    <a:pt x="491" y="839"/>
                  </a:lnTo>
                  <a:lnTo>
                    <a:pt x="477" y="841"/>
                  </a:lnTo>
                  <a:lnTo>
                    <a:pt x="464" y="842"/>
                  </a:lnTo>
                  <a:lnTo>
                    <a:pt x="451" y="842"/>
                  </a:lnTo>
                  <a:lnTo>
                    <a:pt x="440" y="842"/>
                  </a:lnTo>
                  <a:lnTo>
                    <a:pt x="426" y="841"/>
                  </a:lnTo>
                  <a:lnTo>
                    <a:pt x="412" y="839"/>
                  </a:lnTo>
                  <a:lnTo>
                    <a:pt x="396" y="835"/>
                  </a:lnTo>
                  <a:lnTo>
                    <a:pt x="388" y="833"/>
                  </a:lnTo>
                  <a:lnTo>
                    <a:pt x="379" y="829"/>
                  </a:lnTo>
                  <a:lnTo>
                    <a:pt x="371" y="826"/>
                  </a:lnTo>
                  <a:lnTo>
                    <a:pt x="362" y="821"/>
                  </a:lnTo>
                  <a:lnTo>
                    <a:pt x="353" y="816"/>
                  </a:lnTo>
                  <a:lnTo>
                    <a:pt x="344" y="810"/>
                  </a:lnTo>
                  <a:lnTo>
                    <a:pt x="335" y="803"/>
                  </a:lnTo>
                  <a:lnTo>
                    <a:pt x="325" y="794"/>
                  </a:lnTo>
                  <a:lnTo>
                    <a:pt x="311" y="781"/>
                  </a:lnTo>
                  <a:lnTo>
                    <a:pt x="298" y="767"/>
                  </a:lnTo>
                  <a:lnTo>
                    <a:pt x="287" y="753"/>
                  </a:lnTo>
                  <a:lnTo>
                    <a:pt x="277" y="737"/>
                  </a:lnTo>
                  <a:lnTo>
                    <a:pt x="269" y="723"/>
                  </a:lnTo>
                  <a:lnTo>
                    <a:pt x="262" y="708"/>
                  </a:lnTo>
                  <a:lnTo>
                    <a:pt x="256" y="694"/>
                  </a:lnTo>
                  <a:lnTo>
                    <a:pt x="251" y="679"/>
                  </a:lnTo>
                  <a:lnTo>
                    <a:pt x="247" y="666"/>
                  </a:lnTo>
                  <a:lnTo>
                    <a:pt x="244" y="653"/>
                  </a:lnTo>
                  <a:lnTo>
                    <a:pt x="241" y="641"/>
                  </a:lnTo>
                  <a:lnTo>
                    <a:pt x="239" y="629"/>
                  </a:lnTo>
                  <a:lnTo>
                    <a:pt x="237" y="609"/>
                  </a:lnTo>
                  <a:lnTo>
                    <a:pt x="235" y="594"/>
                  </a:lnTo>
                  <a:lnTo>
                    <a:pt x="234" y="587"/>
                  </a:lnTo>
                  <a:lnTo>
                    <a:pt x="234" y="580"/>
                  </a:lnTo>
                  <a:lnTo>
                    <a:pt x="233" y="572"/>
                  </a:lnTo>
                  <a:lnTo>
                    <a:pt x="233" y="565"/>
                  </a:lnTo>
                  <a:lnTo>
                    <a:pt x="232" y="559"/>
                  </a:lnTo>
                  <a:lnTo>
                    <a:pt x="232" y="552"/>
                  </a:lnTo>
                  <a:lnTo>
                    <a:pt x="231" y="546"/>
                  </a:lnTo>
                  <a:lnTo>
                    <a:pt x="231" y="540"/>
                  </a:lnTo>
                  <a:lnTo>
                    <a:pt x="873" y="537"/>
                  </a:lnTo>
                  <a:close/>
                  <a:moveTo>
                    <a:pt x="225" y="397"/>
                  </a:moveTo>
                  <a:lnTo>
                    <a:pt x="227" y="380"/>
                  </a:lnTo>
                  <a:lnTo>
                    <a:pt x="230" y="365"/>
                  </a:lnTo>
                  <a:lnTo>
                    <a:pt x="232" y="353"/>
                  </a:lnTo>
                  <a:lnTo>
                    <a:pt x="234" y="342"/>
                  </a:lnTo>
                  <a:lnTo>
                    <a:pt x="236" y="332"/>
                  </a:lnTo>
                  <a:lnTo>
                    <a:pt x="239" y="323"/>
                  </a:lnTo>
                  <a:lnTo>
                    <a:pt x="242" y="315"/>
                  </a:lnTo>
                  <a:lnTo>
                    <a:pt x="246" y="306"/>
                  </a:lnTo>
                  <a:lnTo>
                    <a:pt x="252" y="290"/>
                  </a:lnTo>
                  <a:lnTo>
                    <a:pt x="258" y="277"/>
                  </a:lnTo>
                  <a:lnTo>
                    <a:pt x="265" y="265"/>
                  </a:lnTo>
                  <a:lnTo>
                    <a:pt x="273" y="253"/>
                  </a:lnTo>
                  <a:lnTo>
                    <a:pt x="281" y="243"/>
                  </a:lnTo>
                  <a:lnTo>
                    <a:pt x="289" y="232"/>
                  </a:lnTo>
                  <a:lnTo>
                    <a:pt x="297" y="223"/>
                  </a:lnTo>
                  <a:lnTo>
                    <a:pt x="305" y="215"/>
                  </a:lnTo>
                  <a:lnTo>
                    <a:pt x="321" y="201"/>
                  </a:lnTo>
                  <a:lnTo>
                    <a:pt x="338" y="190"/>
                  </a:lnTo>
                  <a:lnTo>
                    <a:pt x="352" y="180"/>
                  </a:lnTo>
                  <a:lnTo>
                    <a:pt x="364" y="174"/>
                  </a:lnTo>
                  <a:lnTo>
                    <a:pt x="369" y="171"/>
                  </a:lnTo>
                  <a:lnTo>
                    <a:pt x="376" y="168"/>
                  </a:lnTo>
                  <a:lnTo>
                    <a:pt x="385" y="165"/>
                  </a:lnTo>
                  <a:lnTo>
                    <a:pt x="394" y="162"/>
                  </a:lnTo>
                  <a:lnTo>
                    <a:pt x="404" y="160"/>
                  </a:lnTo>
                  <a:lnTo>
                    <a:pt x="416" y="157"/>
                  </a:lnTo>
                  <a:lnTo>
                    <a:pt x="428" y="156"/>
                  </a:lnTo>
                  <a:lnTo>
                    <a:pt x="442" y="155"/>
                  </a:lnTo>
                  <a:lnTo>
                    <a:pt x="451" y="155"/>
                  </a:lnTo>
                  <a:lnTo>
                    <a:pt x="462" y="156"/>
                  </a:lnTo>
                  <a:lnTo>
                    <a:pt x="474" y="158"/>
                  </a:lnTo>
                  <a:lnTo>
                    <a:pt x="489" y="162"/>
                  </a:lnTo>
                  <a:lnTo>
                    <a:pt x="504" y="167"/>
                  </a:lnTo>
                  <a:lnTo>
                    <a:pt x="520" y="174"/>
                  </a:lnTo>
                  <a:lnTo>
                    <a:pt x="538" y="185"/>
                  </a:lnTo>
                  <a:lnTo>
                    <a:pt x="556" y="197"/>
                  </a:lnTo>
                  <a:lnTo>
                    <a:pt x="568" y="207"/>
                  </a:lnTo>
                  <a:lnTo>
                    <a:pt x="580" y="217"/>
                  </a:lnTo>
                  <a:lnTo>
                    <a:pt x="590" y="227"/>
                  </a:lnTo>
                  <a:lnTo>
                    <a:pt x="599" y="238"/>
                  </a:lnTo>
                  <a:lnTo>
                    <a:pt x="607" y="250"/>
                  </a:lnTo>
                  <a:lnTo>
                    <a:pt x="614" y="261"/>
                  </a:lnTo>
                  <a:lnTo>
                    <a:pt x="621" y="273"/>
                  </a:lnTo>
                  <a:lnTo>
                    <a:pt x="626" y="285"/>
                  </a:lnTo>
                  <a:lnTo>
                    <a:pt x="631" y="299"/>
                  </a:lnTo>
                  <a:lnTo>
                    <a:pt x="635" y="311"/>
                  </a:lnTo>
                  <a:lnTo>
                    <a:pt x="640" y="324"/>
                  </a:lnTo>
                  <a:lnTo>
                    <a:pt x="643" y="338"/>
                  </a:lnTo>
                  <a:lnTo>
                    <a:pt x="649" y="367"/>
                  </a:lnTo>
                  <a:lnTo>
                    <a:pt x="654" y="397"/>
                  </a:lnTo>
                  <a:lnTo>
                    <a:pt x="225" y="397"/>
                  </a:lnTo>
                  <a:close/>
                </a:path>
              </a:pathLst>
            </a:custGeom>
            <a:solidFill>
              <a:srgbClr val="5E737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276" u="sng">
                <a:solidFill>
                  <a:srgbClr val="000000"/>
                </a:solidFill>
                <a:latin typeface="Arial" charset="0"/>
                <a:cs typeface="Arial"/>
              </a:endParaRPr>
            </a:p>
          </p:txBody>
        </p:sp>
        <p:sp>
          <p:nvSpPr>
            <p:cNvPr id="1051" name="Rectangle 75"/>
            <p:cNvSpPr>
              <a:spLocks noChangeArrowheads="1"/>
            </p:cNvSpPr>
            <p:nvPr userDrawn="1"/>
          </p:nvSpPr>
          <p:spPr bwMode="auto">
            <a:xfrm>
              <a:off x="5688" y="345"/>
              <a:ext cx="12" cy="66"/>
            </a:xfrm>
            <a:prstGeom prst="rect">
              <a:avLst/>
            </a:prstGeom>
            <a:solidFill>
              <a:srgbClr val="5E737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700" u="sng">
                  <a:solidFill>
                    <a:schemeClr val="tx1"/>
                  </a:solidFill>
                  <a:latin typeface="Arial" charset="0"/>
                  <a:cs typeface="Arial" charset="0"/>
                </a:defRPr>
              </a:lvl1pPr>
              <a:lvl2pPr marL="742950" indent="-285750" eaLnBrk="0" hangingPunct="0">
                <a:defRPr sz="1700" u="sng">
                  <a:solidFill>
                    <a:schemeClr val="tx1"/>
                  </a:solidFill>
                  <a:latin typeface="Arial" charset="0"/>
                  <a:cs typeface="Arial" charset="0"/>
                </a:defRPr>
              </a:lvl2pPr>
              <a:lvl3pPr marL="1143000" indent="-228600" eaLnBrk="0" hangingPunct="0">
                <a:defRPr sz="1700" u="sng">
                  <a:solidFill>
                    <a:schemeClr val="tx1"/>
                  </a:solidFill>
                  <a:latin typeface="Arial" charset="0"/>
                  <a:cs typeface="Arial" charset="0"/>
                </a:defRPr>
              </a:lvl3pPr>
              <a:lvl4pPr marL="1600200" indent="-228600" eaLnBrk="0" hangingPunct="0">
                <a:defRPr sz="1700" u="sng">
                  <a:solidFill>
                    <a:schemeClr val="tx1"/>
                  </a:solidFill>
                  <a:latin typeface="Arial" charset="0"/>
                  <a:cs typeface="Arial" charset="0"/>
                </a:defRPr>
              </a:lvl4pPr>
              <a:lvl5pPr marL="2057400" indent="-228600" eaLnBrk="0" hangingPunct="0">
                <a:defRPr sz="1700" u="sng">
                  <a:solidFill>
                    <a:schemeClr val="tx1"/>
                  </a:solidFill>
                  <a:latin typeface="Arial" charset="0"/>
                  <a:cs typeface="Arial" charset="0"/>
                </a:defRPr>
              </a:lvl5pPr>
              <a:lvl6pPr marL="2514600" indent="-228600" eaLnBrk="0" fontAlgn="base" hangingPunct="0">
                <a:spcBef>
                  <a:spcPct val="0"/>
                </a:spcBef>
                <a:spcAft>
                  <a:spcPct val="0"/>
                </a:spcAft>
                <a:defRPr sz="1700" u="sng">
                  <a:solidFill>
                    <a:schemeClr val="tx1"/>
                  </a:solidFill>
                  <a:latin typeface="Arial" charset="0"/>
                  <a:cs typeface="Arial" charset="0"/>
                </a:defRPr>
              </a:lvl6pPr>
              <a:lvl7pPr marL="2971800" indent="-228600" eaLnBrk="0" fontAlgn="base" hangingPunct="0">
                <a:spcBef>
                  <a:spcPct val="0"/>
                </a:spcBef>
                <a:spcAft>
                  <a:spcPct val="0"/>
                </a:spcAft>
                <a:defRPr sz="1700" u="sng">
                  <a:solidFill>
                    <a:schemeClr val="tx1"/>
                  </a:solidFill>
                  <a:latin typeface="Arial" charset="0"/>
                  <a:cs typeface="Arial" charset="0"/>
                </a:defRPr>
              </a:lvl7pPr>
              <a:lvl8pPr marL="3429000" indent="-228600" eaLnBrk="0" fontAlgn="base" hangingPunct="0">
                <a:spcBef>
                  <a:spcPct val="0"/>
                </a:spcBef>
                <a:spcAft>
                  <a:spcPct val="0"/>
                </a:spcAft>
                <a:defRPr sz="1700" u="sng">
                  <a:solidFill>
                    <a:schemeClr val="tx1"/>
                  </a:solidFill>
                  <a:latin typeface="Arial" charset="0"/>
                  <a:cs typeface="Arial" charset="0"/>
                </a:defRPr>
              </a:lvl8pPr>
              <a:lvl9pPr marL="3886200" indent="-228600" eaLnBrk="0" fontAlgn="base" hangingPunct="0">
                <a:spcBef>
                  <a:spcPct val="0"/>
                </a:spcBef>
                <a:spcAft>
                  <a:spcPct val="0"/>
                </a:spcAft>
                <a:defRPr sz="1700" u="sng">
                  <a:solidFill>
                    <a:schemeClr val="tx1"/>
                  </a:solidFill>
                  <a:latin typeface="Arial" charset="0"/>
                  <a:cs typeface="Arial" charset="0"/>
                </a:defRPr>
              </a:lvl9pPr>
            </a:lstStyle>
            <a:p>
              <a:pPr eaLnBrk="1" hangingPunct="1">
                <a:spcBef>
                  <a:spcPct val="20000"/>
                </a:spcBef>
                <a:buClr>
                  <a:srgbClr val="0084C2"/>
                </a:buClr>
                <a:buSzPct val="130000"/>
                <a:buFont typeface="Times New Roman" pitchFamily="18" charset="0"/>
                <a:buNone/>
                <a:defRPr/>
              </a:pPr>
              <a:endParaRPr lang="en-US" altLang="en-US" sz="1276">
                <a:solidFill>
                  <a:srgbClr val="000000"/>
                </a:solidFill>
              </a:endParaRPr>
            </a:p>
          </p:txBody>
        </p:sp>
        <p:sp>
          <p:nvSpPr>
            <p:cNvPr id="1052" name="Rectangle 76"/>
            <p:cNvSpPr>
              <a:spLocks noChangeArrowheads="1"/>
            </p:cNvSpPr>
            <p:nvPr userDrawn="1"/>
          </p:nvSpPr>
          <p:spPr bwMode="auto">
            <a:xfrm>
              <a:off x="5712" y="345"/>
              <a:ext cx="11" cy="66"/>
            </a:xfrm>
            <a:prstGeom prst="rect">
              <a:avLst/>
            </a:prstGeom>
            <a:solidFill>
              <a:srgbClr val="5E737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700" u="sng">
                  <a:solidFill>
                    <a:schemeClr val="tx1"/>
                  </a:solidFill>
                  <a:latin typeface="Arial" charset="0"/>
                  <a:cs typeface="Arial" charset="0"/>
                </a:defRPr>
              </a:lvl1pPr>
              <a:lvl2pPr marL="742950" indent="-285750" eaLnBrk="0" hangingPunct="0">
                <a:defRPr sz="1700" u="sng">
                  <a:solidFill>
                    <a:schemeClr val="tx1"/>
                  </a:solidFill>
                  <a:latin typeface="Arial" charset="0"/>
                  <a:cs typeface="Arial" charset="0"/>
                </a:defRPr>
              </a:lvl2pPr>
              <a:lvl3pPr marL="1143000" indent="-228600" eaLnBrk="0" hangingPunct="0">
                <a:defRPr sz="1700" u="sng">
                  <a:solidFill>
                    <a:schemeClr val="tx1"/>
                  </a:solidFill>
                  <a:latin typeface="Arial" charset="0"/>
                  <a:cs typeface="Arial" charset="0"/>
                </a:defRPr>
              </a:lvl3pPr>
              <a:lvl4pPr marL="1600200" indent="-228600" eaLnBrk="0" hangingPunct="0">
                <a:defRPr sz="1700" u="sng">
                  <a:solidFill>
                    <a:schemeClr val="tx1"/>
                  </a:solidFill>
                  <a:latin typeface="Arial" charset="0"/>
                  <a:cs typeface="Arial" charset="0"/>
                </a:defRPr>
              </a:lvl4pPr>
              <a:lvl5pPr marL="2057400" indent="-228600" eaLnBrk="0" hangingPunct="0">
                <a:defRPr sz="1700" u="sng">
                  <a:solidFill>
                    <a:schemeClr val="tx1"/>
                  </a:solidFill>
                  <a:latin typeface="Arial" charset="0"/>
                  <a:cs typeface="Arial" charset="0"/>
                </a:defRPr>
              </a:lvl5pPr>
              <a:lvl6pPr marL="2514600" indent="-228600" eaLnBrk="0" fontAlgn="base" hangingPunct="0">
                <a:spcBef>
                  <a:spcPct val="0"/>
                </a:spcBef>
                <a:spcAft>
                  <a:spcPct val="0"/>
                </a:spcAft>
                <a:defRPr sz="1700" u="sng">
                  <a:solidFill>
                    <a:schemeClr val="tx1"/>
                  </a:solidFill>
                  <a:latin typeface="Arial" charset="0"/>
                  <a:cs typeface="Arial" charset="0"/>
                </a:defRPr>
              </a:lvl6pPr>
              <a:lvl7pPr marL="2971800" indent="-228600" eaLnBrk="0" fontAlgn="base" hangingPunct="0">
                <a:spcBef>
                  <a:spcPct val="0"/>
                </a:spcBef>
                <a:spcAft>
                  <a:spcPct val="0"/>
                </a:spcAft>
                <a:defRPr sz="1700" u="sng">
                  <a:solidFill>
                    <a:schemeClr val="tx1"/>
                  </a:solidFill>
                  <a:latin typeface="Arial" charset="0"/>
                  <a:cs typeface="Arial" charset="0"/>
                </a:defRPr>
              </a:lvl7pPr>
              <a:lvl8pPr marL="3429000" indent="-228600" eaLnBrk="0" fontAlgn="base" hangingPunct="0">
                <a:spcBef>
                  <a:spcPct val="0"/>
                </a:spcBef>
                <a:spcAft>
                  <a:spcPct val="0"/>
                </a:spcAft>
                <a:defRPr sz="1700" u="sng">
                  <a:solidFill>
                    <a:schemeClr val="tx1"/>
                  </a:solidFill>
                  <a:latin typeface="Arial" charset="0"/>
                  <a:cs typeface="Arial" charset="0"/>
                </a:defRPr>
              </a:lvl8pPr>
              <a:lvl9pPr marL="3886200" indent="-228600" eaLnBrk="0" fontAlgn="base" hangingPunct="0">
                <a:spcBef>
                  <a:spcPct val="0"/>
                </a:spcBef>
                <a:spcAft>
                  <a:spcPct val="0"/>
                </a:spcAft>
                <a:defRPr sz="1700" u="sng">
                  <a:solidFill>
                    <a:schemeClr val="tx1"/>
                  </a:solidFill>
                  <a:latin typeface="Arial" charset="0"/>
                  <a:cs typeface="Arial" charset="0"/>
                </a:defRPr>
              </a:lvl9pPr>
            </a:lstStyle>
            <a:p>
              <a:pPr eaLnBrk="1" hangingPunct="1">
                <a:spcBef>
                  <a:spcPct val="20000"/>
                </a:spcBef>
                <a:buClr>
                  <a:srgbClr val="0084C2"/>
                </a:buClr>
                <a:buSzPct val="130000"/>
                <a:buFont typeface="Times New Roman" pitchFamily="18" charset="0"/>
                <a:buNone/>
                <a:defRPr/>
              </a:pPr>
              <a:endParaRPr lang="en-US" altLang="en-US" sz="1276">
                <a:solidFill>
                  <a:srgbClr val="000000"/>
                </a:solidFill>
              </a:endParaRPr>
            </a:p>
          </p:txBody>
        </p:sp>
        <p:sp>
          <p:nvSpPr>
            <p:cNvPr id="1053" name="Freeform 77"/>
            <p:cNvSpPr>
              <a:spLocks noEditPoints="1"/>
            </p:cNvSpPr>
            <p:nvPr userDrawn="1"/>
          </p:nvSpPr>
          <p:spPr bwMode="auto">
            <a:xfrm>
              <a:off x="5734" y="346"/>
              <a:ext cx="12" cy="65"/>
            </a:xfrm>
            <a:custGeom>
              <a:avLst/>
              <a:gdLst>
                <a:gd name="T0" fmla="*/ 0 w 223"/>
                <a:gd name="T1" fmla="*/ 0 h 1313"/>
                <a:gd name="T2" fmla="*/ 0 w 223"/>
                <a:gd name="T3" fmla="*/ 0 h 1313"/>
                <a:gd name="T4" fmla="*/ 0 w 223"/>
                <a:gd name="T5" fmla="*/ 0 h 1313"/>
                <a:gd name="T6" fmla="*/ 0 w 223"/>
                <a:gd name="T7" fmla="*/ 0 h 1313"/>
                <a:gd name="T8" fmla="*/ 0 w 223"/>
                <a:gd name="T9" fmla="*/ 0 h 1313"/>
                <a:gd name="T10" fmla="*/ 0 w 223"/>
                <a:gd name="T11" fmla="*/ 0 h 1313"/>
                <a:gd name="T12" fmla="*/ 0 w 223"/>
                <a:gd name="T13" fmla="*/ 0 h 1313"/>
                <a:gd name="T14" fmla="*/ 0 w 223"/>
                <a:gd name="T15" fmla="*/ 0 h 1313"/>
                <a:gd name="T16" fmla="*/ 0 w 223"/>
                <a:gd name="T17" fmla="*/ 0 h 1313"/>
                <a:gd name="T18" fmla="*/ 0 w 223"/>
                <a:gd name="T19" fmla="*/ 0 h 131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3" h="1313">
                  <a:moveTo>
                    <a:pt x="0" y="339"/>
                  </a:moveTo>
                  <a:lnTo>
                    <a:pt x="0" y="1313"/>
                  </a:lnTo>
                  <a:lnTo>
                    <a:pt x="223" y="1313"/>
                  </a:lnTo>
                  <a:lnTo>
                    <a:pt x="223" y="339"/>
                  </a:lnTo>
                  <a:lnTo>
                    <a:pt x="0" y="339"/>
                  </a:lnTo>
                  <a:close/>
                  <a:moveTo>
                    <a:pt x="6" y="0"/>
                  </a:moveTo>
                  <a:lnTo>
                    <a:pt x="6" y="232"/>
                  </a:lnTo>
                  <a:lnTo>
                    <a:pt x="221" y="232"/>
                  </a:lnTo>
                  <a:lnTo>
                    <a:pt x="221" y="0"/>
                  </a:lnTo>
                  <a:lnTo>
                    <a:pt x="6" y="0"/>
                  </a:lnTo>
                  <a:close/>
                </a:path>
              </a:pathLst>
            </a:custGeom>
            <a:solidFill>
              <a:srgbClr val="5E737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276" u="sng">
                <a:solidFill>
                  <a:srgbClr val="000000"/>
                </a:solidFill>
                <a:latin typeface="Arial" charset="0"/>
                <a:cs typeface="Arial"/>
              </a:endParaRPr>
            </a:p>
          </p:txBody>
        </p:sp>
        <p:sp>
          <p:nvSpPr>
            <p:cNvPr id="1054" name="Freeform 78"/>
            <p:cNvSpPr>
              <a:spLocks noEditPoints="1"/>
            </p:cNvSpPr>
            <p:nvPr userDrawn="1"/>
          </p:nvSpPr>
          <p:spPr bwMode="auto">
            <a:xfrm>
              <a:off x="5754" y="353"/>
              <a:ext cx="49" cy="75"/>
            </a:xfrm>
            <a:custGeom>
              <a:avLst/>
              <a:gdLst>
                <a:gd name="T0" fmla="*/ 0 w 977"/>
                <a:gd name="T1" fmla="*/ 0 h 1500"/>
                <a:gd name="T2" fmla="*/ 0 w 977"/>
                <a:gd name="T3" fmla="*/ 0 h 1500"/>
                <a:gd name="T4" fmla="*/ 0 w 977"/>
                <a:gd name="T5" fmla="*/ 0 h 1500"/>
                <a:gd name="T6" fmla="*/ 0 w 977"/>
                <a:gd name="T7" fmla="*/ 0 h 1500"/>
                <a:gd name="T8" fmla="*/ 0 w 977"/>
                <a:gd name="T9" fmla="*/ 0 h 1500"/>
                <a:gd name="T10" fmla="*/ 0 w 977"/>
                <a:gd name="T11" fmla="*/ 0 h 1500"/>
                <a:gd name="T12" fmla="*/ 0 w 977"/>
                <a:gd name="T13" fmla="*/ 0 h 1500"/>
                <a:gd name="T14" fmla="*/ 0 w 977"/>
                <a:gd name="T15" fmla="*/ 0 h 1500"/>
                <a:gd name="T16" fmla="*/ 0 w 977"/>
                <a:gd name="T17" fmla="*/ 0 h 1500"/>
                <a:gd name="T18" fmla="*/ 0 w 977"/>
                <a:gd name="T19" fmla="*/ 0 h 1500"/>
                <a:gd name="T20" fmla="*/ 0 w 977"/>
                <a:gd name="T21" fmla="*/ 0 h 1500"/>
                <a:gd name="T22" fmla="*/ 0 w 977"/>
                <a:gd name="T23" fmla="*/ 0 h 1500"/>
                <a:gd name="T24" fmla="*/ 0 w 977"/>
                <a:gd name="T25" fmla="*/ 0 h 1500"/>
                <a:gd name="T26" fmla="*/ 0 w 977"/>
                <a:gd name="T27" fmla="*/ 0 h 1500"/>
                <a:gd name="T28" fmla="*/ 0 w 977"/>
                <a:gd name="T29" fmla="*/ 0 h 1500"/>
                <a:gd name="T30" fmla="*/ 0 w 977"/>
                <a:gd name="T31" fmla="*/ 0 h 1500"/>
                <a:gd name="T32" fmla="*/ 0 w 977"/>
                <a:gd name="T33" fmla="*/ 0 h 1500"/>
                <a:gd name="T34" fmla="*/ 0 w 977"/>
                <a:gd name="T35" fmla="*/ 0 h 1500"/>
                <a:gd name="T36" fmla="*/ 0 w 977"/>
                <a:gd name="T37" fmla="*/ 0 h 1500"/>
                <a:gd name="T38" fmla="*/ 0 w 977"/>
                <a:gd name="T39" fmla="*/ 0 h 1500"/>
                <a:gd name="T40" fmla="*/ 0 w 977"/>
                <a:gd name="T41" fmla="*/ 0 h 1500"/>
                <a:gd name="T42" fmla="*/ 0 w 977"/>
                <a:gd name="T43" fmla="*/ 0 h 1500"/>
                <a:gd name="T44" fmla="*/ 0 w 977"/>
                <a:gd name="T45" fmla="*/ 0 h 1500"/>
                <a:gd name="T46" fmla="*/ 0 w 977"/>
                <a:gd name="T47" fmla="*/ 0 h 1500"/>
                <a:gd name="T48" fmla="*/ 0 w 977"/>
                <a:gd name="T49" fmla="*/ 0 h 1500"/>
                <a:gd name="T50" fmla="*/ 0 w 977"/>
                <a:gd name="T51" fmla="*/ 0 h 1500"/>
                <a:gd name="T52" fmla="*/ 0 w 977"/>
                <a:gd name="T53" fmla="*/ 0 h 1500"/>
                <a:gd name="T54" fmla="*/ 0 w 977"/>
                <a:gd name="T55" fmla="*/ 0 h 1500"/>
                <a:gd name="T56" fmla="*/ 0 w 977"/>
                <a:gd name="T57" fmla="*/ 0 h 1500"/>
                <a:gd name="T58" fmla="*/ 0 w 977"/>
                <a:gd name="T59" fmla="*/ 0 h 1500"/>
                <a:gd name="T60" fmla="*/ 0 w 977"/>
                <a:gd name="T61" fmla="*/ 0 h 1500"/>
                <a:gd name="T62" fmla="*/ 0 w 977"/>
                <a:gd name="T63" fmla="*/ 0 h 1500"/>
                <a:gd name="T64" fmla="*/ 0 w 977"/>
                <a:gd name="T65" fmla="*/ 0 h 1500"/>
                <a:gd name="T66" fmla="*/ 0 w 977"/>
                <a:gd name="T67" fmla="*/ 0 h 1500"/>
                <a:gd name="T68" fmla="*/ 0 w 977"/>
                <a:gd name="T69" fmla="*/ 0 h 1500"/>
                <a:gd name="T70" fmla="*/ 0 w 977"/>
                <a:gd name="T71" fmla="*/ 0 h 1500"/>
                <a:gd name="T72" fmla="*/ 0 w 977"/>
                <a:gd name="T73" fmla="*/ 0 h 1500"/>
                <a:gd name="T74" fmla="*/ 0 w 977"/>
                <a:gd name="T75" fmla="*/ 0 h 1500"/>
                <a:gd name="T76" fmla="*/ 0 w 977"/>
                <a:gd name="T77" fmla="*/ 0 h 1500"/>
                <a:gd name="T78" fmla="*/ 0 w 977"/>
                <a:gd name="T79" fmla="*/ 0 h 1500"/>
                <a:gd name="T80" fmla="*/ 0 w 977"/>
                <a:gd name="T81" fmla="*/ 0 h 1500"/>
                <a:gd name="T82" fmla="*/ 0 w 977"/>
                <a:gd name="T83" fmla="*/ 0 h 1500"/>
                <a:gd name="T84" fmla="*/ 0 w 977"/>
                <a:gd name="T85" fmla="*/ 0 h 1500"/>
                <a:gd name="T86" fmla="*/ 0 w 977"/>
                <a:gd name="T87" fmla="*/ 0 h 1500"/>
                <a:gd name="T88" fmla="*/ 0 w 977"/>
                <a:gd name="T89" fmla="*/ 0 h 1500"/>
                <a:gd name="T90" fmla="*/ 0 w 977"/>
                <a:gd name="T91" fmla="*/ 0 h 1500"/>
                <a:gd name="T92" fmla="*/ 0 w 977"/>
                <a:gd name="T93" fmla="*/ 0 h 1500"/>
                <a:gd name="T94" fmla="*/ 0 w 977"/>
                <a:gd name="T95" fmla="*/ 0 h 1500"/>
                <a:gd name="T96" fmla="*/ 0 w 977"/>
                <a:gd name="T97" fmla="*/ 0 h 1500"/>
                <a:gd name="T98" fmla="*/ 0 w 977"/>
                <a:gd name="T99" fmla="*/ 0 h 1500"/>
                <a:gd name="T100" fmla="*/ 0 w 977"/>
                <a:gd name="T101" fmla="*/ 0 h 1500"/>
                <a:gd name="T102" fmla="*/ 0 w 977"/>
                <a:gd name="T103" fmla="*/ 0 h 1500"/>
                <a:gd name="T104" fmla="*/ 0 w 977"/>
                <a:gd name="T105" fmla="*/ 0 h 1500"/>
                <a:gd name="T106" fmla="*/ 0 w 977"/>
                <a:gd name="T107" fmla="*/ 0 h 1500"/>
                <a:gd name="T108" fmla="*/ 0 w 977"/>
                <a:gd name="T109" fmla="*/ 0 h 1500"/>
                <a:gd name="T110" fmla="*/ 0 w 977"/>
                <a:gd name="T111" fmla="*/ 0 h 1500"/>
                <a:gd name="T112" fmla="*/ 0 w 977"/>
                <a:gd name="T113" fmla="*/ 0 h 1500"/>
                <a:gd name="T114" fmla="*/ 0 w 977"/>
                <a:gd name="T115" fmla="*/ 0 h 1500"/>
                <a:gd name="T116" fmla="*/ 0 w 977"/>
                <a:gd name="T117" fmla="*/ 0 h 1500"/>
                <a:gd name="T118" fmla="*/ 0 w 977"/>
                <a:gd name="T119" fmla="*/ 0 h 1500"/>
                <a:gd name="T120" fmla="*/ 0 w 977"/>
                <a:gd name="T121" fmla="*/ 0 h 1500"/>
                <a:gd name="T122" fmla="*/ 0 w 977"/>
                <a:gd name="T123" fmla="*/ 0 h 150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977" h="1500">
                  <a:moveTo>
                    <a:pt x="977" y="1"/>
                  </a:moveTo>
                  <a:lnTo>
                    <a:pt x="933" y="0"/>
                  </a:lnTo>
                  <a:lnTo>
                    <a:pt x="894" y="1"/>
                  </a:lnTo>
                  <a:lnTo>
                    <a:pt x="861" y="3"/>
                  </a:lnTo>
                  <a:lnTo>
                    <a:pt x="834" y="7"/>
                  </a:lnTo>
                  <a:lnTo>
                    <a:pt x="821" y="9"/>
                  </a:lnTo>
                  <a:lnTo>
                    <a:pt x="809" y="12"/>
                  </a:lnTo>
                  <a:lnTo>
                    <a:pt x="798" y="16"/>
                  </a:lnTo>
                  <a:lnTo>
                    <a:pt x="788" y="21"/>
                  </a:lnTo>
                  <a:lnTo>
                    <a:pt x="778" y="25"/>
                  </a:lnTo>
                  <a:lnTo>
                    <a:pt x="769" y="30"/>
                  </a:lnTo>
                  <a:lnTo>
                    <a:pt x="759" y="36"/>
                  </a:lnTo>
                  <a:lnTo>
                    <a:pt x="750" y="42"/>
                  </a:lnTo>
                  <a:lnTo>
                    <a:pt x="740" y="50"/>
                  </a:lnTo>
                  <a:lnTo>
                    <a:pt x="732" y="58"/>
                  </a:lnTo>
                  <a:lnTo>
                    <a:pt x="724" y="66"/>
                  </a:lnTo>
                  <a:lnTo>
                    <a:pt x="717" y="75"/>
                  </a:lnTo>
                  <a:lnTo>
                    <a:pt x="710" y="83"/>
                  </a:lnTo>
                  <a:lnTo>
                    <a:pt x="704" y="92"/>
                  </a:lnTo>
                  <a:lnTo>
                    <a:pt x="699" y="101"/>
                  </a:lnTo>
                  <a:lnTo>
                    <a:pt x="694" y="109"/>
                  </a:lnTo>
                  <a:lnTo>
                    <a:pt x="685" y="128"/>
                  </a:lnTo>
                  <a:lnTo>
                    <a:pt x="678" y="149"/>
                  </a:lnTo>
                  <a:lnTo>
                    <a:pt x="671" y="170"/>
                  </a:lnTo>
                  <a:lnTo>
                    <a:pt x="664" y="193"/>
                  </a:lnTo>
                  <a:lnTo>
                    <a:pt x="638" y="187"/>
                  </a:lnTo>
                  <a:lnTo>
                    <a:pt x="616" y="182"/>
                  </a:lnTo>
                  <a:lnTo>
                    <a:pt x="593" y="178"/>
                  </a:lnTo>
                  <a:lnTo>
                    <a:pt x="572" y="174"/>
                  </a:lnTo>
                  <a:lnTo>
                    <a:pt x="550" y="171"/>
                  </a:lnTo>
                  <a:lnTo>
                    <a:pt x="528" y="169"/>
                  </a:lnTo>
                  <a:lnTo>
                    <a:pt x="503" y="168"/>
                  </a:lnTo>
                  <a:lnTo>
                    <a:pt x="478" y="168"/>
                  </a:lnTo>
                  <a:lnTo>
                    <a:pt x="438" y="168"/>
                  </a:lnTo>
                  <a:lnTo>
                    <a:pt x="399" y="171"/>
                  </a:lnTo>
                  <a:lnTo>
                    <a:pt x="380" y="173"/>
                  </a:lnTo>
                  <a:lnTo>
                    <a:pt x="361" y="175"/>
                  </a:lnTo>
                  <a:lnTo>
                    <a:pt x="341" y="179"/>
                  </a:lnTo>
                  <a:lnTo>
                    <a:pt x="322" y="182"/>
                  </a:lnTo>
                  <a:lnTo>
                    <a:pt x="302" y="188"/>
                  </a:lnTo>
                  <a:lnTo>
                    <a:pt x="284" y="193"/>
                  </a:lnTo>
                  <a:lnTo>
                    <a:pt x="266" y="199"/>
                  </a:lnTo>
                  <a:lnTo>
                    <a:pt x="247" y="206"/>
                  </a:lnTo>
                  <a:lnTo>
                    <a:pt x="230" y="214"/>
                  </a:lnTo>
                  <a:lnTo>
                    <a:pt x="214" y="222"/>
                  </a:lnTo>
                  <a:lnTo>
                    <a:pt x="196" y="232"/>
                  </a:lnTo>
                  <a:lnTo>
                    <a:pt x="181" y="243"/>
                  </a:lnTo>
                  <a:lnTo>
                    <a:pt x="168" y="253"/>
                  </a:lnTo>
                  <a:lnTo>
                    <a:pt x="157" y="264"/>
                  </a:lnTo>
                  <a:lnTo>
                    <a:pt x="145" y="275"/>
                  </a:lnTo>
                  <a:lnTo>
                    <a:pt x="134" y="287"/>
                  </a:lnTo>
                  <a:lnTo>
                    <a:pt x="125" y="300"/>
                  </a:lnTo>
                  <a:lnTo>
                    <a:pt x="116" y="312"/>
                  </a:lnTo>
                  <a:lnTo>
                    <a:pt x="108" y="325"/>
                  </a:lnTo>
                  <a:lnTo>
                    <a:pt x="100" y="339"/>
                  </a:lnTo>
                  <a:lnTo>
                    <a:pt x="94" y="352"/>
                  </a:lnTo>
                  <a:lnTo>
                    <a:pt x="88" y="368"/>
                  </a:lnTo>
                  <a:lnTo>
                    <a:pt x="83" y="382"/>
                  </a:lnTo>
                  <a:lnTo>
                    <a:pt x="79" y="397"/>
                  </a:lnTo>
                  <a:lnTo>
                    <a:pt x="76" y="413"/>
                  </a:lnTo>
                  <a:lnTo>
                    <a:pt x="74" y="428"/>
                  </a:lnTo>
                  <a:lnTo>
                    <a:pt x="73" y="444"/>
                  </a:lnTo>
                  <a:lnTo>
                    <a:pt x="72" y="460"/>
                  </a:lnTo>
                  <a:lnTo>
                    <a:pt x="72" y="473"/>
                  </a:lnTo>
                  <a:lnTo>
                    <a:pt x="73" y="485"/>
                  </a:lnTo>
                  <a:lnTo>
                    <a:pt x="75" y="497"/>
                  </a:lnTo>
                  <a:lnTo>
                    <a:pt x="76" y="508"/>
                  </a:lnTo>
                  <a:lnTo>
                    <a:pt x="81" y="530"/>
                  </a:lnTo>
                  <a:lnTo>
                    <a:pt x="88" y="550"/>
                  </a:lnTo>
                  <a:lnTo>
                    <a:pt x="95" y="568"/>
                  </a:lnTo>
                  <a:lnTo>
                    <a:pt x="105" y="585"/>
                  </a:lnTo>
                  <a:lnTo>
                    <a:pt x="115" y="601"/>
                  </a:lnTo>
                  <a:lnTo>
                    <a:pt x="125" y="615"/>
                  </a:lnTo>
                  <a:lnTo>
                    <a:pt x="136" y="628"/>
                  </a:lnTo>
                  <a:lnTo>
                    <a:pt x="147" y="640"/>
                  </a:lnTo>
                  <a:lnTo>
                    <a:pt x="159" y="651"/>
                  </a:lnTo>
                  <a:lnTo>
                    <a:pt x="170" y="660"/>
                  </a:lnTo>
                  <a:lnTo>
                    <a:pt x="189" y="675"/>
                  </a:lnTo>
                  <a:lnTo>
                    <a:pt x="206" y="687"/>
                  </a:lnTo>
                  <a:lnTo>
                    <a:pt x="186" y="699"/>
                  </a:lnTo>
                  <a:lnTo>
                    <a:pt x="167" y="711"/>
                  </a:lnTo>
                  <a:lnTo>
                    <a:pt x="148" y="724"/>
                  </a:lnTo>
                  <a:lnTo>
                    <a:pt x="130" y="737"/>
                  </a:lnTo>
                  <a:lnTo>
                    <a:pt x="114" y="752"/>
                  </a:lnTo>
                  <a:lnTo>
                    <a:pt x="98" y="767"/>
                  </a:lnTo>
                  <a:lnTo>
                    <a:pt x="91" y="776"/>
                  </a:lnTo>
                  <a:lnTo>
                    <a:pt x="84" y="784"/>
                  </a:lnTo>
                  <a:lnTo>
                    <a:pt x="78" y="793"/>
                  </a:lnTo>
                  <a:lnTo>
                    <a:pt x="72" y="803"/>
                  </a:lnTo>
                  <a:lnTo>
                    <a:pt x="69" y="808"/>
                  </a:lnTo>
                  <a:lnTo>
                    <a:pt x="66" y="815"/>
                  </a:lnTo>
                  <a:lnTo>
                    <a:pt x="62" y="823"/>
                  </a:lnTo>
                  <a:lnTo>
                    <a:pt x="58" y="832"/>
                  </a:lnTo>
                  <a:lnTo>
                    <a:pt x="55" y="842"/>
                  </a:lnTo>
                  <a:lnTo>
                    <a:pt x="53" y="853"/>
                  </a:lnTo>
                  <a:lnTo>
                    <a:pt x="51" y="867"/>
                  </a:lnTo>
                  <a:lnTo>
                    <a:pt x="49" y="880"/>
                  </a:lnTo>
                  <a:lnTo>
                    <a:pt x="51" y="893"/>
                  </a:lnTo>
                  <a:lnTo>
                    <a:pt x="52" y="905"/>
                  </a:lnTo>
                  <a:lnTo>
                    <a:pt x="54" y="918"/>
                  </a:lnTo>
                  <a:lnTo>
                    <a:pt x="57" y="929"/>
                  </a:lnTo>
                  <a:lnTo>
                    <a:pt x="60" y="939"/>
                  </a:lnTo>
                  <a:lnTo>
                    <a:pt x="65" y="950"/>
                  </a:lnTo>
                  <a:lnTo>
                    <a:pt x="70" y="960"/>
                  </a:lnTo>
                  <a:lnTo>
                    <a:pt x="75" y="970"/>
                  </a:lnTo>
                  <a:lnTo>
                    <a:pt x="87" y="989"/>
                  </a:lnTo>
                  <a:lnTo>
                    <a:pt x="102" y="1007"/>
                  </a:lnTo>
                  <a:lnTo>
                    <a:pt x="118" y="1026"/>
                  </a:lnTo>
                  <a:lnTo>
                    <a:pt x="134" y="1045"/>
                  </a:lnTo>
                  <a:lnTo>
                    <a:pt x="109" y="1061"/>
                  </a:lnTo>
                  <a:lnTo>
                    <a:pt x="87" y="1076"/>
                  </a:lnTo>
                  <a:lnTo>
                    <a:pt x="69" y="1091"/>
                  </a:lnTo>
                  <a:lnTo>
                    <a:pt x="55" y="1104"/>
                  </a:lnTo>
                  <a:lnTo>
                    <a:pt x="42" y="1117"/>
                  </a:lnTo>
                  <a:lnTo>
                    <a:pt x="32" y="1130"/>
                  </a:lnTo>
                  <a:lnTo>
                    <a:pt x="24" y="1145"/>
                  </a:lnTo>
                  <a:lnTo>
                    <a:pt x="16" y="1161"/>
                  </a:lnTo>
                  <a:lnTo>
                    <a:pt x="11" y="1174"/>
                  </a:lnTo>
                  <a:lnTo>
                    <a:pt x="6" y="1186"/>
                  </a:lnTo>
                  <a:lnTo>
                    <a:pt x="4" y="1198"/>
                  </a:lnTo>
                  <a:lnTo>
                    <a:pt x="2" y="1208"/>
                  </a:lnTo>
                  <a:lnTo>
                    <a:pt x="0" y="1218"/>
                  </a:lnTo>
                  <a:lnTo>
                    <a:pt x="0" y="1227"/>
                  </a:lnTo>
                  <a:lnTo>
                    <a:pt x="0" y="1234"/>
                  </a:lnTo>
                  <a:lnTo>
                    <a:pt x="0" y="1241"/>
                  </a:lnTo>
                  <a:lnTo>
                    <a:pt x="1" y="1263"/>
                  </a:lnTo>
                  <a:lnTo>
                    <a:pt x="3" y="1283"/>
                  </a:lnTo>
                  <a:lnTo>
                    <a:pt x="8" y="1302"/>
                  </a:lnTo>
                  <a:lnTo>
                    <a:pt x="14" y="1320"/>
                  </a:lnTo>
                  <a:lnTo>
                    <a:pt x="21" y="1336"/>
                  </a:lnTo>
                  <a:lnTo>
                    <a:pt x="29" y="1351"/>
                  </a:lnTo>
                  <a:lnTo>
                    <a:pt x="38" y="1366"/>
                  </a:lnTo>
                  <a:lnTo>
                    <a:pt x="48" y="1378"/>
                  </a:lnTo>
                  <a:lnTo>
                    <a:pt x="58" y="1389"/>
                  </a:lnTo>
                  <a:lnTo>
                    <a:pt x="69" y="1399"/>
                  </a:lnTo>
                  <a:lnTo>
                    <a:pt x="79" y="1409"/>
                  </a:lnTo>
                  <a:lnTo>
                    <a:pt x="88" y="1417"/>
                  </a:lnTo>
                  <a:lnTo>
                    <a:pt x="107" y="1430"/>
                  </a:lnTo>
                  <a:lnTo>
                    <a:pt x="121" y="1438"/>
                  </a:lnTo>
                  <a:lnTo>
                    <a:pt x="134" y="1445"/>
                  </a:lnTo>
                  <a:lnTo>
                    <a:pt x="147" y="1451"/>
                  </a:lnTo>
                  <a:lnTo>
                    <a:pt x="160" y="1457"/>
                  </a:lnTo>
                  <a:lnTo>
                    <a:pt x="171" y="1461"/>
                  </a:lnTo>
                  <a:lnTo>
                    <a:pt x="181" y="1465"/>
                  </a:lnTo>
                  <a:lnTo>
                    <a:pt x="190" y="1467"/>
                  </a:lnTo>
                  <a:lnTo>
                    <a:pt x="198" y="1470"/>
                  </a:lnTo>
                  <a:lnTo>
                    <a:pt x="206" y="1471"/>
                  </a:lnTo>
                  <a:lnTo>
                    <a:pt x="225" y="1477"/>
                  </a:lnTo>
                  <a:lnTo>
                    <a:pt x="249" y="1481"/>
                  </a:lnTo>
                  <a:lnTo>
                    <a:pt x="278" y="1486"/>
                  </a:lnTo>
                  <a:lnTo>
                    <a:pt x="310" y="1490"/>
                  </a:lnTo>
                  <a:lnTo>
                    <a:pt x="345" y="1494"/>
                  </a:lnTo>
                  <a:lnTo>
                    <a:pt x="384" y="1497"/>
                  </a:lnTo>
                  <a:lnTo>
                    <a:pt x="426" y="1499"/>
                  </a:lnTo>
                  <a:lnTo>
                    <a:pt x="470" y="1500"/>
                  </a:lnTo>
                  <a:lnTo>
                    <a:pt x="503" y="1500"/>
                  </a:lnTo>
                  <a:lnTo>
                    <a:pt x="535" y="1499"/>
                  </a:lnTo>
                  <a:lnTo>
                    <a:pt x="565" y="1497"/>
                  </a:lnTo>
                  <a:lnTo>
                    <a:pt x="592" y="1494"/>
                  </a:lnTo>
                  <a:lnTo>
                    <a:pt x="619" y="1492"/>
                  </a:lnTo>
                  <a:lnTo>
                    <a:pt x="643" y="1488"/>
                  </a:lnTo>
                  <a:lnTo>
                    <a:pt x="667" y="1484"/>
                  </a:lnTo>
                  <a:lnTo>
                    <a:pt x="688" y="1479"/>
                  </a:lnTo>
                  <a:lnTo>
                    <a:pt x="708" y="1474"/>
                  </a:lnTo>
                  <a:lnTo>
                    <a:pt x="729" y="1468"/>
                  </a:lnTo>
                  <a:lnTo>
                    <a:pt x="747" y="1462"/>
                  </a:lnTo>
                  <a:lnTo>
                    <a:pt x="765" y="1456"/>
                  </a:lnTo>
                  <a:lnTo>
                    <a:pt x="781" y="1449"/>
                  </a:lnTo>
                  <a:lnTo>
                    <a:pt x="796" y="1442"/>
                  </a:lnTo>
                  <a:lnTo>
                    <a:pt x="810" y="1435"/>
                  </a:lnTo>
                  <a:lnTo>
                    <a:pt x="825" y="1427"/>
                  </a:lnTo>
                  <a:lnTo>
                    <a:pt x="848" y="1412"/>
                  </a:lnTo>
                  <a:lnTo>
                    <a:pt x="869" y="1398"/>
                  </a:lnTo>
                  <a:lnTo>
                    <a:pt x="887" y="1383"/>
                  </a:lnTo>
                  <a:lnTo>
                    <a:pt x="903" y="1368"/>
                  </a:lnTo>
                  <a:lnTo>
                    <a:pt x="916" y="1352"/>
                  </a:lnTo>
                  <a:lnTo>
                    <a:pt x="929" y="1336"/>
                  </a:lnTo>
                  <a:lnTo>
                    <a:pt x="940" y="1321"/>
                  </a:lnTo>
                  <a:lnTo>
                    <a:pt x="948" y="1305"/>
                  </a:lnTo>
                  <a:lnTo>
                    <a:pt x="955" y="1288"/>
                  </a:lnTo>
                  <a:lnTo>
                    <a:pt x="961" y="1273"/>
                  </a:lnTo>
                  <a:lnTo>
                    <a:pt x="966" y="1258"/>
                  </a:lnTo>
                  <a:lnTo>
                    <a:pt x="970" y="1242"/>
                  </a:lnTo>
                  <a:lnTo>
                    <a:pt x="973" y="1228"/>
                  </a:lnTo>
                  <a:lnTo>
                    <a:pt x="974" y="1214"/>
                  </a:lnTo>
                  <a:lnTo>
                    <a:pt x="975" y="1201"/>
                  </a:lnTo>
                  <a:lnTo>
                    <a:pt x="975" y="1188"/>
                  </a:lnTo>
                  <a:lnTo>
                    <a:pt x="975" y="1170"/>
                  </a:lnTo>
                  <a:lnTo>
                    <a:pt x="972" y="1152"/>
                  </a:lnTo>
                  <a:lnTo>
                    <a:pt x="969" y="1133"/>
                  </a:lnTo>
                  <a:lnTo>
                    <a:pt x="963" y="1116"/>
                  </a:lnTo>
                  <a:lnTo>
                    <a:pt x="957" y="1100"/>
                  </a:lnTo>
                  <a:lnTo>
                    <a:pt x="950" y="1084"/>
                  </a:lnTo>
                  <a:lnTo>
                    <a:pt x="941" y="1068"/>
                  </a:lnTo>
                  <a:lnTo>
                    <a:pt x="932" y="1053"/>
                  </a:lnTo>
                  <a:lnTo>
                    <a:pt x="921" y="1039"/>
                  </a:lnTo>
                  <a:lnTo>
                    <a:pt x="909" y="1026"/>
                  </a:lnTo>
                  <a:lnTo>
                    <a:pt x="896" y="1013"/>
                  </a:lnTo>
                  <a:lnTo>
                    <a:pt x="882" y="1001"/>
                  </a:lnTo>
                  <a:lnTo>
                    <a:pt x="868" y="990"/>
                  </a:lnTo>
                  <a:lnTo>
                    <a:pt x="852" y="980"/>
                  </a:lnTo>
                  <a:lnTo>
                    <a:pt x="836" y="971"/>
                  </a:lnTo>
                  <a:lnTo>
                    <a:pt x="820" y="962"/>
                  </a:lnTo>
                  <a:lnTo>
                    <a:pt x="806" y="957"/>
                  </a:lnTo>
                  <a:lnTo>
                    <a:pt x="793" y="952"/>
                  </a:lnTo>
                  <a:lnTo>
                    <a:pt x="779" y="948"/>
                  </a:lnTo>
                  <a:lnTo>
                    <a:pt x="763" y="945"/>
                  </a:lnTo>
                  <a:lnTo>
                    <a:pt x="730" y="938"/>
                  </a:lnTo>
                  <a:lnTo>
                    <a:pt x="693" y="934"/>
                  </a:lnTo>
                  <a:lnTo>
                    <a:pt x="651" y="930"/>
                  </a:lnTo>
                  <a:lnTo>
                    <a:pt x="604" y="927"/>
                  </a:lnTo>
                  <a:lnTo>
                    <a:pt x="553" y="925"/>
                  </a:lnTo>
                  <a:lnTo>
                    <a:pt x="496" y="923"/>
                  </a:lnTo>
                  <a:lnTo>
                    <a:pt x="462" y="923"/>
                  </a:lnTo>
                  <a:lnTo>
                    <a:pt x="431" y="923"/>
                  </a:lnTo>
                  <a:lnTo>
                    <a:pt x="405" y="923"/>
                  </a:lnTo>
                  <a:lnTo>
                    <a:pt x="384" y="922"/>
                  </a:lnTo>
                  <a:lnTo>
                    <a:pt x="364" y="920"/>
                  </a:lnTo>
                  <a:lnTo>
                    <a:pt x="345" y="917"/>
                  </a:lnTo>
                  <a:lnTo>
                    <a:pt x="327" y="913"/>
                  </a:lnTo>
                  <a:lnTo>
                    <a:pt x="309" y="906"/>
                  </a:lnTo>
                  <a:lnTo>
                    <a:pt x="298" y="902"/>
                  </a:lnTo>
                  <a:lnTo>
                    <a:pt x="289" y="897"/>
                  </a:lnTo>
                  <a:lnTo>
                    <a:pt x="281" y="892"/>
                  </a:lnTo>
                  <a:lnTo>
                    <a:pt x="274" y="887"/>
                  </a:lnTo>
                  <a:lnTo>
                    <a:pt x="268" y="882"/>
                  </a:lnTo>
                  <a:lnTo>
                    <a:pt x="262" y="876"/>
                  </a:lnTo>
                  <a:lnTo>
                    <a:pt x="257" y="870"/>
                  </a:lnTo>
                  <a:lnTo>
                    <a:pt x="252" y="864"/>
                  </a:lnTo>
                  <a:lnTo>
                    <a:pt x="249" y="859"/>
                  </a:lnTo>
                  <a:lnTo>
                    <a:pt x="246" y="852"/>
                  </a:lnTo>
                  <a:lnTo>
                    <a:pt x="244" y="846"/>
                  </a:lnTo>
                  <a:lnTo>
                    <a:pt x="242" y="840"/>
                  </a:lnTo>
                  <a:lnTo>
                    <a:pt x="240" y="829"/>
                  </a:lnTo>
                  <a:lnTo>
                    <a:pt x="239" y="818"/>
                  </a:lnTo>
                  <a:lnTo>
                    <a:pt x="239" y="811"/>
                  </a:lnTo>
                  <a:lnTo>
                    <a:pt x="240" y="804"/>
                  </a:lnTo>
                  <a:lnTo>
                    <a:pt x="242" y="797"/>
                  </a:lnTo>
                  <a:lnTo>
                    <a:pt x="243" y="791"/>
                  </a:lnTo>
                  <a:lnTo>
                    <a:pt x="248" y="780"/>
                  </a:lnTo>
                  <a:lnTo>
                    <a:pt x="255" y="770"/>
                  </a:lnTo>
                  <a:lnTo>
                    <a:pt x="261" y="763"/>
                  </a:lnTo>
                  <a:lnTo>
                    <a:pt x="267" y="756"/>
                  </a:lnTo>
                  <a:lnTo>
                    <a:pt x="273" y="751"/>
                  </a:lnTo>
                  <a:lnTo>
                    <a:pt x="277" y="747"/>
                  </a:lnTo>
                  <a:lnTo>
                    <a:pt x="279" y="745"/>
                  </a:lnTo>
                  <a:lnTo>
                    <a:pt x="281" y="742"/>
                  </a:lnTo>
                  <a:lnTo>
                    <a:pt x="284" y="740"/>
                  </a:lnTo>
                  <a:lnTo>
                    <a:pt x="286" y="738"/>
                  </a:lnTo>
                  <a:lnTo>
                    <a:pt x="289" y="736"/>
                  </a:lnTo>
                  <a:lnTo>
                    <a:pt x="292" y="733"/>
                  </a:lnTo>
                  <a:lnTo>
                    <a:pt x="294" y="731"/>
                  </a:lnTo>
                  <a:lnTo>
                    <a:pt x="297" y="728"/>
                  </a:lnTo>
                  <a:lnTo>
                    <a:pt x="331" y="736"/>
                  </a:lnTo>
                  <a:lnTo>
                    <a:pt x="361" y="742"/>
                  </a:lnTo>
                  <a:lnTo>
                    <a:pt x="385" y="748"/>
                  </a:lnTo>
                  <a:lnTo>
                    <a:pt x="408" y="752"/>
                  </a:lnTo>
                  <a:lnTo>
                    <a:pt x="428" y="754"/>
                  </a:lnTo>
                  <a:lnTo>
                    <a:pt x="447" y="755"/>
                  </a:lnTo>
                  <a:lnTo>
                    <a:pt x="467" y="756"/>
                  </a:lnTo>
                  <a:lnTo>
                    <a:pt x="487" y="756"/>
                  </a:lnTo>
                  <a:lnTo>
                    <a:pt x="515" y="756"/>
                  </a:lnTo>
                  <a:lnTo>
                    <a:pt x="541" y="754"/>
                  </a:lnTo>
                  <a:lnTo>
                    <a:pt x="567" y="751"/>
                  </a:lnTo>
                  <a:lnTo>
                    <a:pt x="590" y="747"/>
                  </a:lnTo>
                  <a:lnTo>
                    <a:pt x="614" y="741"/>
                  </a:lnTo>
                  <a:lnTo>
                    <a:pt x="635" y="735"/>
                  </a:lnTo>
                  <a:lnTo>
                    <a:pt x="656" y="729"/>
                  </a:lnTo>
                  <a:lnTo>
                    <a:pt x="676" y="722"/>
                  </a:lnTo>
                  <a:lnTo>
                    <a:pt x="694" y="714"/>
                  </a:lnTo>
                  <a:lnTo>
                    <a:pt x="710" y="707"/>
                  </a:lnTo>
                  <a:lnTo>
                    <a:pt x="727" y="699"/>
                  </a:lnTo>
                  <a:lnTo>
                    <a:pt x="741" y="691"/>
                  </a:lnTo>
                  <a:lnTo>
                    <a:pt x="766" y="675"/>
                  </a:lnTo>
                  <a:lnTo>
                    <a:pt x="785" y="661"/>
                  </a:lnTo>
                  <a:lnTo>
                    <a:pt x="800" y="647"/>
                  </a:lnTo>
                  <a:lnTo>
                    <a:pt x="814" y="634"/>
                  </a:lnTo>
                  <a:lnTo>
                    <a:pt x="826" y="619"/>
                  </a:lnTo>
                  <a:lnTo>
                    <a:pt x="837" y="605"/>
                  </a:lnTo>
                  <a:lnTo>
                    <a:pt x="846" y="590"/>
                  </a:lnTo>
                  <a:lnTo>
                    <a:pt x="853" y="575"/>
                  </a:lnTo>
                  <a:lnTo>
                    <a:pt x="860" y="561"/>
                  </a:lnTo>
                  <a:lnTo>
                    <a:pt x="865" y="547"/>
                  </a:lnTo>
                  <a:lnTo>
                    <a:pt x="870" y="534"/>
                  </a:lnTo>
                  <a:lnTo>
                    <a:pt x="874" y="520"/>
                  </a:lnTo>
                  <a:lnTo>
                    <a:pt x="877" y="507"/>
                  </a:lnTo>
                  <a:lnTo>
                    <a:pt x="879" y="496"/>
                  </a:lnTo>
                  <a:lnTo>
                    <a:pt x="881" y="474"/>
                  </a:lnTo>
                  <a:lnTo>
                    <a:pt x="881" y="456"/>
                  </a:lnTo>
                  <a:lnTo>
                    <a:pt x="881" y="441"/>
                  </a:lnTo>
                  <a:lnTo>
                    <a:pt x="880" y="427"/>
                  </a:lnTo>
                  <a:lnTo>
                    <a:pt x="878" y="413"/>
                  </a:lnTo>
                  <a:lnTo>
                    <a:pt x="876" y="400"/>
                  </a:lnTo>
                  <a:lnTo>
                    <a:pt x="873" y="387"/>
                  </a:lnTo>
                  <a:lnTo>
                    <a:pt x="870" y="376"/>
                  </a:lnTo>
                  <a:lnTo>
                    <a:pt x="865" y="365"/>
                  </a:lnTo>
                  <a:lnTo>
                    <a:pt x="861" y="355"/>
                  </a:lnTo>
                  <a:lnTo>
                    <a:pt x="853" y="335"/>
                  </a:lnTo>
                  <a:lnTo>
                    <a:pt x="844" y="320"/>
                  </a:lnTo>
                  <a:lnTo>
                    <a:pt x="835" y="307"/>
                  </a:lnTo>
                  <a:lnTo>
                    <a:pt x="827" y="298"/>
                  </a:lnTo>
                  <a:lnTo>
                    <a:pt x="820" y="289"/>
                  </a:lnTo>
                  <a:lnTo>
                    <a:pt x="812" y="282"/>
                  </a:lnTo>
                  <a:lnTo>
                    <a:pt x="805" y="276"/>
                  </a:lnTo>
                  <a:lnTo>
                    <a:pt x="798" y="270"/>
                  </a:lnTo>
                  <a:lnTo>
                    <a:pt x="791" y="264"/>
                  </a:lnTo>
                  <a:lnTo>
                    <a:pt x="783" y="258"/>
                  </a:lnTo>
                  <a:lnTo>
                    <a:pt x="775" y="252"/>
                  </a:lnTo>
                  <a:lnTo>
                    <a:pt x="767" y="245"/>
                  </a:lnTo>
                  <a:lnTo>
                    <a:pt x="770" y="238"/>
                  </a:lnTo>
                  <a:lnTo>
                    <a:pt x="774" y="231"/>
                  </a:lnTo>
                  <a:lnTo>
                    <a:pt x="778" y="225"/>
                  </a:lnTo>
                  <a:lnTo>
                    <a:pt x="781" y="219"/>
                  </a:lnTo>
                  <a:lnTo>
                    <a:pt x="786" y="213"/>
                  </a:lnTo>
                  <a:lnTo>
                    <a:pt x="790" y="208"/>
                  </a:lnTo>
                  <a:lnTo>
                    <a:pt x="795" y="203"/>
                  </a:lnTo>
                  <a:lnTo>
                    <a:pt x="800" y="198"/>
                  </a:lnTo>
                  <a:lnTo>
                    <a:pt x="808" y="192"/>
                  </a:lnTo>
                  <a:lnTo>
                    <a:pt x="818" y="187"/>
                  </a:lnTo>
                  <a:lnTo>
                    <a:pt x="827" y="182"/>
                  </a:lnTo>
                  <a:lnTo>
                    <a:pt x="837" y="178"/>
                  </a:lnTo>
                  <a:lnTo>
                    <a:pt x="848" y="175"/>
                  </a:lnTo>
                  <a:lnTo>
                    <a:pt x="859" y="173"/>
                  </a:lnTo>
                  <a:lnTo>
                    <a:pt x="871" y="171"/>
                  </a:lnTo>
                  <a:lnTo>
                    <a:pt x="883" y="169"/>
                  </a:lnTo>
                  <a:lnTo>
                    <a:pt x="907" y="167"/>
                  </a:lnTo>
                  <a:lnTo>
                    <a:pt x="931" y="167"/>
                  </a:lnTo>
                  <a:lnTo>
                    <a:pt x="954" y="167"/>
                  </a:lnTo>
                  <a:lnTo>
                    <a:pt x="977" y="168"/>
                  </a:lnTo>
                  <a:lnTo>
                    <a:pt x="977" y="1"/>
                  </a:lnTo>
                  <a:close/>
                  <a:moveTo>
                    <a:pt x="232" y="1101"/>
                  </a:moveTo>
                  <a:lnTo>
                    <a:pt x="284" y="1110"/>
                  </a:lnTo>
                  <a:lnTo>
                    <a:pt x="330" y="1117"/>
                  </a:lnTo>
                  <a:lnTo>
                    <a:pt x="372" y="1121"/>
                  </a:lnTo>
                  <a:lnTo>
                    <a:pt x="411" y="1124"/>
                  </a:lnTo>
                  <a:lnTo>
                    <a:pt x="449" y="1125"/>
                  </a:lnTo>
                  <a:lnTo>
                    <a:pt x="491" y="1126"/>
                  </a:lnTo>
                  <a:lnTo>
                    <a:pt x="538" y="1126"/>
                  </a:lnTo>
                  <a:lnTo>
                    <a:pt x="592" y="1127"/>
                  </a:lnTo>
                  <a:lnTo>
                    <a:pt x="622" y="1128"/>
                  </a:lnTo>
                  <a:lnTo>
                    <a:pt x="647" y="1130"/>
                  </a:lnTo>
                  <a:lnTo>
                    <a:pt x="670" y="1134"/>
                  </a:lnTo>
                  <a:lnTo>
                    <a:pt x="688" y="1139"/>
                  </a:lnTo>
                  <a:lnTo>
                    <a:pt x="705" y="1145"/>
                  </a:lnTo>
                  <a:lnTo>
                    <a:pt x="720" y="1152"/>
                  </a:lnTo>
                  <a:lnTo>
                    <a:pt x="732" y="1160"/>
                  </a:lnTo>
                  <a:lnTo>
                    <a:pt x="744" y="1170"/>
                  </a:lnTo>
                  <a:lnTo>
                    <a:pt x="752" y="1179"/>
                  </a:lnTo>
                  <a:lnTo>
                    <a:pt x="758" y="1188"/>
                  </a:lnTo>
                  <a:lnTo>
                    <a:pt x="763" y="1197"/>
                  </a:lnTo>
                  <a:lnTo>
                    <a:pt x="767" y="1205"/>
                  </a:lnTo>
                  <a:lnTo>
                    <a:pt x="769" y="1212"/>
                  </a:lnTo>
                  <a:lnTo>
                    <a:pt x="770" y="1219"/>
                  </a:lnTo>
                  <a:lnTo>
                    <a:pt x="771" y="1225"/>
                  </a:lnTo>
                  <a:lnTo>
                    <a:pt x="771" y="1230"/>
                  </a:lnTo>
                  <a:lnTo>
                    <a:pt x="770" y="1240"/>
                  </a:lnTo>
                  <a:lnTo>
                    <a:pt x="769" y="1250"/>
                  </a:lnTo>
                  <a:lnTo>
                    <a:pt x="766" y="1259"/>
                  </a:lnTo>
                  <a:lnTo>
                    <a:pt x="762" y="1267"/>
                  </a:lnTo>
                  <a:lnTo>
                    <a:pt x="758" y="1275"/>
                  </a:lnTo>
                  <a:lnTo>
                    <a:pt x="753" y="1283"/>
                  </a:lnTo>
                  <a:lnTo>
                    <a:pt x="748" y="1290"/>
                  </a:lnTo>
                  <a:lnTo>
                    <a:pt x="742" y="1297"/>
                  </a:lnTo>
                  <a:lnTo>
                    <a:pt x="735" y="1303"/>
                  </a:lnTo>
                  <a:lnTo>
                    <a:pt x="728" y="1310"/>
                  </a:lnTo>
                  <a:lnTo>
                    <a:pt x="721" y="1316"/>
                  </a:lnTo>
                  <a:lnTo>
                    <a:pt x="712" y="1321"/>
                  </a:lnTo>
                  <a:lnTo>
                    <a:pt x="696" y="1330"/>
                  </a:lnTo>
                  <a:lnTo>
                    <a:pt x="678" y="1337"/>
                  </a:lnTo>
                  <a:lnTo>
                    <a:pt x="667" y="1341"/>
                  </a:lnTo>
                  <a:lnTo>
                    <a:pt x="655" y="1344"/>
                  </a:lnTo>
                  <a:lnTo>
                    <a:pt x="643" y="1346"/>
                  </a:lnTo>
                  <a:lnTo>
                    <a:pt x="631" y="1349"/>
                  </a:lnTo>
                  <a:lnTo>
                    <a:pt x="605" y="1352"/>
                  </a:lnTo>
                  <a:lnTo>
                    <a:pt x="582" y="1355"/>
                  </a:lnTo>
                  <a:lnTo>
                    <a:pt x="559" y="1356"/>
                  </a:lnTo>
                  <a:lnTo>
                    <a:pt x="541" y="1357"/>
                  </a:lnTo>
                  <a:lnTo>
                    <a:pt x="527" y="1357"/>
                  </a:lnTo>
                  <a:lnTo>
                    <a:pt x="519" y="1357"/>
                  </a:lnTo>
                  <a:lnTo>
                    <a:pt x="489" y="1357"/>
                  </a:lnTo>
                  <a:lnTo>
                    <a:pt x="461" y="1356"/>
                  </a:lnTo>
                  <a:lnTo>
                    <a:pt x="433" y="1354"/>
                  </a:lnTo>
                  <a:lnTo>
                    <a:pt x="408" y="1351"/>
                  </a:lnTo>
                  <a:lnTo>
                    <a:pt x="384" y="1348"/>
                  </a:lnTo>
                  <a:lnTo>
                    <a:pt x="362" y="1343"/>
                  </a:lnTo>
                  <a:lnTo>
                    <a:pt x="340" y="1339"/>
                  </a:lnTo>
                  <a:lnTo>
                    <a:pt x="321" y="1333"/>
                  </a:lnTo>
                  <a:lnTo>
                    <a:pt x="302" y="1327"/>
                  </a:lnTo>
                  <a:lnTo>
                    <a:pt x="286" y="1320"/>
                  </a:lnTo>
                  <a:lnTo>
                    <a:pt x="271" y="1312"/>
                  </a:lnTo>
                  <a:lnTo>
                    <a:pt x="258" y="1303"/>
                  </a:lnTo>
                  <a:lnTo>
                    <a:pt x="244" y="1294"/>
                  </a:lnTo>
                  <a:lnTo>
                    <a:pt x="233" y="1284"/>
                  </a:lnTo>
                  <a:lnTo>
                    <a:pt x="223" y="1273"/>
                  </a:lnTo>
                  <a:lnTo>
                    <a:pt x="215" y="1262"/>
                  </a:lnTo>
                  <a:lnTo>
                    <a:pt x="212" y="1258"/>
                  </a:lnTo>
                  <a:lnTo>
                    <a:pt x="208" y="1252"/>
                  </a:lnTo>
                  <a:lnTo>
                    <a:pt x="204" y="1244"/>
                  </a:lnTo>
                  <a:lnTo>
                    <a:pt x="199" y="1235"/>
                  </a:lnTo>
                  <a:lnTo>
                    <a:pt x="196" y="1225"/>
                  </a:lnTo>
                  <a:lnTo>
                    <a:pt x="193" y="1213"/>
                  </a:lnTo>
                  <a:lnTo>
                    <a:pt x="191" y="1201"/>
                  </a:lnTo>
                  <a:lnTo>
                    <a:pt x="190" y="1187"/>
                  </a:lnTo>
                  <a:lnTo>
                    <a:pt x="191" y="1173"/>
                  </a:lnTo>
                  <a:lnTo>
                    <a:pt x="193" y="1161"/>
                  </a:lnTo>
                  <a:lnTo>
                    <a:pt x="196" y="1150"/>
                  </a:lnTo>
                  <a:lnTo>
                    <a:pt x="201" y="1140"/>
                  </a:lnTo>
                  <a:lnTo>
                    <a:pt x="208" y="1130"/>
                  </a:lnTo>
                  <a:lnTo>
                    <a:pt x="215" y="1121"/>
                  </a:lnTo>
                  <a:lnTo>
                    <a:pt x="223" y="1111"/>
                  </a:lnTo>
                  <a:lnTo>
                    <a:pt x="232" y="1101"/>
                  </a:lnTo>
                  <a:close/>
                  <a:moveTo>
                    <a:pt x="299" y="443"/>
                  </a:moveTo>
                  <a:lnTo>
                    <a:pt x="301" y="434"/>
                  </a:lnTo>
                  <a:lnTo>
                    <a:pt x="303" y="424"/>
                  </a:lnTo>
                  <a:lnTo>
                    <a:pt x="307" y="413"/>
                  </a:lnTo>
                  <a:lnTo>
                    <a:pt x="311" y="401"/>
                  </a:lnTo>
                  <a:lnTo>
                    <a:pt x="316" y="389"/>
                  </a:lnTo>
                  <a:lnTo>
                    <a:pt x="323" y="378"/>
                  </a:lnTo>
                  <a:lnTo>
                    <a:pt x="330" y="366"/>
                  </a:lnTo>
                  <a:lnTo>
                    <a:pt x="339" y="355"/>
                  </a:lnTo>
                  <a:lnTo>
                    <a:pt x="350" y="343"/>
                  </a:lnTo>
                  <a:lnTo>
                    <a:pt x="363" y="334"/>
                  </a:lnTo>
                  <a:lnTo>
                    <a:pt x="376" y="325"/>
                  </a:lnTo>
                  <a:lnTo>
                    <a:pt x="392" y="317"/>
                  </a:lnTo>
                  <a:lnTo>
                    <a:pt x="400" y="313"/>
                  </a:lnTo>
                  <a:lnTo>
                    <a:pt x="410" y="310"/>
                  </a:lnTo>
                  <a:lnTo>
                    <a:pt x="420" y="308"/>
                  </a:lnTo>
                  <a:lnTo>
                    <a:pt x="430" y="306"/>
                  </a:lnTo>
                  <a:lnTo>
                    <a:pt x="440" y="304"/>
                  </a:lnTo>
                  <a:lnTo>
                    <a:pt x="451" y="302"/>
                  </a:lnTo>
                  <a:lnTo>
                    <a:pt x="464" y="302"/>
                  </a:lnTo>
                  <a:lnTo>
                    <a:pt x="476" y="301"/>
                  </a:lnTo>
                  <a:lnTo>
                    <a:pt x="488" y="302"/>
                  </a:lnTo>
                  <a:lnTo>
                    <a:pt x="501" y="302"/>
                  </a:lnTo>
                  <a:lnTo>
                    <a:pt x="513" y="304"/>
                  </a:lnTo>
                  <a:lnTo>
                    <a:pt x="524" y="305"/>
                  </a:lnTo>
                  <a:lnTo>
                    <a:pt x="543" y="310"/>
                  </a:lnTo>
                  <a:lnTo>
                    <a:pt x="561" y="315"/>
                  </a:lnTo>
                  <a:lnTo>
                    <a:pt x="575" y="322"/>
                  </a:lnTo>
                  <a:lnTo>
                    <a:pt x="587" y="328"/>
                  </a:lnTo>
                  <a:lnTo>
                    <a:pt x="597" y="335"/>
                  </a:lnTo>
                  <a:lnTo>
                    <a:pt x="605" y="342"/>
                  </a:lnTo>
                  <a:lnTo>
                    <a:pt x="614" y="349"/>
                  </a:lnTo>
                  <a:lnTo>
                    <a:pt x="621" y="358"/>
                  </a:lnTo>
                  <a:lnTo>
                    <a:pt x="627" y="366"/>
                  </a:lnTo>
                  <a:lnTo>
                    <a:pt x="633" y="375"/>
                  </a:lnTo>
                  <a:lnTo>
                    <a:pt x="638" y="383"/>
                  </a:lnTo>
                  <a:lnTo>
                    <a:pt x="642" y="392"/>
                  </a:lnTo>
                  <a:lnTo>
                    <a:pt x="645" y="401"/>
                  </a:lnTo>
                  <a:lnTo>
                    <a:pt x="648" y="410"/>
                  </a:lnTo>
                  <a:lnTo>
                    <a:pt x="652" y="426"/>
                  </a:lnTo>
                  <a:lnTo>
                    <a:pt x="654" y="441"/>
                  </a:lnTo>
                  <a:lnTo>
                    <a:pt x="655" y="454"/>
                  </a:lnTo>
                  <a:lnTo>
                    <a:pt x="655" y="464"/>
                  </a:lnTo>
                  <a:lnTo>
                    <a:pt x="655" y="476"/>
                  </a:lnTo>
                  <a:lnTo>
                    <a:pt x="654" y="489"/>
                  </a:lnTo>
                  <a:lnTo>
                    <a:pt x="651" y="502"/>
                  </a:lnTo>
                  <a:lnTo>
                    <a:pt x="648" y="515"/>
                  </a:lnTo>
                  <a:lnTo>
                    <a:pt x="644" y="530"/>
                  </a:lnTo>
                  <a:lnTo>
                    <a:pt x="638" y="543"/>
                  </a:lnTo>
                  <a:lnTo>
                    <a:pt x="631" y="556"/>
                  </a:lnTo>
                  <a:lnTo>
                    <a:pt x="622" y="568"/>
                  </a:lnTo>
                  <a:lnTo>
                    <a:pt x="610" y="581"/>
                  </a:lnTo>
                  <a:lnTo>
                    <a:pt x="598" y="592"/>
                  </a:lnTo>
                  <a:lnTo>
                    <a:pt x="591" y="597"/>
                  </a:lnTo>
                  <a:lnTo>
                    <a:pt x="584" y="602"/>
                  </a:lnTo>
                  <a:lnTo>
                    <a:pt x="576" y="606"/>
                  </a:lnTo>
                  <a:lnTo>
                    <a:pt x="567" y="610"/>
                  </a:lnTo>
                  <a:lnTo>
                    <a:pt x="557" y="614"/>
                  </a:lnTo>
                  <a:lnTo>
                    <a:pt x="548" y="617"/>
                  </a:lnTo>
                  <a:lnTo>
                    <a:pt x="538" y="620"/>
                  </a:lnTo>
                  <a:lnTo>
                    <a:pt x="527" y="622"/>
                  </a:lnTo>
                  <a:lnTo>
                    <a:pt x="516" y="624"/>
                  </a:lnTo>
                  <a:lnTo>
                    <a:pt x="503" y="626"/>
                  </a:lnTo>
                  <a:lnTo>
                    <a:pt x="491" y="626"/>
                  </a:lnTo>
                  <a:lnTo>
                    <a:pt x="478" y="627"/>
                  </a:lnTo>
                  <a:lnTo>
                    <a:pt x="463" y="626"/>
                  </a:lnTo>
                  <a:lnTo>
                    <a:pt x="447" y="625"/>
                  </a:lnTo>
                  <a:lnTo>
                    <a:pt x="433" y="623"/>
                  </a:lnTo>
                  <a:lnTo>
                    <a:pt x="420" y="620"/>
                  </a:lnTo>
                  <a:lnTo>
                    <a:pt x="406" y="616"/>
                  </a:lnTo>
                  <a:lnTo>
                    <a:pt x="393" y="611"/>
                  </a:lnTo>
                  <a:lnTo>
                    <a:pt x="381" y="606"/>
                  </a:lnTo>
                  <a:lnTo>
                    <a:pt x="370" y="599"/>
                  </a:lnTo>
                  <a:lnTo>
                    <a:pt x="359" y="592"/>
                  </a:lnTo>
                  <a:lnTo>
                    <a:pt x="348" y="584"/>
                  </a:lnTo>
                  <a:lnTo>
                    <a:pt x="338" y="574"/>
                  </a:lnTo>
                  <a:lnTo>
                    <a:pt x="330" y="564"/>
                  </a:lnTo>
                  <a:lnTo>
                    <a:pt x="322" y="554"/>
                  </a:lnTo>
                  <a:lnTo>
                    <a:pt x="316" y="542"/>
                  </a:lnTo>
                  <a:lnTo>
                    <a:pt x="310" y="530"/>
                  </a:lnTo>
                  <a:lnTo>
                    <a:pt x="304" y="516"/>
                  </a:lnTo>
                  <a:lnTo>
                    <a:pt x="301" y="504"/>
                  </a:lnTo>
                  <a:lnTo>
                    <a:pt x="299" y="494"/>
                  </a:lnTo>
                  <a:lnTo>
                    <a:pt x="298" y="483"/>
                  </a:lnTo>
                  <a:lnTo>
                    <a:pt x="298" y="474"/>
                  </a:lnTo>
                  <a:lnTo>
                    <a:pt x="297" y="464"/>
                  </a:lnTo>
                  <a:lnTo>
                    <a:pt x="298" y="456"/>
                  </a:lnTo>
                  <a:lnTo>
                    <a:pt x="298" y="449"/>
                  </a:lnTo>
                  <a:lnTo>
                    <a:pt x="299" y="443"/>
                  </a:lnTo>
                  <a:close/>
                </a:path>
              </a:pathLst>
            </a:custGeom>
            <a:solidFill>
              <a:srgbClr val="5E737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276" u="sng">
                <a:solidFill>
                  <a:srgbClr val="000000"/>
                </a:solidFill>
                <a:latin typeface="Arial" charset="0"/>
                <a:cs typeface="Arial"/>
              </a:endParaRPr>
            </a:p>
          </p:txBody>
        </p:sp>
        <p:sp>
          <p:nvSpPr>
            <p:cNvPr id="1055" name="Freeform 79"/>
            <p:cNvSpPr>
              <a:spLocks noEditPoints="1"/>
            </p:cNvSpPr>
            <p:nvPr userDrawn="1"/>
          </p:nvSpPr>
          <p:spPr bwMode="auto">
            <a:xfrm>
              <a:off x="5808" y="362"/>
              <a:ext cx="43" cy="50"/>
            </a:xfrm>
            <a:custGeom>
              <a:avLst/>
              <a:gdLst>
                <a:gd name="T0" fmla="*/ 0 w 873"/>
                <a:gd name="T1" fmla="*/ 0 h 1017"/>
                <a:gd name="T2" fmla="*/ 0 w 873"/>
                <a:gd name="T3" fmla="*/ 0 h 1017"/>
                <a:gd name="T4" fmla="*/ 0 w 873"/>
                <a:gd name="T5" fmla="*/ 0 h 1017"/>
                <a:gd name="T6" fmla="*/ 0 w 873"/>
                <a:gd name="T7" fmla="*/ 0 h 1017"/>
                <a:gd name="T8" fmla="*/ 0 w 873"/>
                <a:gd name="T9" fmla="*/ 0 h 1017"/>
                <a:gd name="T10" fmla="*/ 0 w 873"/>
                <a:gd name="T11" fmla="*/ 0 h 1017"/>
                <a:gd name="T12" fmla="*/ 0 w 873"/>
                <a:gd name="T13" fmla="*/ 0 h 1017"/>
                <a:gd name="T14" fmla="*/ 0 w 873"/>
                <a:gd name="T15" fmla="*/ 0 h 1017"/>
                <a:gd name="T16" fmla="*/ 0 w 873"/>
                <a:gd name="T17" fmla="*/ 0 h 1017"/>
                <a:gd name="T18" fmla="*/ 0 w 873"/>
                <a:gd name="T19" fmla="*/ 0 h 1017"/>
                <a:gd name="T20" fmla="*/ 0 w 873"/>
                <a:gd name="T21" fmla="*/ 0 h 1017"/>
                <a:gd name="T22" fmla="*/ 0 w 873"/>
                <a:gd name="T23" fmla="*/ 0 h 1017"/>
                <a:gd name="T24" fmla="*/ 0 w 873"/>
                <a:gd name="T25" fmla="*/ 0 h 1017"/>
                <a:gd name="T26" fmla="*/ 0 w 873"/>
                <a:gd name="T27" fmla="*/ 0 h 1017"/>
                <a:gd name="T28" fmla="*/ 0 w 873"/>
                <a:gd name="T29" fmla="*/ 0 h 1017"/>
                <a:gd name="T30" fmla="*/ 0 w 873"/>
                <a:gd name="T31" fmla="*/ 0 h 1017"/>
                <a:gd name="T32" fmla="*/ 0 w 873"/>
                <a:gd name="T33" fmla="*/ 0 h 1017"/>
                <a:gd name="T34" fmla="*/ 0 w 873"/>
                <a:gd name="T35" fmla="*/ 0 h 1017"/>
                <a:gd name="T36" fmla="*/ 0 w 873"/>
                <a:gd name="T37" fmla="*/ 0 h 1017"/>
                <a:gd name="T38" fmla="*/ 0 w 873"/>
                <a:gd name="T39" fmla="*/ 0 h 1017"/>
                <a:gd name="T40" fmla="*/ 0 w 873"/>
                <a:gd name="T41" fmla="*/ 0 h 1017"/>
                <a:gd name="T42" fmla="*/ 0 w 873"/>
                <a:gd name="T43" fmla="*/ 0 h 1017"/>
                <a:gd name="T44" fmla="*/ 0 w 873"/>
                <a:gd name="T45" fmla="*/ 0 h 1017"/>
                <a:gd name="T46" fmla="*/ 0 w 873"/>
                <a:gd name="T47" fmla="*/ 0 h 1017"/>
                <a:gd name="T48" fmla="*/ 0 w 873"/>
                <a:gd name="T49" fmla="*/ 0 h 1017"/>
                <a:gd name="T50" fmla="*/ 0 w 873"/>
                <a:gd name="T51" fmla="*/ 0 h 1017"/>
                <a:gd name="T52" fmla="*/ 0 w 873"/>
                <a:gd name="T53" fmla="*/ 0 h 1017"/>
                <a:gd name="T54" fmla="*/ 0 w 873"/>
                <a:gd name="T55" fmla="*/ 0 h 1017"/>
                <a:gd name="T56" fmla="*/ 0 w 873"/>
                <a:gd name="T57" fmla="*/ 0 h 1017"/>
                <a:gd name="T58" fmla="*/ 0 w 873"/>
                <a:gd name="T59" fmla="*/ 0 h 1017"/>
                <a:gd name="T60" fmla="*/ 0 w 873"/>
                <a:gd name="T61" fmla="*/ 0 h 1017"/>
                <a:gd name="T62" fmla="*/ 0 w 873"/>
                <a:gd name="T63" fmla="*/ 0 h 1017"/>
                <a:gd name="T64" fmla="*/ 0 w 873"/>
                <a:gd name="T65" fmla="*/ 0 h 1017"/>
                <a:gd name="T66" fmla="*/ 0 w 873"/>
                <a:gd name="T67" fmla="*/ 0 h 1017"/>
                <a:gd name="T68" fmla="*/ 0 w 873"/>
                <a:gd name="T69" fmla="*/ 0 h 1017"/>
                <a:gd name="T70" fmla="*/ 0 w 873"/>
                <a:gd name="T71" fmla="*/ 0 h 1017"/>
                <a:gd name="T72" fmla="*/ 0 w 873"/>
                <a:gd name="T73" fmla="*/ 0 h 1017"/>
                <a:gd name="T74" fmla="*/ 0 w 873"/>
                <a:gd name="T75" fmla="*/ 0 h 1017"/>
                <a:gd name="T76" fmla="*/ 0 w 873"/>
                <a:gd name="T77" fmla="*/ 0 h 1017"/>
                <a:gd name="T78" fmla="*/ 0 w 873"/>
                <a:gd name="T79" fmla="*/ 0 h 1017"/>
                <a:gd name="T80" fmla="*/ 0 w 873"/>
                <a:gd name="T81" fmla="*/ 0 h 1017"/>
                <a:gd name="T82" fmla="*/ 0 w 873"/>
                <a:gd name="T83" fmla="*/ 0 h 1017"/>
                <a:gd name="T84" fmla="*/ 0 w 873"/>
                <a:gd name="T85" fmla="*/ 0 h 1017"/>
                <a:gd name="T86" fmla="*/ 0 w 873"/>
                <a:gd name="T87" fmla="*/ 0 h 1017"/>
                <a:gd name="T88" fmla="*/ 0 w 873"/>
                <a:gd name="T89" fmla="*/ 0 h 1017"/>
                <a:gd name="T90" fmla="*/ 0 w 873"/>
                <a:gd name="T91" fmla="*/ 0 h 1017"/>
                <a:gd name="T92" fmla="*/ 0 w 873"/>
                <a:gd name="T93" fmla="*/ 0 h 1017"/>
                <a:gd name="T94" fmla="*/ 0 w 873"/>
                <a:gd name="T95" fmla="*/ 0 h 1017"/>
                <a:gd name="T96" fmla="*/ 0 w 873"/>
                <a:gd name="T97" fmla="*/ 0 h 1017"/>
                <a:gd name="T98" fmla="*/ 0 w 873"/>
                <a:gd name="T99" fmla="*/ 0 h 1017"/>
                <a:gd name="T100" fmla="*/ 0 w 873"/>
                <a:gd name="T101" fmla="*/ 0 h 1017"/>
                <a:gd name="T102" fmla="*/ 0 w 873"/>
                <a:gd name="T103" fmla="*/ 0 h 1017"/>
                <a:gd name="T104" fmla="*/ 0 w 873"/>
                <a:gd name="T105" fmla="*/ 0 h 1017"/>
                <a:gd name="T106" fmla="*/ 0 w 873"/>
                <a:gd name="T107" fmla="*/ 0 h 1017"/>
                <a:gd name="T108" fmla="*/ 0 w 873"/>
                <a:gd name="T109" fmla="*/ 0 h 1017"/>
                <a:gd name="T110" fmla="*/ 0 w 873"/>
                <a:gd name="T111" fmla="*/ 0 h 1017"/>
                <a:gd name="T112" fmla="*/ 0 w 873"/>
                <a:gd name="T113" fmla="*/ 0 h 1017"/>
                <a:gd name="T114" fmla="*/ 0 w 873"/>
                <a:gd name="T115" fmla="*/ 0 h 1017"/>
                <a:gd name="T116" fmla="*/ 0 w 873"/>
                <a:gd name="T117" fmla="*/ 0 h 1017"/>
                <a:gd name="T118" fmla="*/ 0 w 873"/>
                <a:gd name="T119" fmla="*/ 0 h 1017"/>
                <a:gd name="T120" fmla="*/ 0 w 873"/>
                <a:gd name="T121" fmla="*/ 0 h 1017"/>
                <a:gd name="T122" fmla="*/ 0 w 873"/>
                <a:gd name="T123" fmla="*/ 0 h 1017"/>
                <a:gd name="T124" fmla="*/ 0 w 873"/>
                <a:gd name="T125" fmla="*/ 0 h 101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873" h="1017">
                  <a:moveTo>
                    <a:pt x="873" y="537"/>
                  </a:moveTo>
                  <a:lnTo>
                    <a:pt x="873" y="509"/>
                  </a:lnTo>
                  <a:lnTo>
                    <a:pt x="872" y="481"/>
                  </a:lnTo>
                  <a:lnTo>
                    <a:pt x="871" y="451"/>
                  </a:lnTo>
                  <a:lnTo>
                    <a:pt x="869" y="423"/>
                  </a:lnTo>
                  <a:lnTo>
                    <a:pt x="867" y="394"/>
                  </a:lnTo>
                  <a:lnTo>
                    <a:pt x="863" y="366"/>
                  </a:lnTo>
                  <a:lnTo>
                    <a:pt x="857" y="338"/>
                  </a:lnTo>
                  <a:lnTo>
                    <a:pt x="851" y="311"/>
                  </a:lnTo>
                  <a:lnTo>
                    <a:pt x="848" y="301"/>
                  </a:lnTo>
                  <a:lnTo>
                    <a:pt x="844" y="287"/>
                  </a:lnTo>
                  <a:lnTo>
                    <a:pt x="839" y="273"/>
                  </a:lnTo>
                  <a:lnTo>
                    <a:pt x="833" y="256"/>
                  </a:lnTo>
                  <a:lnTo>
                    <a:pt x="825" y="238"/>
                  </a:lnTo>
                  <a:lnTo>
                    <a:pt x="815" y="219"/>
                  </a:lnTo>
                  <a:lnTo>
                    <a:pt x="803" y="199"/>
                  </a:lnTo>
                  <a:lnTo>
                    <a:pt x="790" y="178"/>
                  </a:lnTo>
                  <a:lnTo>
                    <a:pt x="779" y="163"/>
                  </a:lnTo>
                  <a:lnTo>
                    <a:pt x="769" y="150"/>
                  </a:lnTo>
                  <a:lnTo>
                    <a:pt x="757" y="137"/>
                  </a:lnTo>
                  <a:lnTo>
                    <a:pt x="746" y="124"/>
                  </a:lnTo>
                  <a:lnTo>
                    <a:pt x="734" y="112"/>
                  </a:lnTo>
                  <a:lnTo>
                    <a:pt x="723" y="102"/>
                  </a:lnTo>
                  <a:lnTo>
                    <a:pt x="711" y="92"/>
                  </a:lnTo>
                  <a:lnTo>
                    <a:pt x="699" y="82"/>
                  </a:lnTo>
                  <a:lnTo>
                    <a:pt x="687" y="74"/>
                  </a:lnTo>
                  <a:lnTo>
                    <a:pt x="675" y="65"/>
                  </a:lnTo>
                  <a:lnTo>
                    <a:pt x="663" y="57"/>
                  </a:lnTo>
                  <a:lnTo>
                    <a:pt x="650" y="51"/>
                  </a:lnTo>
                  <a:lnTo>
                    <a:pt x="626" y="39"/>
                  </a:lnTo>
                  <a:lnTo>
                    <a:pt x="601" y="29"/>
                  </a:lnTo>
                  <a:lnTo>
                    <a:pt x="578" y="21"/>
                  </a:lnTo>
                  <a:lnTo>
                    <a:pt x="555" y="13"/>
                  </a:lnTo>
                  <a:lnTo>
                    <a:pt x="533" y="8"/>
                  </a:lnTo>
                  <a:lnTo>
                    <a:pt x="512" y="5"/>
                  </a:lnTo>
                  <a:lnTo>
                    <a:pt x="492" y="2"/>
                  </a:lnTo>
                  <a:lnTo>
                    <a:pt x="475" y="1"/>
                  </a:lnTo>
                  <a:lnTo>
                    <a:pt x="459" y="0"/>
                  </a:lnTo>
                  <a:lnTo>
                    <a:pt x="444" y="0"/>
                  </a:lnTo>
                  <a:lnTo>
                    <a:pt x="426" y="0"/>
                  </a:lnTo>
                  <a:lnTo>
                    <a:pt x="408" y="1"/>
                  </a:lnTo>
                  <a:lnTo>
                    <a:pt x="389" y="3"/>
                  </a:lnTo>
                  <a:lnTo>
                    <a:pt x="371" y="5"/>
                  </a:lnTo>
                  <a:lnTo>
                    <a:pt x="354" y="8"/>
                  </a:lnTo>
                  <a:lnTo>
                    <a:pt x="336" y="12"/>
                  </a:lnTo>
                  <a:lnTo>
                    <a:pt x="320" y="17"/>
                  </a:lnTo>
                  <a:lnTo>
                    <a:pt x="304" y="22"/>
                  </a:lnTo>
                  <a:lnTo>
                    <a:pt x="287" y="28"/>
                  </a:lnTo>
                  <a:lnTo>
                    <a:pt x="271" y="34"/>
                  </a:lnTo>
                  <a:lnTo>
                    <a:pt x="256" y="41"/>
                  </a:lnTo>
                  <a:lnTo>
                    <a:pt x="240" y="48"/>
                  </a:lnTo>
                  <a:lnTo>
                    <a:pt x="225" y="56"/>
                  </a:lnTo>
                  <a:lnTo>
                    <a:pt x="211" y="65"/>
                  </a:lnTo>
                  <a:lnTo>
                    <a:pt x="196" y="75"/>
                  </a:lnTo>
                  <a:lnTo>
                    <a:pt x="183" y="84"/>
                  </a:lnTo>
                  <a:lnTo>
                    <a:pt x="170" y="95"/>
                  </a:lnTo>
                  <a:lnTo>
                    <a:pt x="158" y="105"/>
                  </a:lnTo>
                  <a:lnTo>
                    <a:pt x="144" y="117"/>
                  </a:lnTo>
                  <a:lnTo>
                    <a:pt x="133" y="129"/>
                  </a:lnTo>
                  <a:lnTo>
                    <a:pt x="122" y="142"/>
                  </a:lnTo>
                  <a:lnTo>
                    <a:pt x="111" y="154"/>
                  </a:lnTo>
                  <a:lnTo>
                    <a:pt x="100" y="168"/>
                  </a:lnTo>
                  <a:lnTo>
                    <a:pt x="90" y="181"/>
                  </a:lnTo>
                  <a:lnTo>
                    <a:pt x="80" y="196"/>
                  </a:lnTo>
                  <a:lnTo>
                    <a:pt x="71" y="211"/>
                  </a:lnTo>
                  <a:lnTo>
                    <a:pt x="63" y="226"/>
                  </a:lnTo>
                  <a:lnTo>
                    <a:pt x="55" y="242"/>
                  </a:lnTo>
                  <a:lnTo>
                    <a:pt x="48" y="258"/>
                  </a:lnTo>
                  <a:lnTo>
                    <a:pt x="40" y="275"/>
                  </a:lnTo>
                  <a:lnTo>
                    <a:pt x="33" y="291"/>
                  </a:lnTo>
                  <a:lnTo>
                    <a:pt x="28" y="309"/>
                  </a:lnTo>
                  <a:lnTo>
                    <a:pt x="19" y="341"/>
                  </a:lnTo>
                  <a:lnTo>
                    <a:pt x="12" y="373"/>
                  </a:lnTo>
                  <a:lnTo>
                    <a:pt x="7" y="402"/>
                  </a:lnTo>
                  <a:lnTo>
                    <a:pt x="4" y="431"/>
                  </a:lnTo>
                  <a:lnTo>
                    <a:pt x="2" y="456"/>
                  </a:lnTo>
                  <a:lnTo>
                    <a:pt x="1" y="478"/>
                  </a:lnTo>
                  <a:lnTo>
                    <a:pt x="0" y="497"/>
                  </a:lnTo>
                  <a:lnTo>
                    <a:pt x="0" y="511"/>
                  </a:lnTo>
                  <a:lnTo>
                    <a:pt x="0" y="536"/>
                  </a:lnTo>
                  <a:lnTo>
                    <a:pt x="1" y="560"/>
                  </a:lnTo>
                  <a:lnTo>
                    <a:pt x="3" y="584"/>
                  </a:lnTo>
                  <a:lnTo>
                    <a:pt x="5" y="606"/>
                  </a:lnTo>
                  <a:lnTo>
                    <a:pt x="7" y="627"/>
                  </a:lnTo>
                  <a:lnTo>
                    <a:pt x="11" y="648"/>
                  </a:lnTo>
                  <a:lnTo>
                    <a:pt x="14" y="668"/>
                  </a:lnTo>
                  <a:lnTo>
                    <a:pt x="18" y="688"/>
                  </a:lnTo>
                  <a:lnTo>
                    <a:pt x="23" y="706"/>
                  </a:lnTo>
                  <a:lnTo>
                    <a:pt x="28" y="723"/>
                  </a:lnTo>
                  <a:lnTo>
                    <a:pt x="33" y="739"/>
                  </a:lnTo>
                  <a:lnTo>
                    <a:pt x="39" y="756"/>
                  </a:lnTo>
                  <a:lnTo>
                    <a:pt x="45" y="771"/>
                  </a:lnTo>
                  <a:lnTo>
                    <a:pt x="53" y="786"/>
                  </a:lnTo>
                  <a:lnTo>
                    <a:pt x="60" y="801"/>
                  </a:lnTo>
                  <a:lnTo>
                    <a:pt x="67" y="814"/>
                  </a:lnTo>
                  <a:lnTo>
                    <a:pt x="75" y="827"/>
                  </a:lnTo>
                  <a:lnTo>
                    <a:pt x="82" y="839"/>
                  </a:lnTo>
                  <a:lnTo>
                    <a:pt x="90" y="850"/>
                  </a:lnTo>
                  <a:lnTo>
                    <a:pt x="100" y="862"/>
                  </a:lnTo>
                  <a:lnTo>
                    <a:pt x="117" y="882"/>
                  </a:lnTo>
                  <a:lnTo>
                    <a:pt x="135" y="900"/>
                  </a:lnTo>
                  <a:lnTo>
                    <a:pt x="154" y="918"/>
                  </a:lnTo>
                  <a:lnTo>
                    <a:pt x="173" y="932"/>
                  </a:lnTo>
                  <a:lnTo>
                    <a:pt x="192" y="945"/>
                  </a:lnTo>
                  <a:lnTo>
                    <a:pt x="212" y="957"/>
                  </a:lnTo>
                  <a:lnTo>
                    <a:pt x="229" y="967"/>
                  </a:lnTo>
                  <a:lnTo>
                    <a:pt x="246" y="976"/>
                  </a:lnTo>
                  <a:lnTo>
                    <a:pt x="264" y="983"/>
                  </a:lnTo>
                  <a:lnTo>
                    <a:pt x="281" y="990"/>
                  </a:lnTo>
                  <a:lnTo>
                    <a:pt x="297" y="995"/>
                  </a:lnTo>
                  <a:lnTo>
                    <a:pt x="314" y="1000"/>
                  </a:lnTo>
                  <a:lnTo>
                    <a:pt x="329" y="1004"/>
                  </a:lnTo>
                  <a:lnTo>
                    <a:pt x="344" y="1007"/>
                  </a:lnTo>
                  <a:lnTo>
                    <a:pt x="372" y="1012"/>
                  </a:lnTo>
                  <a:lnTo>
                    <a:pt x="397" y="1015"/>
                  </a:lnTo>
                  <a:lnTo>
                    <a:pt x="419" y="1016"/>
                  </a:lnTo>
                  <a:lnTo>
                    <a:pt x="437" y="1017"/>
                  </a:lnTo>
                  <a:lnTo>
                    <a:pt x="464" y="1016"/>
                  </a:lnTo>
                  <a:lnTo>
                    <a:pt x="490" y="1014"/>
                  </a:lnTo>
                  <a:lnTo>
                    <a:pt x="516" y="1010"/>
                  </a:lnTo>
                  <a:lnTo>
                    <a:pt x="542" y="1005"/>
                  </a:lnTo>
                  <a:lnTo>
                    <a:pt x="568" y="999"/>
                  </a:lnTo>
                  <a:lnTo>
                    <a:pt x="592" y="991"/>
                  </a:lnTo>
                  <a:lnTo>
                    <a:pt x="617" y="982"/>
                  </a:lnTo>
                  <a:lnTo>
                    <a:pt x="640" y="972"/>
                  </a:lnTo>
                  <a:lnTo>
                    <a:pt x="664" y="959"/>
                  </a:lnTo>
                  <a:lnTo>
                    <a:pt x="685" y="946"/>
                  </a:lnTo>
                  <a:lnTo>
                    <a:pt x="706" y="932"/>
                  </a:lnTo>
                  <a:lnTo>
                    <a:pt x="727" y="916"/>
                  </a:lnTo>
                  <a:lnTo>
                    <a:pt x="746" y="898"/>
                  </a:lnTo>
                  <a:lnTo>
                    <a:pt x="765" y="880"/>
                  </a:lnTo>
                  <a:lnTo>
                    <a:pt x="782" y="861"/>
                  </a:lnTo>
                  <a:lnTo>
                    <a:pt x="797" y="839"/>
                  </a:lnTo>
                  <a:lnTo>
                    <a:pt x="808" y="821"/>
                  </a:lnTo>
                  <a:lnTo>
                    <a:pt x="820" y="802"/>
                  </a:lnTo>
                  <a:lnTo>
                    <a:pt x="830" y="783"/>
                  </a:lnTo>
                  <a:lnTo>
                    <a:pt x="839" y="765"/>
                  </a:lnTo>
                  <a:lnTo>
                    <a:pt x="847" y="748"/>
                  </a:lnTo>
                  <a:lnTo>
                    <a:pt x="853" y="733"/>
                  </a:lnTo>
                  <a:lnTo>
                    <a:pt x="858" y="722"/>
                  </a:lnTo>
                  <a:lnTo>
                    <a:pt x="861" y="715"/>
                  </a:lnTo>
                  <a:lnTo>
                    <a:pt x="661" y="683"/>
                  </a:lnTo>
                  <a:lnTo>
                    <a:pt x="657" y="692"/>
                  </a:lnTo>
                  <a:lnTo>
                    <a:pt x="654" y="700"/>
                  </a:lnTo>
                  <a:lnTo>
                    <a:pt x="651" y="708"/>
                  </a:lnTo>
                  <a:lnTo>
                    <a:pt x="648" y="715"/>
                  </a:lnTo>
                  <a:lnTo>
                    <a:pt x="645" y="723"/>
                  </a:lnTo>
                  <a:lnTo>
                    <a:pt x="641" y="730"/>
                  </a:lnTo>
                  <a:lnTo>
                    <a:pt x="637" y="737"/>
                  </a:lnTo>
                  <a:lnTo>
                    <a:pt x="632" y="746"/>
                  </a:lnTo>
                  <a:lnTo>
                    <a:pt x="624" y="757"/>
                  </a:lnTo>
                  <a:lnTo>
                    <a:pt x="616" y="767"/>
                  </a:lnTo>
                  <a:lnTo>
                    <a:pt x="606" y="776"/>
                  </a:lnTo>
                  <a:lnTo>
                    <a:pt x="596" y="786"/>
                  </a:lnTo>
                  <a:lnTo>
                    <a:pt x="586" y="794"/>
                  </a:lnTo>
                  <a:lnTo>
                    <a:pt x="575" y="803"/>
                  </a:lnTo>
                  <a:lnTo>
                    <a:pt x="564" y="810"/>
                  </a:lnTo>
                  <a:lnTo>
                    <a:pt x="552" y="817"/>
                  </a:lnTo>
                  <a:lnTo>
                    <a:pt x="540" y="823"/>
                  </a:lnTo>
                  <a:lnTo>
                    <a:pt x="528" y="828"/>
                  </a:lnTo>
                  <a:lnTo>
                    <a:pt x="516" y="832"/>
                  </a:lnTo>
                  <a:lnTo>
                    <a:pt x="502" y="836"/>
                  </a:lnTo>
                  <a:lnTo>
                    <a:pt x="490" y="839"/>
                  </a:lnTo>
                  <a:lnTo>
                    <a:pt x="477" y="841"/>
                  </a:lnTo>
                  <a:lnTo>
                    <a:pt x="464" y="842"/>
                  </a:lnTo>
                  <a:lnTo>
                    <a:pt x="450" y="842"/>
                  </a:lnTo>
                  <a:lnTo>
                    <a:pt x="439" y="842"/>
                  </a:lnTo>
                  <a:lnTo>
                    <a:pt x="426" y="841"/>
                  </a:lnTo>
                  <a:lnTo>
                    <a:pt x="412" y="839"/>
                  </a:lnTo>
                  <a:lnTo>
                    <a:pt x="395" y="835"/>
                  </a:lnTo>
                  <a:lnTo>
                    <a:pt x="387" y="833"/>
                  </a:lnTo>
                  <a:lnTo>
                    <a:pt x="379" y="829"/>
                  </a:lnTo>
                  <a:lnTo>
                    <a:pt x="370" y="826"/>
                  </a:lnTo>
                  <a:lnTo>
                    <a:pt x="362" y="821"/>
                  </a:lnTo>
                  <a:lnTo>
                    <a:pt x="353" y="816"/>
                  </a:lnTo>
                  <a:lnTo>
                    <a:pt x="343" y="810"/>
                  </a:lnTo>
                  <a:lnTo>
                    <a:pt x="334" y="803"/>
                  </a:lnTo>
                  <a:lnTo>
                    <a:pt x="325" y="794"/>
                  </a:lnTo>
                  <a:lnTo>
                    <a:pt x="311" y="781"/>
                  </a:lnTo>
                  <a:lnTo>
                    <a:pt x="297" y="767"/>
                  </a:lnTo>
                  <a:lnTo>
                    <a:pt x="286" y="753"/>
                  </a:lnTo>
                  <a:lnTo>
                    <a:pt x="277" y="737"/>
                  </a:lnTo>
                  <a:lnTo>
                    <a:pt x="269" y="723"/>
                  </a:lnTo>
                  <a:lnTo>
                    <a:pt x="262" y="708"/>
                  </a:lnTo>
                  <a:lnTo>
                    <a:pt x="256" y="694"/>
                  </a:lnTo>
                  <a:lnTo>
                    <a:pt x="251" y="679"/>
                  </a:lnTo>
                  <a:lnTo>
                    <a:pt x="246" y="666"/>
                  </a:lnTo>
                  <a:lnTo>
                    <a:pt x="243" y="653"/>
                  </a:lnTo>
                  <a:lnTo>
                    <a:pt x="240" y="641"/>
                  </a:lnTo>
                  <a:lnTo>
                    <a:pt x="238" y="629"/>
                  </a:lnTo>
                  <a:lnTo>
                    <a:pt x="236" y="609"/>
                  </a:lnTo>
                  <a:lnTo>
                    <a:pt x="234" y="594"/>
                  </a:lnTo>
                  <a:lnTo>
                    <a:pt x="233" y="587"/>
                  </a:lnTo>
                  <a:lnTo>
                    <a:pt x="233" y="580"/>
                  </a:lnTo>
                  <a:lnTo>
                    <a:pt x="232" y="572"/>
                  </a:lnTo>
                  <a:lnTo>
                    <a:pt x="232" y="565"/>
                  </a:lnTo>
                  <a:lnTo>
                    <a:pt x="231" y="559"/>
                  </a:lnTo>
                  <a:lnTo>
                    <a:pt x="231" y="552"/>
                  </a:lnTo>
                  <a:lnTo>
                    <a:pt x="230" y="546"/>
                  </a:lnTo>
                  <a:lnTo>
                    <a:pt x="230" y="540"/>
                  </a:lnTo>
                  <a:lnTo>
                    <a:pt x="873" y="537"/>
                  </a:lnTo>
                  <a:close/>
                  <a:moveTo>
                    <a:pt x="225" y="397"/>
                  </a:moveTo>
                  <a:lnTo>
                    <a:pt x="227" y="380"/>
                  </a:lnTo>
                  <a:lnTo>
                    <a:pt x="229" y="365"/>
                  </a:lnTo>
                  <a:lnTo>
                    <a:pt x="231" y="353"/>
                  </a:lnTo>
                  <a:lnTo>
                    <a:pt x="233" y="342"/>
                  </a:lnTo>
                  <a:lnTo>
                    <a:pt x="235" y="332"/>
                  </a:lnTo>
                  <a:lnTo>
                    <a:pt x="238" y="323"/>
                  </a:lnTo>
                  <a:lnTo>
                    <a:pt x="241" y="315"/>
                  </a:lnTo>
                  <a:lnTo>
                    <a:pt x="245" y="306"/>
                  </a:lnTo>
                  <a:lnTo>
                    <a:pt x="252" y="290"/>
                  </a:lnTo>
                  <a:lnTo>
                    <a:pt x="258" y="277"/>
                  </a:lnTo>
                  <a:lnTo>
                    <a:pt x="265" y="265"/>
                  </a:lnTo>
                  <a:lnTo>
                    <a:pt x="272" y="253"/>
                  </a:lnTo>
                  <a:lnTo>
                    <a:pt x="280" y="243"/>
                  </a:lnTo>
                  <a:lnTo>
                    <a:pt x="288" y="232"/>
                  </a:lnTo>
                  <a:lnTo>
                    <a:pt x="296" y="223"/>
                  </a:lnTo>
                  <a:lnTo>
                    <a:pt x="305" y="215"/>
                  </a:lnTo>
                  <a:lnTo>
                    <a:pt x="321" y="201"/>
                  </a:lnTo>
                  <a:lnTo>
                    <a:pt x="337" y="190"/>
                  </a:lnTo>
                  <a:lnTo>
                    <a:pt x="351" y="180"/>
                  </a:lnTo>
                  <a:lnTo>
                    <a:pt x="364" y="174"/>
                  </a:lnTo>
                  <a:lnTo>
                    <a:pt x="369" y="171"/>
                  </a:lnTo>
                  <a:lnTo>
                    <a:pt x="376" y="168"/>
                  </a:lnTo>
                  <a:lnTo>
                    <a:pt x="384" y="165"/>
                  </a:lnTo>
                  <a:lnTo>
                    <a:pt x="393" y="162"/>
                  </a:lnTo>
                  <a:lnTo>
                    <a:pt x="404" y="160"/>
                  </a:lnTo>
                  <a:lnTo>
                    <a:pt x="415" y="157"/>
                  </a:lnTo>
                  <a:lnTo>
                    <a:pt x="428" y="156"/>
                  </a:lnTo>
                  <a:lnTo>
                    <a:pt x="441" y="155"/>
                  </a:lnTo>
                  <a:lnTo>
                    <a:pt x="450" y="155"/>
                  </a:lnTo>
                  <a:lnTo>
                    <a:pt x="462" y="156"/>
                  </a:lnTo>
                  <a:lnTo>
                    <a:pt x="474" y="158"/>
                  </a:lnTo>
                  <a:lnTo>
                    <a:pt x="488" y="162"/>
                  </a:lnTo>
                  <a:lnTo>
                    <a:pt x="503" y="167"/>
                  </a:lnTo>
                  <a:lnTo>
                    <a:pt x="520" y="174"/>
                  </a:lnTo>
                  <a:lnTo>
                    <a:pt x="537" y="185"/>
                  </a:lnTo>
                  <a:lnTo>
                    <a:pt x="555" y="197"/>
                  </a:lnTo>
                  <a:lnTo>
                    <a:pt x="568" y="207"/>
                  </a:lnTo>
                  <a:lnTo>
                    <a:pt x="579" y="217"/>
                  </a:lnTo>
                  <a:lnTo>
                    <a:pt x="589" y="227"/>
                  </a:lnTo>
                  <a:lnTo>
                    <a:pt x="598" y="238"/>
                  </a:lnTo>
                  <a:lnTo>
                    <a:pt x="606" y="250"/>
                  </a:lnTo>
                  <a:lnTo>
                    <a:pt x="614" y="261"/>
                  </a:lnTo>
                  <a:lnTo>
                    <a:pt x="620" y="273"/>
                  </a:lnTo>
                  <a:lnTo>
                    <a:pt x="626" y="285"/>
                  </a:lnTo>
                  <a:lnTo>
                    <a:pt x="631" y="299"/>
                  </a:lnTo>
                  <a:lnTo>
                    <a:pt x="635" y="311"/>
                  </a:lnTo>
                  <a:lnTo>
                    <a:pt x="639" y="324"/>
                  </a:lnTo>
                  <a:lnTo>
                    <a:pt x="642" y="338"/>
                  </a:lnTo>
                  <a:lnTo>
                    <a:pt x="647" y="367"/>
                  </a:lnTo>
                  <a:lnTo>
                    <a:pt x="652" y="397"/>
                  </a:lnTo>
                  <a:lnTo>
                    <a:pt x="225" y="397"/>
                  </a:lnTo>
                  <a:close/>
                </a:path>
              </a:pathLst>
            </a:custGeom>
            <a:solidFill>
              <a:srgbClr val="5E737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276" u="sng">
                <a:solidFill>
                  <a:srgbClr val="000000"/>
                </a:solidFill>
                <a:latin typeface="Arial" charset="0"/>
                <a:cs typeface="Arial"/>
              </a:endParaRPr>
            </a:p>
          </p:txBody>
        </p:sp>
        <p:sp>
          <p:nvSpPr>
            <p:cNvPr id="1056" name="Freeform 80"/>
            <p:cNvSpPr>
              <a:spLocks/>
            </p:cNvSpPr>
            <p:nvPr userDrawn="1"/>
          </p:nvSpPr>
          <p:spPr bwMode="auto">
            <a:xfrm>
              <a:off x="5861" y="361"/>
              <a:ext cx="40" cy="50"/>
            </a:xfrm>
            <a:custGeom>
              <a:avLst/>
              <a:gdLst>
                <a:gd name="T0" fmla="*/ 0 w 798"/>
                <a:gd name="T1" fmla="*/ 0 h 1000"/>
                <a:gd name="T2" fmla="*/ 0 w 798"/>
                <a:gd name="T3" fmla="*/ 0 h 1000"/>
                <a:gd name="T4" fmla="*/ 0 w 798"/>
                <a:gd name="T5" fmla="*/ 0 h 1000"/>
                <a:gd name="T6" fmla="*/ 0 w 798"/>
                <a:gd name="T7" fmla="*/ 0 h 1000"/>
                <a:gd name="T8" fmla="*/ 0 w 798"/>
                <a:gd name="T9" fmla="*/ 0 h 1000"/>
                <a:gd name="T10" fmla="*/ 0 w 798"/>
                <a:gd name="T11" fmla="*/ 0 h 1000"/>
                <a:gd name="T12" fmla="*/ 0 w 798"/>
                <a:gd name="T13" fmla="*/ 0 h 1000"/>
                <a:gd name="T14" fmla="*/ 0 w 798"/>
                <a:gd name="T15" fmla="*/ 0 h 1000"/>
                <a:gd name="T16" fmla="*/ 0 w 798"/>
                <a:gd name="T17" fmla="*/ 0 h 1000"/>
                <a:gd name="T18" fmla="*/ 0 w 798"/>
                <a:gd name="T19" fmla="*/ 0 h 1000"/>
                <a:gd name="T20" fmla="*/ 0 w 798"/>
                <a:gd name="T21" fmla="*/ 0 h 1000"/>
                <a:gd name="T22" fmla="*/ 0 w 798"/>
                <a:gd name="T23" fmla="*/ 0 h 1000"/>
                <a:gd name="T24" fmla="*/ 0 w 798"/>
                <a:gd name="T25" fmla="*/ 0 h 1000"/>
                <a:gd name="T26" fmla="*/ 0 w 798"/>
                <a:gd name="T27" fmla="*/ 0 h 1000"/>
                <a:gd name="T28" fmla="*/ 0 w 798"/>
                <a:gd name="T29" fmla="*/ 0 h 1000"/>
                <a:gd name="T30" fmla="*/ 0 w 798"/>
                <a:gd name="T31" fmla="*/ 0 h 1000"/>
                <a:gd name="T32" fmla="*/ 0 w 798"/>
                <a:gd name="T33" fmla="*/ 0 h 1000"/>
                <a:gd name="T34" fmla="*/ 0 w 798"/>
                <a:gd name="T35" fmla="*/ 0 h 1000"/>
                <a:gd name="T36" fmla="*/ 0 w 798"/>
                <a:gd name="T37" fmla="*/ 0 h 1000"/>
                <a:gd name="T38" fmla="*/ 0 w 798"/>
                <a:gd name="T39" fmla="*/ 0 h 1000"/>
                <a:gd name="T40" fmla="*/ 0 w 798"/>
                <a:gd name="T41" fmla="*/ 0 h 1000"/>
                <a:gd name="T42" fmla="*/ 0 w 798"/>
                <a:gd name="T43" fmla="*/ 0 h 1000"/>
                <a:gd name="T44" fmla="*/ 0 w 798"/>
                <a:gd name="T45" fmla="*/ 0 h 1000"/>
                <a:gd name="T46" fmla="*/ 0 w 798"/>
                <a:gd name="T47" fmla="*/ 0 h 1000"/>
                <a:gd name="T48" fmla="*/ 0 w 798"/>
                <a:gd name="T49" fmla="*/ 0 h 1000"/>
                <a:gd name="T50" fmla="*/ 0 w 798"/>
                <a:gd name="T51" fmla="*/ 0 h 1000"/>
                <a:gd name="T52" fmla="*/ 0 w 798"/>
                <a:gd name="T53" fmla="*/ 0 h 1000"/>
                <a:gd name="T54" fmla="*/ 0 w 798"/>
                <a:gd name="T55" fmla="*/ 0 h 1000"/>
                <a:gd name="T56" fmla="*/ 0 w 798"/>
                <a:gd name="T57" fmla="*/ 0 h 1000"/>
                <a:gd name="T58" fmla="*/ 0 w 798"/>
                <a:gd name="T59" fmla="*/ 0 h 1000"/>
                <a:gd name="T60" fmla="*/ 0 w 798"/>
                <a:gd name="T61" fmla="*/ 0 h 1000"/>
                <a:gd name="T62" fmla="*/ 0 w 798"/>
                <a:gd name="T63" fmla="*/ 0 h 1000"/>
                <a:gd name="T64" fmla="*/ 0 w 798"/>
                <a:gd name="T65" fmla="*/ 0 h 1000"/>
                <a:gd name="T66" fmla="*/ 0 w 798"/>
                <a:gd name="T67" fmla="*/ 0 h 1000"/>
                <a:gd name="T68" fmla="*/ 0 w 798"/>
                <a:gd name="T69" fmla="*/ 0 h 1000"/>
                <a:gd name="T70" fmla="*/ 0 w 798"/>
                <a:gd name="T71" fmla="*/ 0 h 1000"/>
                <a:gd name="T72" fmla="*/ 0 w 798"/>
                <a:gd name="T73" fmla="*/ 0 h 1000"/>
                <a:gd name="T74" fmla="*/ 0 w 798"/>
                <a:gd name="T75" fmla="*/ 0 h 1000"/>
                <a:gd name="T76" fmla="*/ 0 w 798"/>
                <a:gd name="T77" fmla="*/ 0 h 1000"/>
                <a:gd name="T78" fmla="*/ 0 w 798"/>
                <a:gd name="T79" fmla="*/ 0 h 1000"/>
                <a:gd name="T80" fmla="*/ 0 w 798"/>
                <a:gd name="T81" fmla="*/ 0 h 1000"/>
                <a:gd name="T82" fmla="*/ 0 w 798"/>
                <a:gd name="T83" fmla="*/ 0 h 1000"/>
                <a:gd name="T84" fmla="*/ 0 w 798"/>
                <a:gd name="T85" fmla="*/ 0 h 1000"/>
                <a:gd name="T86" fmla="*/ 0 w 798"/>
                <a:gd name="T87" fmla="*/ 0 h 1000"/>
                <a:gd name="T88" fmla="*/ 0 w 798"/>
                <a:gd name="T89" fmla="*/ 0 h 1000"/>
                <a:gd name="T90" fmla="*/ 0 w 798"/>
                <a:gd name="T91" fmla="*/ 0 h 1000"/>
                <a:gd name="T92" fmla="*/ 0 w 798"/>
                <a:gd name="T93" fmla="*/ 0 h 1000"/>
                <a:gd name="T94" fmla="*/ 0 w 798"/>
                <a:gd name="T95" fmla="*/ 0 h 1000"/>
                <a:gd name="T96" fmla="*/ 0 w 798"/>
                <a:gd name="T97" fmla="*/ 0 h 1000"/>
                <a:gd name="T98" fmla="*/ 0 w 798"/>
                <a:gd name="T99" fmla="*/ 0 h 1000"/>
                <a:gd name="T100" fmla="*/ 0 w 798"/>
                <a:gd name="T101" fmla="*/ 0 h 1000"/>
                <a:gd name="T102" fmla="*/ 0 w 798"/>
                <a:gd name="T103" fmla="*/ 0 h 1000"/>
                <a:gd name="T104" fmla="*/ 0 w 798"/>
                <a:gd name="T105" fmla="*/ 0 h 1000"/>
                <a:gd name="T106" fmla="*/ 0 w 798"/>
                <a:gd name="T107" fmla="*/ 0 h 1000"/>
                <a:gd name="T108" fmla="*/ 0 w 798"/>
                <a:gd name="T109" fmla="*/ 0 h 10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98" h="1000">
                  <a:moveTo>
                    <a:pt x="0" y="23"/>
                  </a:moveTo>
                  <a:lnTo>
                    <a:pt x="0" y="993"/>
                  </a:lnTo>
                  <a:lnTo>
                    <a:pt x="220" y="1000"/>
                  </a:lnTo>
                  <a:lnTo>
                    <a:pt x="220" y="483"/>
                  </a:lnTo>
                  <a:lnTo>
                    <a:pt x="222" y="446"/>
                  </a:lnTo>
                  <a:lnTo>
                    <a:pt x="225" y="410"/>
                  </a:lnTo>
                  <a:lnTo>
                    <a:pt x="228" y="391"/>
                  </a:lnTo>
                  <a:lnTo>
                    <a:pt x="231" y="374"/>
                  </a:lnTo>
                  <a:lnTo>
                    <a:pt x="234" y="358"/>
                  </a:lnTo>
                  <a:lnTo>
                    <a:pt x="239" y="340"/>
                  </a:lnTo>
                  <a:lnTo>
                    <a:pt x="244" y="324"/>
                  </a:lnTo>
                  <a:lnTo>
                    <a:pt x="251" y="309"/>
                  </a:lnTo>
                  <a:lnTo>
                    <a:pt x="259" y="293"/>
                  </a:lnTo>
                  <a:lnTo>
                    <a:pt x="268" y="278"/>
                  </a:lnTo>
                  <a:lnTo>
                    <a:pt x="278" y="264"/>
                  </a:lnTo>
                  <a:lnTo>
                    <a:pt x="290" y="251"/>
                  </a:lnTo>
                  <a:lnTo>
                    <a:pt x="303" y="237"/>
                  </a:lnTo>
                  <a:lnTo>
                    <a:pt x="319" y="225"/>
                  </a:lnTo>
                  <a:lnTo>
                    <a:pt x="328" y="218"/>
                  </a:lnTo>
                  <a:lnTo>
                    <a:pt x="336" y="212"/>
                  </a:lnTo>
                  <a:lnTo>
                    <a:pt x="344" y="207"/>
                  </a:lnTo>
                  <a:lnTo>
                    <a:pt x="352" y="202"/>
                  </a:lnTo>
                  <a:lnTo>
                    <a:pt x="369" y="195"/>
                  </a:lnTo>
                  <a:lnTo>
                    <a:pt x="384" y="190"/>
                  </a:lnTo>
                  <a:lnTo>
                    <a:pt x="397" y="186"/>
                  </a:lnTo>
                  <a:lnTo>
                    <a:pt x="411" y="183"/>
                  </a:lnTo>
                  <a:lnTo>
                    <a:pt x="421" y="182"/>
                  </a:lnTo>
                  <a:lnTo>
                    <a:pt x="430" y="181"/>
                  </a:lnTo>
                  <a:lnTo>
                    <a:pt x="448" y="182"/>
                  </a:lnTo>
                  <a:lnTo>
                    <a:pt x="465" y="186"/>
                  </a:lnTo>
                  <a:lnTo>
                    <a:pt x="479" y="190"/>
                  </a:lnTo>
                  <a:lnTo>
                    <a:pt x="492" y="195"/>
                  </a:lnTo>
                  <a:lnTo>
                    <a:pt x="503" y="201"/>
                  </a:lnTo>
                  <a:lnTo>
                    <a:pt x="514" y="206"/>
                  </a:lnTo>
                  <a:lnTo>
                    <a:pt x="521" y="212"/>
                  </a:lnTo>
                  <a:lnTo>
                    <a:pt x="528" y="217"/>
                  </a:lnTo>
                  <a:lnTo>
                    <a:pt x="538" y="227"/>
                  </a:lnTo>
                  <a:lnTo>
                    <a:pt x="546" y="237"/>
                  </a:lnTo>
                  <a:lnTo>
                    <a:pt x="554" y="248"/>
                  </a:lnTo>
                  <a:lnTo>
                    <a:pt x="561" y="259"/>
                  </a:lnTo>
                  <a:lnTo>
                    <a:pt x="567" y="270"/>
                  </a:lnTo>
                  <a:lnTo>
                    <a:pt x="572" y="281"/>
                  </a:lnTo>
                  <a:lnTo>
                    <a:pt x="576" y="293"/>
                  </a:lnTo>
                  <a:lnTo>
                    <a:pt x="579" y="306"/>
                  </a:lnTo>
                  <a:lnTo>
                    <a:pt x="583" y="331"/>
                  </a:lnTo>
                  <a:lnTo>
                    <a:pt x="585" y="358"/>
                  </a:lnTo>
                  <a:lnTo>
                    <a:pt x="587" y="384"/>
                  </a:lnTo>
                  <a:lnTo>
                    <a:pt x="587" y="412"/>
                  </a:lnTo>
                  <a:lnTo>
                    <a:pt x="587" y="1000"/>
                  </a:lnTo>
                  <a:lnTo>
                    <a:pt x="798" y="1000"/>
                  </a:lnTo>
                  <a:lnTo>
                    <a:pt x="798" y="339"/>
                  </a:lnTo>
                  <a:lnTo>
                    <a:pt x="797" y="333"/>
                  </a:lnTo>
                  <a:lnTo>
                    <a:pt x="796" y="323"/>
                  </a:lnTo>
                  <a:lnTo>
                    <a:pt x="796" y="311"/>
                  </a:lnTo>
                  <a:lnTo>
                    <a:pt x="795" y="296"/>
                  </a:lnTo>
                  <a:lnTo>
                    <a:pt x="793" y="281"/>
                  </a:lnTo>
                  <a:lnTo>
                    <a:pt x="791" y="264"/>
                  </a:lnTo>
                  <a:lnTo>
                    <a:pt x="788" y="247"/>
                  </a:lnTo>
                  <a:lnTo>
                    <a:pt x="785" y="230"/>
                  </a:lnTo>
                  <a:lnTo>
                    <a:pt x="780" y="213"/>
                  </a:lnTo>
                  <a:lnTo>
                    <a:pt x="776" y="198"/>
                  </a:lnTo>
                  <a:lnTo>
                    <a:pt x="771" y="184"/>
                  </a:lnTo>
                  <a:lnTo>
                    <a:pt x="765" y="171"/>
                  </a:lnTo>
                  <a:lnTo>
                    <a:pt x="760" y="161"/>
                  </a:lnTo>
                  <a:lnTo>
                    <a:pt x="756" y="151"/>
                  </a:lnTo>
                  <a:lnTo>
                    <a:pt x="752" y="143"/>
                  </a:lnTo>
                  <a:lnTo>
                    <a:pt x="749" y="137"/>
                  </a:lnTo>
                  <a:lnTo>
                    <a:pt x="742" y="125"/>
                  </a:lnTo>
                  <a:lnTo>
                    <a:pt x="734" y="113"/>
                  </a:lnTo>
                  <a:lnTo>
                    <a:pt x="726" y="102"/>
                  </a:lnTo>
                  <a:lnTo>
                    <a:pt x="717" y="91"/>
                  </a:lnTo>
                  <a:lnTo>
                    <a:pt x="707" y="81"/>
                  </a:lnTo>
                  <a:lnTo>
                    <a:pt x="698" y="71"/>
                  </a:lnTo>
                  <a:lnTo>
                    <a:pt x="688" y="62"/>
                  </a:lnTo>
                  <a:lnTo>
                    <a:pt x="678" y="54"/>
                  </a:lnTo>
                  <a:lnTo>
                    <a:pt x="667" y="47"/>
                  </a:lnTo>
                  <a:lnTo>
                    <a:pt x="652" y="38"/>
                  </a:lnTo>
                  <a:lnTo>
                    <a:pt x="635" y="30"/>
                  </a:lnTo>
                  <a:lnTo>
                    <a:pt x="615" y="21"/>
                  </a:lnTo>
                  <a:lnTo>
                    <a:pt x="591" y="13"/>
                  </a:lnTo>
                  <a:lnTo>
                    <a:pt x="565" y="6"/>
                  </a:lnTo>
                  <a:lnTo>
                    <a:pt x="550" y="4"/>
                  </a:lnTo>
                  <a:lnTo>
                    <a:pt x="535" y="2"/>
                  </a:lnTo>
                  <a:lnTo>
                    <a:pt x="520" y="0"/>
                  </a:lnTo>
                  <a:lnTo>
                    <a:pt x="503" y="0"/>
                  </a:lnTo>
                  <a:lnTo>
                    <a:pt x="489" y="0"/>
                  </a:lnTo>
                  <a:lnTo>
                    <a:pt x="475" y="1"/>
                  </a:lnTo>
                  <a:lnTo>
                    <a:pt x="462" y="2"/>
                  </a:lnTo>
                  <a:lnTo>
                    <a:pt x="449" y="4"/>
                  </a:lnTo>
                  <a:lnTo>
                    <a:pt x="425" y="9"/>
                  </a:lnTo>
                  <a:lnTo>
                    <a:pt x="402" y="15"/>
                  </a:lnTo>
                  <a:lnTo>
                    <a:pt x="382" y="24"/>
                  </a:lnTo>
                  <a:lnTo>
                    <a:pt x="363" y="33"/>
                  </a:lnTo>
                  <a:lnTo>
                    <a:pt x="345" y="43"/>
                  </a:lnTo>
                  <a:lnTo>
                    <a:pt x="329" y="54"/>
                  </a:lnTo>
                  <a:lnTo>
                    <a:pt x="315" y="65"/>
                  </a:lnTo>
                  <a:lnTo>
                    <a:pt x="301" y="78"/>
                  </a:lnTo>
                  <a:lnTo>
                    <a:pt x="289" y="89"/>
                  </a:lnTo>
                  <a:lnTo>
                    <a:pt x="279" y="101"/>
                  </a:lnTo>
                  <a:lnTo>
                    <a:pt x="261" y="124"/>
                  </a:lnTo>
                  <a:lnTo>
                    <a:pt x="247" y="144"/>
                  </a:lnTo>
                  <a:lnTo>
                    <a:pt x="241" y="154"/>
                  </a:lnTo>
                  <a:lnTo>
                    <a:pt x="235" y="165"/>
                  </a:lnTo>
                  <a:lnTo>
                    <a:pt x="228" y="176"/>
                  </a:lnTo>
                  <a:lnTo>
                    <a:pt x="222" y="189"/>
                  </a:lnTo>
                  <a:lnTo>
                    <a:pt x="217" y="200"/>
                  </a:lnTo>
                  <a:lnTo>
                    <a:pt x="211" y="211"/>
                  </a:lnTo>
                  <a:lnTo>
                    <a:pt x="205" y="222"/>
                  </a:lnTo>
                  <a:lnTo>
                    <a:pt x="201" y="232"/>
                  </a:lnTo>
                  <a:lnTo>
                    <a:pt x="201" y="23"/>
                  </a:lnTo>
                  <a:lnTo>
                    <a:pt x="0" y="23"/>
                  </a:lnTo>
                  <a:close/>
                </a:path>
              </a:pathLst>
            </a:custGeom>
            <a:solidFill>
              <a:srgbClr val="5E737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276" u="sng">
                <a:solidFill>
                  <a:srgbClr val="000000"/>
                </a:solidFill>
                <a:latin typeface="Arial" charset="0"/>
                <a:cs typeface="Arial"/>
              </a:endParaRPr>
            </a:p>
          </p:txBody>
        </p:sp>
        <p:sp>
          <p:nvSpPr>
            <p:cNvPr id="1057" name="Freeform 81"/>
            <p:cNvSpPr>
              <a:spLocks/>
            </p:cNvSpPr>
            <p:nvPr userDrawn="1"/>
          </p:nvSpPr>
          <p:spPr bwMode="auto">
            <a:xfrm>
              <a:off x="5911" y="362"/>
              <a:ext cx="41" cy="50"/>
            </a:xfrm>
            <a:custGeom>
              <a:avLst/>
              <a:gdLst>
                <a:gd name="T0" fmla="*/ 0 w 817"/>
                <a:gd name="T1" fmla="*/ 0 h 1014"/>
                <a:gd name="T2" fmla="*/ 0 w 817"/>
                <a:gd name="T3" fmla="*/ 0 h 1014"/>
                <a:gd name="T4" fmla="*/ 0 w 817"/>
                <a:gd name="T5" fmla="*/ 0 h 1014"/>
                <a:gd name="T6" fmla="*/ 0 w 817"/>
                <a:gd name="T7" fmla="*/ 0 h 1014"/>
                <a:gd name="T8" fmla="*/ 0 w 817"/>
                <a:gd name="T9" fmla="*/ 0 h 1014"/>
                <a:gd name="T10" fmla="*/ 0 w 817"/>
                <a:gd name="T11" fmla="*/ 0 h 1014"/>
                <a:gd name="T12" fmla="*/ 0 w 817"/>
                <a:gd name="T13" fmla="*/ 0 h 1014"/>
                <a:gd name="T14" fmla="*/ 0 w 817"/>
                <a:gd name="T15" fmla="*/ 0 h 1014"/>
                <a:gd name="T16" fmla="*/ 0 w 817"/>
                <a:gd name="T17" fmla="*/ 0 h 1014"/>
                <a:gd name="T18" fmla="*/ 0 w 817"/>
                <a:gd name="T19" fmla="*/ 0 h 1014"/>
                <a:gd name="T20" fmla="*/ 0 w 817"/>
                <a:gd name="T21" fmla="*/ 0 h 1014"/>
                <a:gd name="T22" fmla="*/ 0 w 817"/>
                <a:gd name="T23" fmla="*/ 0 h 1014"/>
                <a:gd name="T24" fmla="*/ 0 w 817"/>
                <a:gd name="T25" fmla="*/ 0 h 1014"/>
                <a:gd name="T26" fmla="*/ 0 w 817"/>
                <a:gd name="T27" fmla="*/ 0 h 1014"/>
                <a:gd name="T28" fmla="*/ 0 w 817"/>
                <a:gd name="T29" fmla="*/ 0 h 1014"/>
                <a:gd name="T30" fmla="*/ 0 w 817"/>
                <a:gd name="T31" fmla="*/ 0 h 1014"/>
                <a:gd name="T32" fmla="*/ 0 w 817"/>
                <a:gd name="T33" fmla="*/ 0 h 1014"/>
                <a:gd name="T34" fmla="*/ 0 w 817"/>
                <a:gd name="T35" fmla="*/ 0 h 1014"/>
                <a:gd name="T36" fmla="*/ 0 w 817"/>
                <a:gd name="T37" fmla="*/ 0 h 1014"/>
                <a:gd name="T38" fmla="*/ 0 w 817"/>
                <a:gd name="T39" fmla="*/ 0 h 1014"/>
                <a:gd name="T40" fmla="*/ 0 w 817"/>
                <a:gd name="T41" fmla="*/ 0 h 1014"/>
                <a:gd name="T42" fmla="*/ 0 w 817"/>
                <a:gd name="T43" fmla="*/ 0 h 1014"/>
                <a:gd name="T44" fmla="*/ 0 w 817"/>
                <a:gd name="T45" fmla="*/ 0 h 1014"/>
                <a:gd name="T46" fmla="*/ 0 w 817"/>
                <a:gd name="T47" fmla="*/ 0 h 1014"/>
                <a:gd name="T48" fmla="*/ 0 w 817"/>
                <a:gd name="T49" fmla="*/ 0 h 1014"/>
                <a:gd name="T50" fmla="*/ 0 w 817"/>
                <a:gd name="T51" fmla="*/ 0 h 1014"/>
                <a:gd name="T52" fmla="*/ 0 w 817"/>
                <a:gd name="T53" fmla="*/ 0 h 1014"/>
                <a:gd name="T54" fmla="*/ 0 w 817"/>
                <a:gd name="T55" fmla="*/ 0 h 1014"/>
                <a:gd name="T56" fmla="*/ 0 w 817"/>
                <a:gd name="T57" fmla="*/ 0 h 1014"/>
                <a:gd name="T58" fmla="*/ 0 w 817"/>
                <a:gd name="T59" fmla="*/ 0 h 1014"/>
                <a:gd name="T60" fmla="*/ 0 w 817"/>
                <a:gd name="T61" fmla="*/ 0 h 1014"/>
                <a:gd name="T62" fmla="*/ 0 w 817"/>
                <a:gd name="T63" fmla="*/ 0 h 1014"/>
                <a:gd name="T64" fmla="*/ 0 w 817"/>
                <a:gd name="T65" fmla="*/ 0 h 1014"/>
                <a:gd name="T66" fmla="*/ 0 w 817"/>
                <a:gd name="T67" fmla="*/ 0 h 1014"/>
                <a:gd name="T68" fmla="*/ 0 w 817"/>
                <a:gd name="T69" fmla="*/ 0 h 1014"/>
                <a:gd name="T70" fmla="*/ 0 w 817"/>
                <a:gd name="T71" fmla="*/ 0 h 1014"/>
                <a:gd name="T72" fmla="*/ 0 w 817"/>
                <a:gd name="T73" fmla="*/ 0 h 1014"/>
                <a:gd name="T74" fmla="*/ 0 w 817"/>
                <a:gd name="T75" fmla="*/ 0 h 1014"/>
                <a:gd name="T76" fmla="*/ 0 w 817"/>
                <a:gd name="T77" fmla="*/ 0 h 1014"/>
                <a:gd name="T78" fmla="*/ 0 w 817"/>
                <a:gd name="T79" fmla="*/ 0 h 1014"/>
                <a:gd name="T80" fmla="*/ 0 w 817"/>
                <a:gd name="T81" fmla="*/ 0 h 1014"/>
                <a:gd name="T82" fmla="*/ 0 w 817"/>
                <a:gd name="T83" fmla="*/ 0 h 1014"/>
                <a:gd name="T84" fmla="*/ 0 w 817"/>
                <a:gd name="T85" fmla="*/ 0 h 1014"/>
                <a:gd name="T86" fmla="*/ 0 w 817"/>
                <a:gd name="T87" fmla="*/ 0 h 1014"/>
                <a:gd name="T88" fmla="*/ 0 w 817"/>
                <a:gd name="T89" fmla="*/ 0 h 1014"/>
                <a:gd name="T90" fmla="*/ 0 w 817"/>
                <a:gd name="T91" fmla="*/ 0 h 1014"/>
                <a:gd name="T92" fmla="*/ 0 w 817"/>
                <a:gd name="T93" fmla="*/ 0 h 1014"/>
                <a:gd name="T94" fmla="*/ 0 w 817"/>
                <a:gd name="T95" fmla="*/ 0 h 1014"/>
                <a:gd name="T96" fmla="*/ 0 w 817"/>
                <a:gd name="T97" fmla="*/ 0 h 1014"/>
                <a:gd name="T98" fmla="*/ 0 w 817"/>
                <a:gd name="T99" fmla="*/ 0 h 1014"/>
                <a:gd name="T100" fmla="*/ 0 w 817"/>
                <a:gd name="T101" fmla="*/ 0 h 1014"/>
                <a:gd name="T102" fmla="*/ 0 w 817"/>
                <a:gd name="T103" fmla="*/ 0 h 1014"/>
                <a:gd name="T104" fmla="*/ 0 w 817"/>
                <a:gd name="T105" fmla="*/ 0 h 1014"/>
                <a:gd name="T106" fmla="*/ 0 w 817"/>
                <a:gd name="T107" fmla="*/ 0 h 1014"/>
                <a:gd name="T108" fmla="*/ 0 w 817"/>
                <a:gd name="T109" fmla="*/ 0 h 1014"/>
                <a:gd name="T110" fmla="*/ 0 w 817"/>
                <a:gd name="T111" fmla="*/ 0 h 1014"/>
                <a:gd name="T112" fmla="*/ 0 w 817"/>
                <a:gd name="T113" fmla="*/ 0 h 1014"/>
                <a:gd name="T114" fmla="*/ 0 w 817"/>
                <a:gd name="T115" fmla="*/ 0 h 101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817" h="1014">
                  <a:moveTo>
                    <a:pt x="817" y="341"/>
                  </a:moveTo>
                  <a:lnTo>
                    <a:pt x="815" y="332"/>
                  </a:lnTo>
                  <a:lnTo>
                    <a:pt x="812" y="320"/>
                  </a:lnTo>
                  <a:lnTo>
                    <a:pt x="808" y="305"/>
                  </a:lnTo>
                  <a:lnTo>
                    <a:pt x="803" y="286"/>
                  </a:lnTo>
                  <a:lnTo>
                    <a:pt x="797" y="267"/>
                  </a:lnTo>
                  <a:lnTo>
                    <a:pt x="789" y="246"/>
                  </a:lnTo>
                  <a:lnTo>
                    <a:pt x="781" y="224"/>
                  </a:lnTo>
                  <a:lnTo>
                    <a:pt x="771" y="203"/>
                  </a:lnTo>
                  <a:lnTo>
                    <a:pt x="763" y="186"/>
                  </a:lnTo>
                  <a:lnTo>
                    <a:pt x="754" y="170"/>
                  </a:lnTo>
                  <a:lnTo>
                    <a:pt x="744" y="155"/>
                  </a:lnTo>
                  <a:lnTo>
                    <a:pt x="733" y="141"/>
                  </a:lnTo>
                  <a:lnTo>
                    <a:pt x="723" y="128"/>
                  </a:lnTo>
                  <a:lnTo>
                    <a:pt x="712" y="115"/>
                  </a:lnTo>
                  <a:lnTo>
                    <a:pt x="701" y="104"/>
                  </a:lnTo>
                  <a:lnTo>
                    <a:pt x="689" y="93"/>
                  </a:lnTo>
                  <a:lnTo>
                    <a:pt x="677" y="83"/>
                  </a:lnTo>
                  <a:lnTo>
                    <a:pt x="666" y="74"/>
                  </a:lnTo>
                  <a:lnTo>
                    <a:pt x="654" y="65"/>
                  </a:lnTo>
                  <a:lnTo>
                    <a:pt x="642" y="57"/>
                  </a:lnTo>
                  <a:lnTo>
                    <a:pt x="629" y="50"/>
                  </a:lnTo>
                  <a:lnTo>
                    <a:pt x="617" y="44"/>
                  </a:lnTo>
                  <a:lnTo>
                    <a:pt x="604" y="38"/>
                  </a:lnTo>
                  <a:lnTo>
                    <a:pt x="592" y="32"/>
                  </a:lnTo>
                  <a:lnTo>
                    <a:pt x="567" y="23"/>
                  </a:lnTo>
                  <a:lnTo>
                    <a:pt x="544" y="16"/>
                  </a:lnTo>
                  <a:lnTo>
                    <a:pt x="520" y="10"/>
                  </a:lnTo>
                  <a:lnTo>
                    <a:pt x="498" y="6"/>
                  </a:lnTo>
                  <a:lnTo>
                    <a:pt x="477" y="3"/>
                  </a:lnTo>
                  <a:lnTo>
                    <a:pt x="459" y="1"/>
                  </a:lnTo>
                  <a:lnTo>
                    <a:pt x="443" y="1"/>
                  </a:lnTo>
                  <a:lnTo>
                    <a:pt x="428" y="0"/>
                  </a:lnTo>
                  <a:lnTo>
                    <a:pt x="410" y="1"/>
                  </a:lnTo>
                  <a:lnTo>
                    <a:pt x="394" y="2"/>
                  </a:lnTo>
                  <a:lnTo>
                    <a:pt x="377" y="3"/>
                  </a:lnTo>
                  <a:lnTo>
                    <a:pt x="361" y="5"/>
                  </a:lnTo>
                  <a:lnTo>
                    <a:pt x="346" y="8"/>
                  </a:lnTo>
                  <a:lnTo>
                    <a:pt x="330" y="11"/>
                  </a:lnTo>
                  <a:lnTo>
                    <a:pt x="316" y="16"/>
                  </a:lnTo>
                  <a:lnTo>
                    <a:pt x="302" y="20"/>
                  </a:lnTo>
                  <a:lnTo>
                    <a:pt x="275" y="29"/>
                  </a:lnTo>
                  <a:lnTo>
                    <a:pt x="251" y="39"/>
                  </a:lnTo>
                  <a:lnTo>
                    <a:pt x="227" y="51"/>
                  </a:lnTo>
                  <a:lnTo>
                    <a:pt x="206" y="64"/>
                  </a:lnTo>
                  <a:lnTo>
                    <a:pt x="187" y="78"/>
                  </a:lnTo>
                  <a:lnTo>
                    <a:pt x="169" y="91"/>
                  </a:lnTo>
                  <a:lnTo>
                    <a:pt x="153" y="105"/>
                  </a:lnTo>
                  <a:lnTo>
                    <a:pt x="139" y="119"/>
                  </a:lnTo>
                  <a:lnTo>
                    <a:pt x="126" y="133"/>
                  </a:lnTo>
                  <a:lnTo>
                    <a:pt x="115" y="146"/>
                  </a:lnTo>
                  <a:lnTo>
                    <a:pt x="106" y="158"/>
                  </a:lnTo>
                  <a:lnTo>
                    <a:pt x="98" y="169"/>
                  </a:lnTo>
                  <a:lnTo>
                    <a:pt x="81" y="194"/>
                  </a:lnTo>
                  <a:lnTo>
                    <a:pt x="66" y="218"/>
                  </a:lnTo>
                  <a:lnTo>
                    <a:pt x="54" y="244"/>
                  </a:lnTo>
                  <a:lnTo>
                    <a:pt x="43" y="269"/>
                  </a:lnTo>
                  <a:lnTo>
                    <a:pt x="34" y="295"/>
                  </a:lnTo>
                  <a:lnTo>
                    <a:pt x="25" y="319"/>
                  </a:lnTo>
                  <a:lnTo>
                    <a:pt x="19" y="343"/>
                  </a:lnTo>
                  <a:lnTo>
                    <a:pt x="13" y="367"/>
                  </a:lnTo>
                  <a:lnTo>
                    <a:pt x="9" y="389"/>
                  </a:lnTo>
                  <a:lnTo>
                    <a:pt x="6" y="411"/>
                  </a:lnTo>
                  <a:lnTo>
                    <a:pt x="4" y="431"/>
                  </a:lnTo>
                  <a:lnTo>
                    <a:pt x="2" y="450"/>
                  </a:lnTo>
                  <a:lnTo>
                    <a:pt x="0" y="482"/>
                  </a:lnTo>
                  <a:lnTo>
                    <a:pt x="0" y="506"/>
                  </a:lnTo>
                  <a:lnTo>
                    <a:pt x="1" y="539"/>
                  </a:lnTo>
                  <a:lnTo>
                    <a:pt x="3" y="570"/>
                  </a:lnTo>
                  <a:lnTo>
                    <a:pt x="6" y="600"/>
                  </a:lnTo>
                  <a:lnTo>
                    <a:pt x="10" y="628"/>
                  </a:lnTo>
                  <a:lnTo>
                    <a:pt x="15" y="655"/>
                  </a:lnTo>
                  <a:lnTo>
                    <a:pt x="21" y="680"/>
                  </a:lnTo>
                  <a:lnTo>
                    <a:pt x="28" y="704"/>
                  </a:lnTo>
                  <a:lnTo>
                    <a:pt x="36" y="726"/>
                  </a:lnTo>
                  <a:lnTo>
                    <a:pt x="43" y="748"/>
                  </a:lnTo>
                  <a:lnTo>
                    <a:pt x="51" y="767"/>
                  </a:lnTo>
                  <a:lnTo>
                    <a:pt x="59" y="785"/>
                  </a:lnTo>
                  <a:lnTo>
                    <a:pt x="68" y="803"/>
                  </a:lnTo>
                  <a:lnTo>
                    <a:pt x="76" y="818"/>
                  </a:lnTo>
                  <a:lnTo>
                    <a:pt x="86" y="832"/>
                  </a:lnTo>
                  <a:lnTo>
                    <a:pt x="94" y="845"/>
                  </a:lnTo>
                  <a:lnTo>
                    <a:pt x="102" y="857"/>
                  </a:lnTo>
                  <a:lnTo>
                    <a:pt x="111" y="870"/>
                  </a:lnTo>
                  <a:lnTo>
                    <a:pt x="120" y="882"/>
                  </a:lnTo>
                  <a:lnTo>
                    <a:pt x="130" y="893"/>
                  </a:lnTo>
                  <a:lnTo>
                    <a:pt x="139" y="902"/>
                  </a:lnTo>
                  <a:lnTo>
                    <a:pt x="146" y="911"/>
                  </a:lnTo>
                  <a:lnTo>
                    <a:pt x="153" y="918"/>
                  </a:lnTo>
                  <a:lnTo>
                    <a:pt x="160" y="924"/>
                  </a:lnTo>
                  <a:lnTo>
                    <a:pt x="165" y="928"/>
                  </a:lnTo>
                  <a:lnTo>
                    <a:pt x="184" y="942"/>
                  </a:lnTo>
                  <a:lnTo>
                    <a:pt x="202" y="954"/>
                  </a:lnTo>
                  <a:lnTo>
                    <a:pt x="220" y="966"/>
                  </a:lnTo>
                  <a:lnTo>
                    <a:pt x="240" y="975"/>
                  </a:lnTo>
                  <a:lnTo>
                    <a:pt x="258" y="983"/>
                  </a:lnTo>
                  <a:lnTo>
                    <a:pt x="277" y="990"/>
                  </a:lnTo>
                  <a:lnTo>
                    <a:pt x="296" y="996"/>
                  </a:lnTo>
                  <a:lnTo>
                    <a:pt x="313" y="1000"/>
                  </a:lnTo>
                  <a:lnTo>
                    <a:pt x="330" y="1004"/>
                  </a:lnTo>
                  <a:lnTo>
                    <a:pt x="347" y="1007"/>
                  </a:lnTo>
                  <a:lnTo>
                    <a:pt x="362" y="1010"/>
                  </a:lnTo>
                  <a:lnTo>
                    <a:pt x="376" y="1011"/>
                  </a:lnTo>
                  <a:lnTo>
                    <a:pt x="402" y="1013"/>
                  </a:lnTo>
                  <a:lnTo>
                    <a:pt x="420" y="1014"/>
                  </a:lnTo>
                  <a:lnTo>
                    <a:pt x="442" y="1013"/>
                  </a:lnTo>
                  <a:lnTo>
                    <a:pt x="461" y="1012"/>
                  </a:lnTo>
                  <a:lnTo>
                    <a:pt x="480" y="1010"/>
                  </a:lnTo>
                  <a:lnTo>
                    <a:pt x="499" y="1007"/>
                  </a:lnTo>
                  <a:lnTo>
                    <a:pt x="516" y="1004"/>
                  </a:lnTo>
                  <a:lnTo>
                    <a:pt x="532" y="1000"/>
                  </a:lnTo>
                  <a:lnTo>
                    <a:pt x="548" y="996"/>
                  </a:lnTo>
                  <a:lnTo>
                    <a:pt x="563" y="991"/>
                  </a:lnTo>
                  <a:lnTo>
                    <a:pt x="589" y="981"/>
                  </a:lnTo>
                  <a:lnTo>
                    <a:pt x="611" y="970"/>
                  </a:lnTo>
                  <a:lnTo>
                    <a:pt x="630" y="959"/>
                  </a:lnTo>
                  <a:lnTo>
                    <a:pt x="646" y="950"/>
                  </a:lnTo>
                  <a:lnTo>
                    <a:pt x="651" y="946"/>
                  </a:lnTo>
                  <a:lnTo>
                    <a:pt x="658" y="941"/>
                  </a:lnTo>
                  <a:lnTo>
                    <a:pt x="667" y="934"/>
                  </a:lnTo>
                  <a:lnTo>
                    <a:pt x="676" y="927"/>
                  </a:lnTo>
                  <a:lnTo>
                    <a:pt x="686" y="917"/>
                  </a:lnTo>
                  <a:lnTo>
                    <a:pt x="698" y="906"/>
                  </a:lnTo>
                  <a:lnTo>
                    <a:pt x="709" y="894"/>
                  </a:lnTo>
                  <a:lnTo>
                    <a:pt x="721" y="881"/>
                  </a:lnTo>
                  <a:lnTo>
                    <a:pt x="733" y="865"/>
                  </a:lnTo>
                  <a:lnTo>
                    <a:pt x="745" y="848"/>
                  </a:lnTo>
                  <a:lnTo>
                    <a:pt x="755" y="832"/>
                  </a:lnTo>
                  <a:lnTo>
                    <a:pt x="764" y="816"/>
                  </a:lnTo>
                  <a:lnTo>
                    <a:pt x="772" y="801"/>
                  </a:lnTo>
                  <a:lnTo>
                    <a:pt x="779" y="784"/>
                  </a:lnTo>
                  <a:lnTo>
                    <a:pt x="786" y="770"/>
                  </a:lnTo>
                  <a:lnTo>
                    <a:pt x="791" y="755"/>
                  </a:lnTo>
                  <a:lnTo>
                    <a:pt x="801" y="727"/>
                  </a:lnTo>
                  <a:lnTo>
                    <a:pt x="807" y="703"/>
                  </a:lnTo>
                  <a:lnTo>
                    <a:pt x="811" y="681"/>
                  </a:lnTo>
                  <a:lnTo>
                    <a:pt x="815" y="664"/>
                  </a:lnTo>
                  <a:lnTo>
                    <a:pt x="640" y="647"/>
                  </a:lnTo>
                  <a:lnTo>
                    <a:pt x="630" y="670"/>
                  </a:lnTo>
                  <a:lnTo>
                    <a:pt x="620" y="692"/>
                  </a:lnTo>
                  <a:lnTo>
                    <a:pt x="610" y="713"/>
                  </a:lnTo>
                  <a:lnTo>
                    <a:pt x="598" y="733"/>
                  </a:lnTo>
                  <a:lnTo>
                    <a:pt x="592" y="743"/>
                  </a:lnTo>
                  <a:lnTo>
                    <a:pt x="584" y="752"/>
                  </a:lnTo>
                  <a:lnTo>
                    <a:pt x="577" y="761"/>
                  </a:lnTo>
                  <a:lnTo>
                    <a:pt x="570" y="770"/>
                  </a:lnTo>
                  <a:lnTo>
                    <a:pt x="562" y="778"/>
                  </a:lnTo>
                  <a:lnTo>
                    <a:pt x="553" y="786"/>
                  </a:lnTo>
                  <a:lnTo>
                    <a:pt x="544" y="793"/>
                  </a:lnTo>
                  <a:lnTo>
                    <a:pt x="533" y="801"/>
                  </a:lnTo>
                  <a:lnTo>
                    <a:pt x="519" y="809"/>
                  </a:lnTo>
                  <a:lnTo>
                    <a:pt x="506" y="815"/>
                  </a:lnTo>
                  <a:lnTo>
                    <a:pt x="493" y="820"/>
                  </a:lnTo>
                  <a:lnTo>
                    <a:pt x="479" y="823"/>
                  </a:lnTo>
                  <a:lnTo>
                    <a:pt x="468" y="825"/>
                  </a:lnTo>
                  <a:lnTo>
                    <a:pt x="457" y="826"/>
                  </a:lnTo>
                  <a:lnTo>
                    <a:pt x="448" y="827"/>
                  </a:lnTo>
                  <a:lnTo>
                    <a:pt x="439" y="827"/>
                  </a:lnTo>
                  <a:lnTo>
                    <a:pt x="427" y="827"/>
                  </a:lnTo>
                  <a:lnTo>
                    <a:pt x="417" y="826"/>
                  </a:lnTo>
                  <a:lnTo>
                    <a:pt x="407" y="825"/>
                  </a:lnTo>
                  <a:lnTo>
                    <a:pt x="397" y="823"/>
                  </a:lnTo>
                  <a:lnTo>
                    <a:pt x="379" y="818"/>
                  </a:lnTo>
                  <a:lnTo>
                    <a:pt x="363" y="812"/>
                  </a:lnTo>
                  <a:lnTo>
                    <a:pt x="350" y="806"/>
                  </a:lnTo>
                  <a:lnTo>
                    <a:pt x="338" y="799"/>
                  </a:lnTo>
                  <a:lnTo>
                    <a:pt x="328" y="791"/>
                  </a:lnTo>
                  <a:lnTo>
                    <a:pt x="321" y="785"/>
                  </a:lnTo>
                  <a:lnTo>
                    <a:pt x="308" y="774"/>
                  </a:lnTo>
                  <a:lnTo>
                    <a:pt x="297" y="762"/>
                  </a:lnTo>
                  <a:lnTo>
                    <a:pt x="287" y="748"/>
                  </a:lnTo>
                  <a:lnTo>
                    <a:pt x="276" y="733"/>
                  </a:lnTo>
                  <a:lnTo>
                    <a:pt x="268" y="718"/>
                  </a:lnTo>
                  <a:lnTo>
                    <a:pt x="261" y="702"/>
                  </a:lnTo>
                  <a:lnTo>
                    <a:pt x="255" y="684"/>
                  </a:lnTo>
                  <a:lnTo>
                    <a:pt x="249" y="667"/>
                  </a:lnTo>
                  <a:lnTo>
                    <a:pt x="245" y="650"/>
                  </a:lnTo>
                  <a:lnTo>
                    <a:pt x="241" y="632"/>
                  </a:lnTo>
                  <a:lnTo>
                    <a:pt x="238" y="614"/>
                  </a:lnTo>
                  <a:lnTo>
                    <a:pt x="235" y="596"/>
                  </a:lnTo>
                  <a:lnTo>
                    <a:pt x="234" y="578"/>
                  </a:lnTo>
                  <a:lnTo>
                    <a:pt x="232" y="560"/>
                  </a:lnTo>
                  <a:lnTo>
                    <a:pt x="232" y="542"/>
                  </a:lnTo>
                  <a:lnTo>
                    <a:pt x="232" y="525"/>
                  </a:lnTo>
                  <a:lnTo>
                    <a:pt x="232" y="501"/>
                  </a:lnTo>
                  <a:lnTo>
                    <a:pt x="233" y="479"/>
                  </a:lnTo>
                  <a:lnTo>
                    <a:pt x="234" y="457"/>
                  </a:lnTo>
                  <a:lnTo>
                    <a:pt x="235" y="437"/>
                  </a:lnTo>
                  <a:lnTo>
                    <a:pt x="238" y="419"/>
                  </a:lnTo>
                  <a:lnTo>
                    <a:pt x="240" y="401"/>
                  </a:lnTo>
                  <a:lnTo>
                    <a:pt x="243" y="384"/>
                  </a:lnTo>
                  <a:lnTo>
                    <a:pt x="246" y="369"/>
                  </a:lnTo>
                  <a:lnTo>
                    <a:pt x="250" y="355"/>
                  </a:lnTo>
                  <a:lnTo>
                    <a:pt x="254" y="340"/>
                  </a:lnTo>
                  <a:lnTo>
                    <a:pt x="258" y="327"/>
                  </a:lnTo>
                  <a:lnTo>
                    <a:pt x="262" y="316"/>
                  </a:lnTo>
                  <a:lnTo>
                    <a:pt x="272" y="293"/>
                  </a:lnTo>
                  <a:lnTo>
                    <a:pt x="284" y="274"/>
                  </a:lnTo>
                  <a:lnTo>
                    <a:pt x="293" y="261"/>
                  </a:lnTo>
                  <a:lnTo>
                    <a:pt x="303" y="249"/>
                  </a:lnTo>
                  <a:lnTo>
                    <a:pt x="313" y="237"/>
                  </a:lnTo>
                  <a:lnTo>
                    <a:pt x="323" y="228"/>
                  </a:lnTo>
                  <a:lnTo>
                    <a:pt x="334" y="220"/>
                  </a:lnTo>
                  <a:lnTo>
                    <a:pt x="345" y="213"/>
                  </a:lnTo>
                  <a:lnTo>
                    <a:pt x="355" y="207"/>
                  </a:lnTo>
                  <a:lnTo>
                    <a:pt x="365" y="201"/>
                  </a:lnTo>
                  <a:lnTo>
                    <a:pt x="375" y="197"/>
                  </a:lnTo>
                  <a:lnTo>
                    <a:pt x="386" y="194"/>
                  </a:lnTo>
                  <a:lnTo>
                    <a:pt x="395" y="191"/>
                  </a:lnTo>
                  <a:lnTo>
                    <a:pt x="405" y="189"/>
                  </a:lnTo>
                  <a:lnTo>
                    <a:pt x="422" y="187"/>
                  </a:lnTo>
                  <a:lnTo>
                    <a:pt x="438" y="186"/>
                  </a:lnTo>
                  <a:lnTo>
                    <a:pt x="453" y="187"/>
                  </a:lnTo>
                  <a:lnTo>
                    <a:pt x="471" y="190"/>
                  </a:lnTo>
                  <a:lnTo>
                    <a:pt x="481" y="192"/>
                  </a:lnTo>
                  <a:lnTo>
                    <a:pt x="493" y="195"/>
                  </a:lnTo>
                  <a:lnTo>
                    <a:pt x="503" y="198"/>
                  </a:lnTo>
                  <a:lnTo>
                    <a:pt x="514" y="203"/>
                  </a:lnTo>
                  <a:lnTo>
                    <a:pt x="526" y="208"/>
                  </a:lnTo>
                  <a:lnTo>
                    <a:pt x="538" y="215"/>
                  </a:lnTo>
                  <a:lnTo>
                    <a:pt x="549" y="223"/>
                  </a:lnTo>
                  <a:lnTo>
                    <a:pt x="560" y="232"/>
                  </a:lnTo>
                  <a:lnTo>
                    <a:pt x="570" y="244"/>
                  </a:lnTo>
                  <a:lnTo>
                    <a:pt x="580" y="256"/>
                  </a:lnTo>
                  <a:lnTo>
                    <a:pt x="590" y="270"/>
                  </a:lnTo>
                  <a:lnTo>
                    <a:pt x="599" y="285"/>
                  </a:lnTo>
                  <a:lnTo>
                    <a:pt x="604" y="296"/>
                  </a:lnTo>
                  <a:lnTo>
                    <a:pt x="608" y="306"/>
                  </a:lnTo>
                  <a:lnTo>
                    <a:pt x="611" y="316"/>
                  </a:lnTo>
                  <a:lnTo>
                    <a:pt x="615" y="326"/>
                  </a:lnTo>
                  <a:lnTo>
                    <a:pt x="618" y="337"/>
                  </a:lnTo>
                  <a:lnTo>
                    <a:pt x="620" y="347"/>
                  </a:lnTo>
                  <a:lnTo>
                    <a:pt x="623" y="359"/>
                  </a:lnTo>
                  <a:lnTo>
                    <a:pt x="625" y="370"/>
                  </a:lnTo>
                  <a:lnTo>
                    <a:pt x="817" y="341"/>
                  </a:lnTo>
                  <a:close/>
                </a:path>
              </a:pathLst>
            </a:custGeom>
            <a:solidFill>
              <a:srgbClr val="5E737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276" u="sng">
                <a:solidFill>
                  <a:srgbClr val="000000"/>
                </a:solidFill>
                <a:latin typeface="Arial" charset="0"/>
                <a:cs typeface="Arial"/>
              </a:endParaRPr>
            </a:p>
          </p:txBody>
        </p:sp>
        <p:sp>
          <p:nvSpPr>
            <p:cNvPr id="1058" name="Freeform 82"/>
            <p:cNvSpPr>
              <a:spLocks noEditPoints="1"/>
            </p:cNvSpPr>
            <p:nvPr userDrawn="1"/>
          </p:nvSpPr>
          <p:spPr bwMode="auto">
            <a:xfrm>
              <a:off x="5957" y="362"/>
              <a:ext cx="44" cy="50"/>
            </a:xfrm>
            <a:custGeom>
              <a:avLst/>
              <a:gdLst>
                <a:gd name="T0" fmla="*/ 0 w 872"/>
                <a:gd name="T1" fmla="*/ 0 h 1017"/>
                <a:gd name="T2" fmla="*/ 0 w 872"/>
                <a:gd name="T3" fmla="*/ 0 h 1017"/>
                <a:gd name="T4" fmla="*/ 0 w 872"/>
                <a:gd name="T5" fmla="*/ 0 h 1017"/>
                <a:gd name="T6" fmla="*/ 0 w 872"/>
                <a:gd name="T7" fmla="*/ 0 h 1017"/>
                <a:gd name="T8" fmla="*/ 0 w 872"/>
                <a:gd name="T9" fmla="*/ 0 h 1017"/>
                <a:gd name="T10" fmla="*/ 0 w 872"/>
                <a:gd name="T11" fmla="*/ 0 h 1017"/>
                <a:gd name="T12" fmla="*/ 0 w 872"/>
                <a:gd name="T13" fmla="*/ 0 h 1017"/>
                <a:gd name="T14" fmla="*/ 0 w 872"/>
                <a:gd name="T15" fmla="*/ 0 h 1017"/>
                <a:gd name="T16" fmla="*/ 0 w 872"/>
                <a:gd name="T17" fmla="*/ 0 h 1017"/>
                <a:gd name="T18" fmla="*/ 0 w 872"/>
                <a:gd name="T19" fmla="*/ 0 h 1017"/>
                <a:gd name="T20" fmla="*/ 0 w 872"/>
                <a:gd name="T21" fmla="*/ 0 h 1017"/>
                <a:gd name="T22" fmla="*/ 0 w 872"/>
                <a:gd name="T23" fmla="*/ 0 h 1017"/>
                <a:gd name="T24" fmla="*/ 0 w 872"/>
                <a:gd name="T25" fmla="*/ 0 h 1017"/>
                <a:gd name="T26" fmla="*/ 0 w 872"/>
                <a:gd name="T27" fmla="*/ 0 h 1017"/>
                <a:gd name="T28" fmla="*/ 0 w 872"/>
                <a:gd name="T29" fmla="*/ 0 h 1017"/>
                <a:gd name="T30" fmla="*/ 0 w 872"/>
                <a:gd name="T31" fmla="*/ 0 h 1017"/>
                <a:gd name="T32" fmla="*/ 0 w 872"/>
                <a:gd name="T33" fmla="*/ 0 h 1017"/>
                <a:gd name="T34" fmla="*/ 0 w 872"/>
                <a:gd name="T35" fmla="*/ 0 h 1017"/>
                <a:gd name="T36" fmla="*/ 0 w 872"/>
                <a:gd name="T37" fmla="*/ 0 h 1017"/>
                <a:gd name="T38" fmla="*/ 0 w 872"/>
                <a:gd name="T39" fmla="*/ 0 h 1017"/>
                <a:gd name="T40" fmla="*/ 0 w 872"/>
                <a:gd name="T41" fmla="*/ 0 h 1017"/>
                <a:gd name="T42" fmla="*/ 0 w 872"/>
                <a:gd name="T43" fmla="*/ 0 h 1017"/>
                <a:gd name="T44" fmla="*/ 0 w 872"/>
                <a:gd name="T45" fmla="*/ 0 h 1017"/>
                <a:gd name="T46" fmla="*/ 0 w 872"/>
                <a:gd name="T47" fmla="*/ 0 h 1017"/>
                <a:gd name="T48" fmla="*/ 0 w 872"/>
                <a:gd name="T49" fmla="*/ 0 h 1017"/>
                <a:gd name="T50" fmla="*/ 0 w 872"/>
                <a:gd name="T51" fmla="*/ 0 h 1017"/>
                <a:gd name="T52" fmla="*/ 0 w 872"/>
                <a:gd name="T53" fmla="*/ 0 h 1017"/>
                <a:gd name="T54" fmla="*/ 0 w 872"/>
                <a:gd name="T55" fmla="*/ 0 h 1017"/>
                <a:gd name="T56" fmla="*/ 0 w 872"/>
                <a:gd name="T57" fmla="*/ 0 h 1017"/>
                <a:gd name="T58" fmla="*/ 0 w 872"/>
                <a:gd name="T59" fmla="*/ 0 h 1017"/>
                <a:gd name="T60" fmla="*/ 0 w 872"/>
                <a:gd name="T61" fmla="*/ 0 h 1017"/>
                <a:gd name="T62" fmla="*/ 0 w 872"/>
                <a:gd name="T63" fmla="*/ 0 h 1017"/>
                <a:gd name="T64" fmla="*/ 0 w 872"/>
                <a:gd name="T65" fmla="*/ 0 h 1017"/>
                <a:gd name="T66" fmla="*/ 0 w 872"/>
                <a:gd name="T67" fmla="*/ 0 h 1017"/>
                <a:gd name="T68" fmla="*/ 0 w 872"/>
                <a:gd name="T69" fmla="*/ 0 h 1017"/>
                <a:gd name="T70" fmla="*/ 0 w 872"/>
                <a:gd name="T71" fmla="*/ 0 h 1017"/>
                <a:gd name="T72" fmla="*/ 0 w 872"/>
                <a:gd name="T73" fmla="*/ 0 h 1017"/>
                <a:gd name="T74" fmla="*/ 0 w 872"/>
                <a:gd name="T75" fmla="*/ 0 h 1017"/>
                <a:gd name="T76" fmla="*/ 0 w 872"/>
                <a:gd name="T77" fmla="*/ 0 h 1017"/>
                <a:gd name="T78" fmla="*/ 0 w 872"/>
                <a:gd name="T79" fmla="*/ 0 h 1017"/>
                <a:gd name="T80" fmla="*/ 0 w 872"/>
                <a:gd name="T81" fmla="*/ 0 h 1017"/>
                <a:gd name="T82" fmla="*/ 0 w 872"/>
                <a:gd name="T83" fmla="*/ 0 h 1017"/>
                <a:gd name="T84" fmla="*/ 0 w 872"/>
                <a:gd name="T85" fmla="*/ 0 h 1017"/>
                <a:gd name="T86" fmla="*/ 0 w 872"/>
                <a:gd name="T87" fmla="*/ 0 h 1017"/>
                <a:gd name="T88" fmla="*/ 0 w 872"/>
                <a:gd name="T89" fmla="*/ 0 h 1017"/>
                <a:gd name="T90" fmla="*/ 0 w 872"/>
                <a:gd name="T91" fmla="*/ 0 h 1017"/>
                <a:gd name="T92" fmla="*/ 0 w 872"/>
                <a:gd name="T93" fmla="*/ 0 h 1017"/>
                <a:gd name="T94" fmla="*/ 0 w 872"/>
                <a:gd name="T95" fmla="*/ 0 h 1017"/>
                <a:gd name="T96" fmla="*/ 0 w 872"/>
                <a:gd name="T97" fmla="*/ 0 h 1017"/>
                <a:gd name="T98" fmla="*/ 0 w 872"/>
                <a:gd name="T99" fmla="*/ 0 h 1017"/>
                <a:gd name="T100" fmla="*/ 0 w 872"/>
                <a:gd name="T101" fmla="*/ 0 h 1017"/>
                <a:gd name="T102" fmla="*/ 0 w 872"/>
                <a:gd name="T103" fmla="*/ 0 h 1017"/>
                <a:gd name="T104" fmla="*/ 0 w 872"/>
                <a:gd name="T105" fmla="*/ 0 h 1017"/>
                <a:gd name="T106" fmla="*/ 0 w 872"/>
                <a:gd name="T107" fmla="*/ 0 h 1017"/>
                <a:gd name="T108" fmla="*/ 0 w 872"/>
                <a:gd name="T109" fmla="*/ 0 h 1017"/>
                <a:gd name="T110" fmla="*/ 0 w 872"/>
                <a:gd name="T111" fmla="*/ 0 h 1017"/>
                <a:gd name="T112" fmla="*/ 0 w 872"/>
                <a:gd name="T113" fmla="*/ 0 h 1017"/>
                <a:gd name="T114" fmla="*/ 0 w 872"/>
                <a:gd name="T115" fmla="*/ 0 h 1017"/>
                <a:gd name="T116" fmla="*/ 0 w 872"/>
                <a:gd name="T117" fmla="*/ 0 h 1017"/>
                <a:gd name="T118" fmla="*/ 0 w 872"/>
                <a:gd name="T119" fmla="*/ 0 h 1017"/>
                <a:gd name="T120" fmla="*/ 0 w 872"/>
                <a:gd name="T121" fmla="*/ 0 h 1017"/>
                <a:gd name="T122" fmla="*/ 0 w 872"/>
                <a:gd name="T123" fmla="*/ 0 h 1017"/>
                <a:gd name="T124" fmla="*/ 0 w 872"/>
                <a:gd name="T125" fmla="*/ 0 h 101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872" h="1017">
                  <a:moveTo>
                    <a:pt x="872" y="537"/>
                  </a:moveTo>
                  <a:lnTo>
                    <a:pt x="872" y="509"/>
                  </a:lnTo>
                  <a:lnTo>
                    <a:pt x="872" y="481"/>
                  </a:lnTo>
                  <a:lnTo>
                    <a:pt x="871" y="451"/>
                  </a:lnTo>
                  <a:lnTo>
                    <a:pt x="869" y="423"/>
                  </a:lnTo>
                  <a:lnTo>
                    <a:pt x="867" y="394"/>
                  </a:lnTo>
                  <a:lnTo>
                    <a:pt x="863" y="366"/>
                  </a:lnTo>
                  <a:lnTo>
                    <a:pt x="858" y="338"/>
                  </a:lnTo>
                  <a:lnTo>
                    <a:pt x="852" y="311"/>
                  </a:lnTo>
                  <a:lnTo>
                    <a:pt x="849" y="301"/>
                  </a:lnTo>
                  <a:lnTo>
                    <a:pt x="845" y="287"/>
                  </a:lnTo>
                  <a:lnTo>
                    <a:pt x="840" y="273"/>
                  </a:lnTo>
                  <a:lnTo>
                    <a:pt x="833" y="256"/>
                  </a:lnTo>
                  <a:lnTo>
                    <a:pt x="825" y="238"/>
                  </a:lnTo>
                  <a:lnTo>
                    <a:pt x="815" y="219"/>
                  </a:lnTo>
                  <a:lnTo>
                    <a:pt x="804" y="199"/>
                  </a:lnTo>
                  <a:lnTo>
                    <a:pt x="790" y="178"/>
                  </a:lnTo>
                  <a:lnTo>
                    <a:pt x="780" y="163"/>
                  </a:lnTo>
                  <a:lnTo>
                    <a:pt x="768" y="150"/>
                  </a:lnTo>
                  <a:lnTo>
                    <a:pt x="757" y="137"/>
                  </a:lnTo>
                  <a:lnTo>
                    <a:pt x="746" y="124"/>
                  </a:lnTo>
                  <a:lnTo>
                    <a:pt x="735" y="112"/>
                  </a:lnTo>
                  <a:lnTo>
                    <a:pt x="723" y="102"/>
                  </a:lnTo>
                  <a:lnTo>
                    <a:pt x="711" y="92"/>
                  </a:lnTo>
                  <a:lnTo>
                    <a:pt x="699" y="82"/>
                  </a:lnTo>
                  <a:lnTo>
                    <a:pt x="687" y="74"/>
                  </a:lnTo>
                  <a:lnTo>
                    <a:pt x="674" y="65"/>
                  </a:lnTo>
                  <a:lnTo>
                    <a:pt x="662" y="57"/>
                  </a:lnTo>
                  <a:lnTo>
                    <a:pt x="650" y="51"/>
                  </a:lnTo>
                  <a:lnTo>
                    <a:pt x="627" y="39"/>
                  </a:lnTo>
                  <a:lnTo>
                    <a:pt x="602" y="29"/>
                  </a:lnTo>
                  <a:lnTo>
                    <a:pt x="579" y="21"/>
                  </a:lnTo>
                  <a:lnTo>
                    <a:pt x="555" y="13"/>
                  </a:lnTo>
                  <a:lnTo>
                    <a:pt x="534" y="8"/>
                  </a:lnTo>
                  <a:lnTo>
                    <a:pt x="512" y="5"/>
                  </a:lnTo>
                  <a:lnTo>
                    <a:pt x="493" y="2"/>
                  </a:lnTo>
                  <a:lnTo>
                    <a:pt x="475" y="1"/>
                  </a:lnTo>
                  <a:lnTo>
                    <a:pt x="459" y="0"/>
                  </a:lnTo>
                  <a:lnTo>
                    <a:pt x="445" y="0"/>
                  </a:lnTo>
                  <a:lnTo>
                    <a:pt x="426" y="0"/>
                  </a:lnTo>
                  <a:lnTo>
                    <a:pt x="407" y="1"/>
                  </a:lnTo>
                  <a:lnTo>
                    <a:pt x="390" y="3"/>
                  </a:lnTo>
                  <a:lnTo>
                    <a:pt x="372" y="5"/>
                  </a:lnTo>
                  <a:lnTo>
                    <a:pt x="354" y="8"/>
                  </a:lnTo>
                  <a:lnTo>
                    <a:pt x="337" y="12"/>
                  </a:lnTo>
                  <a:lnTo>
                    <a:pt x="320" y="17"/>
                  </a:lnTo>
                  <a:lnTo>
                    <a:pt x="303" y="22"/>
                  </a:lnTo>
                  <a:lnTo>
                    <a:pt x="287" y="28"/>
                  </a:lnTo>
                  <a:lnTo>
                    <a:pt x="272" y="34"/>
                  </a:lnTo>
                  <a:lnTo>
                    <a:pt x="255" y="41"/>
                  </a:lnTo>
                  <a:lnTo>
                    <a:pt x="241" y="48"/>
                  </a:lnTo>
                  <a:lnTo>
                    <a:pt x="226" y="56"/>
                  </a:lnTo>
                  <a:lnTo>
                    <a:pt x="211" y="65"/>
                  </a:lnTo>
                  <a:lnTo>
                    <a:pt x="197" y="75"/>
                  </a:lnTo>
                  <a:lnTo>
                    <a:pt x="184" y="84"/>
                  </a:lnTo>
                  <a:lnTo>
                    <a:pt x="171" y="95"/>
                  </a:lnTo>
                  <a:lnTo>
                    <a:pt x="157" y="105"/>
                  </a:lnTo>
                  <a:lnTo>
                    <a:pt x="145" y="117"/>
                  </a:lnTo>
                  <a:lnTo>
                    <a:pt x="134" y="129"/>
                  </a:lnTo>
                  <a:lnTo>
                    <a:pt x="122" y="142"/>
                  </a:lnTo>
                  <a:lnTo>
                    <a:pt x="111" y="154"/>
                  </a:lnTo>
                  <a:lnTo>
                    <a:pt x="100" y="168"/>
                  </a:lnTo>
                  <a:lnTo>
                    <a:pt x="90" y="181"/>
                  </a:lnTo>
                  <a:lnTo>
                    <a:pt x="81" y="196"/>
                  </a:lnTo>
                  <a:lnTo>
                    <a:pt x="72" y="211"/>
                  </a:lnTo>
                  <a:lnTo>
                    <a:pt x="63" y="226"/>
                  </a:lnTo>
                  <a:lnTo>
                    <a:pt x="55" y="242"/>
                  </a:lnTo>
                  <a:lnTo>
                    <a:pt x="47" y="258"/>
                  </a:lnTo>
                  <a:lnTo>
                    <a:pt x="41" y="275"/>
                  </a:lnTo>
                  <a:lnTo>
                    <a:pt x="34" y="291"/>
                  </a:lnTo>
                  <a:lnTo>
                    <a:pt x="28" y="309"/>
                  </a:lnTo>
                  <a:lnTo>
                    <a:pt x="20" y="341"/>
                  </a:lnTo>
                  <a:lnTo>
                    <a:pt x="12" y="373"/>
                  </a:lnTo>
                  <a:lnTo>
                    <a:pt x="7" y="402"/>
                  </a:lnTo>
                  <a:lnTo>
                    <a:pt x="4" y="431"/>
                  </a:lnTo>
                  <a:lnTo>
                    <a:pt x="2" y="456"/>
                  </a:lnTo>
                  <a:lnTo>
                    <a:pt x="1" y="478"/>
                  </a:lnTo>
                  <a:lnTo>
                    <a:pt x="0" y="497"/>
                  </a:lnTo>
                  <a:lnTo>
                    <a:pt x="0" y="511"/>
                  </a:lnTo>
                  <a:lnTo>
                    <a:pt x="0" y="536"/>
                  </a:lnTo>
                  <a:lnTo>
                    <a:pt x="1" y="560"/>
                  </a:lnTo>
                  <a:lnTo>
                    <a:pt x="3" y="584"/>
                  </a:lnTo>
                  <a:lnTo>
                    <a:pt x="5" y="606"/>
                  </a:lnTo>
                  <a:lnTo>
                    <a:pt x="7" y="627"/>
                  </a:lnTo>
                  <a:lnTo>
                    <a:pt x="10" y="648"/>
                  </a:lnTo>
                  <a:lnTo>
                    <a:pt x="15" y="668"/>
                  </a:lnTo>
                  <a:lnTo>
                    <a:pt x="19" y="688"/>
                  </a:lnTo>
                  <a:lnTo>
                    <a:pt x="24" y="706"/>
                  </a:lnTo>
                  <a:lnTo>
                    <a:pt x="29" y="723"/>
                  </a:lnTo>
                  <a:lnTo>
                    <a:pt x="34" y="739"/>
                  </a:lnTo>
                  <a:lnTo>
                    <a:pt x="40" y="756"/>
                  </a:lnTo>
                  <a:lnTo>
                    <a:pt x="46" y="771"/>
                  </a:lnTo>
                  <a:lnTo>
                    <a:pt x="53" y="786"/>
                  </a:lnTo>
                  <a:lnTo>
                    <a:pt x="60" y="801"/>
                  </a:lnTo>
                  <a:lnTo>
                    <a:pt x="68" y="814"/>
                  </a:lnTo>
                  <a:lnTo>
                    <a:pt x="75" y="827"/>
                  </a:lnTo>
                  <a:lnTo>
                    <a:pt x="83" y="839"/>
                  </a:lnTo>
                  <a:lnTo>
                    <a:pt x="91" y="850"/>
                  </a:lnTo>
                  <a:lnTo>
                    <a:pt x="99" y="862"/>
                  </a:lnTo>
                  <a:lnTo>
                    <a:pt x="118" y="882"/>
                  </a:lnTo>
                  <a:lnTo>
                    <a:pt x="135" y="900"/>
                  </a:lnTo>
                  <a:lnTo>
                    <a:pt x="154" y="918"/>
                  </a:lnTo>
                  <a:lnTo>
                    <a:pt x="174" y="932"/>
                  </a:lnTo>
                  <a:lnTo>
                    <a:pt x="193" y="945"/>
                  </a:lnTo>
                  <a:lnTo>
                    <a:pt x="212" y="957"/>
                  </a:lnTo>
                  <a:lnTo>
                    <a:pt x="230" y="967"/>
                  </a:lnTo>
                  <a:lnTo>
                    <a:pt x="247" y="976"/>
                  </a:lnTo>
                  <a:lnTo>
                    <a:pt x="264" y="983"/>
                  </a:lnTo>
                  <a:lnTo>
                    <a:pt x="281" y="990"/>
                  </a:lnTo>
                  <a:lnTo>
                    <a:pt x="297" y="995"/>
                  </a:lnTo>
                  <a:lnTo>
                    <a:pt x="313" y="1000"/>
                  </a:lnTo>
                  <a:lnTo>
                    <a:pt x="329" y="1004"/>
                  </a:lnTo>
                  <a:lnTo>
                    <a:pt x="344" y="1007"/>
                  </a:lnTo>
                  <a:lnTo>
                    <a:pt x="373" y="1012"/>
                  </a:lnTo>
                  <a:lnTo>
                    <a:pt x="398" y="1015"/>
                  </a:lnTo>
                  <a:lnTo>
                    <a:pt x="419" y="1016"/>
                  </a:lnTo>
                  <a:lnTo>
                    <a:pt x="437" y="1017"/>
                  </a:lnTo>
                  <a:lnTo>
                    <a:pt x="463" y="1016"/>
                  </a:lnTo>
                  <a:lnTo>
                    <a:pt x="490" y="1014"/>
                  </a:lnTo>
                  <a:lnTo>
                    <a:pt x="516" y="1010"/>
                  </a:lnTo>
                  <a:lnTo>
                    <a:pt x="542" y="1005"/>
                  </a:lnTo>
                  <a:lnTo>
                    <a:pt x="567" y="999"/>
                  </a:lnTo>
                  <a:lnTo>
                    <a:pt x="593" y="991"/>
                  </a:lnTo>
                  <a:lnTo>
                    <a:pt x="617" y="982"/>
                  </a:lnTo>
                  <a:lnTo>
                    <a:pt x="641" y="972"/>
                  </a:lnTo>
                  <a:lnTo>
                    <a:pt x="663" y="959"/>
                  </a:lnTo>
                  <a:lnTo>
                    <a:pt x="686" y="946"/>
                  </a:lnTo>
                  <a:lnTo>
                    <a:pt x="707" y="932"/>
                  </a:lnTo>
                  <a:lnTo>
                    <a:pt x="728" y="916"/>
                  </a:lnTo>
                  <a:lnTo>
                    <a:pt x="747" y="898"/>
                  </a:lnTo>
                  <a:lnTo>
                    <a:pt x="764" y="880"/>
                  </a:lnTo>
                  <a:lnTo>
                    <a:pt x="782" y="861"/>
                  </a:lnTo>
                  <a:lnTo>
                    <a:pt x="798" y="839"/>
                  </a:lnTo>
                  <a:lnTo>
                    <a:pt x="809" y="821"/>
                  </a:lnTo>
                  <a:lnTo>
                    <a:pt x="820" y="802"/>
                  </a:lnTo>
                  <a:lnTo>
                    <a:pt x="831" y="783"/>
                  </a:lnTo>
                  <a:lnTo>
                    <a:pt x="840" y="765"/>
                  </a:lnTo>
                  <a:lnTo>
                    <a:pt x="847" y="748"/>
                  </a:lnTo>
                  <a:lnTo>
                    <a:pt x="854" y="733"/>
                  </a:lnTo>
                  <a:lnTo>
                    <a:pt x="858" y="722"/>
                  </a:lnTo>
                  <a:lnTo>
                    <a:pt x="861" y="715"/>
                  </a:lnTo>
                  <a:lnTo>
                    <a:pt x="660" y="683"/>
                  </a:lnTo>
                  <a:lnTo>
                    <a:pt x="658" y="692"/>
                  </a:lnTo>
                  <a:lnTo>
                    <a:pt x="655" y="700"/>
                  </a:lnTo>
                  <a:lnTo>
                    <a:pt x="652" y="708"/>
                  </a:lnTo>
                  <a:lnTo>
                    <a:pt x="649" y="715"/>
                  </a:lnTo>
                  <a:lnTo>
                    <a:pt x="645" y="723"/>
                  </a:lnTo>
                  <a:lnTo>
                    <a:pt x="642" y="730"/>
                  </a:lnTo>
                  <a:lnTo>
                    <a:pt x="637" y="737"/>
                  </a:lnTo>
                  <a:lnTo>
                    <a:pt x="633" y="746"/>
                  </a:lnTo>
                  <a:lnTo>
                    <a:pt x="624" y="757"/>
                  </a:lnTo>
                  <a:lnTo>
                    <a:pt x="615" y="767"/>
                  </a:lnTo>
                  <a:lnTo>
                    <a:pt x="606" y="776"/>
                  </a:lnTo>
                  <a:lnTo>
                    <a:pt x="597" y="786"/>
                  </a:lnTo>
                  <a:lnTo>
                    <a:pt x="587" y="794"/>
                  </a:lnTo>
                  <a:lnTo>
                    <a:pt x="576" y="803"/>
                  </a:lnTo>
                  <a:lnTo>
                    <a:pt x="564" y="810"/>
                  </a:lnTo>
                  <a:lnTo>
                    <a:pt x="553" y="817"/>
                  </a:lnTo>
                  <a:lnTo>
                    <a:pt x="541" y="823"/>
                  </a:lnTo>
                  <a:lnTo>
                    <a:pt x="529" y="828"/>
                  </a:lnTo>
                  <a:lnTo>
                    <a:pt x="516" y="832"/>
                  </a:lnTo>
                  <a:lnTo>
                    <a:pt x="503" y="836"/>
                  </a:lnTo>
                  <a:lnTo>
                    <a:pt x="490" y="839"/>
                  </a:lnTo>
                  <a:lnTo>
                    <a:pt x="477" y="841"/>
                  </a:lnTo>
                  <a:lnTo>
                    <a:pt x="463" y="842"/>
                  </a:lnTo>
                  <a:lnTo>
                    <a:pt x="450" y="842"/>
                  </a:lnTo>
                  <a:lnTo>
                    <a:pt x="439" y="842"/>
                  </a:lnTo>
                  <a:lnTo>
                    <a:pt x="426" y="841"/>
                  </a:lnTo>
                  <a:lnTo>
                    <a:pt x="411" y="839"/>
                  </a:lnTo>
                  <a:lnTo>
                    <a:pt x="396" y="835"/>
                  </a:lnTo>
                  <a:lnTo>
                    <a:pt x="388" y="833"/>
                  </a:lnTo>
                  <a:lnTo>
                    <a:pt x="380" y="829"/>
                  </a:lnTo>
                  <a:lnTo>
                    <a:pt x="371" y="826"/>
                  </a:lnTo>
                  <a:lnTo>
                    <a:pt x="361" y="821"/>
                  </a:lnTo>
                  <a:lnTo>
                    <a:pt x="352" y="816"/>
                  </a:lnTo>
                  <a:lnTo>
                    <a:pt x="343" y="810"/>
                  </a:lnTo>
                  <a:lnTo>
                    <a:pt x="334" y="803"/>
                  </a:lnTo>
                  <a:lnTo>
                    <a:pt x="325" y="794"/>
                  </a:lnTo>
                  <a:lnTo>
                    <a:pt x="310" y="781"/>
                  </a:lnTo>
                  <a:lnTo>
                    <a:pt x="298" y="767"/>
                  </a:lnTo>
                  <a:lnTo>
                    <a:pt x="287" y="753"/>
                  </a:lnTo>
                  <a:lnTo>
                    <a:pt x="277" y="737"/>
                  </a:lnTo>
                  <a:lnTo>
                    <a:pt x="269" y="723"/>
                  </a:lnTo>
                  <a:lnTo>
                    <a:pt x="261" y="708"/>
                  </a:lnTo>
                  <a:lnTo>
                    <a:pt x="255" y="694"/>
                  </a:lnTo>
                  <a:lnTo>
                    <a:pt x="251" y="679"/>
                  </a:lnTo>
                  <a:lnTo>
                    <a:pt x="247" y="666"/>
                  </a:lnTo>
                  <a:lnTo>
                    <a:pt x="243" y="653"/>
                  </a:lnTo>
                  <a:lnTo>
                    <a:pt x="241" y="641"/>
                  </a:lnTo>
                  <a:lnTo>
                    <a:pt x="239" y="629"/>
                  </a:lnTo>
                  <a:lnTo>
                    <a:pt x="236" y="609"/>
                  </a:lnTo>
                  <a:lnTo>
                    <a:pt x="235" y="594"/>
                  </a:lnTo>
                  <a:lnTo>
                    <a:pt x="234" y="587"/>
                  </a:lnTo>
                  <a:lnTo>
                    <a:pt x="233" y="580"/>
                  </a:lnTo>
                  <a:lnTo>
                    <a:pt x="233" y="572"/>
                  </a:lnTo>
                  <a:lnTo>
                    <a:pt x="232" y="565"/>
                  </a:lnTo>
                  <a:lnTo>
                    <a:pt x="232" y="559"/>
                  </a:lnTo>
                  <a:lnTo>
                    <a:pt x="231" y="552"/>
                  </a:lnTo>
                  <a:lnTo>
                    <a:pt x="231" y="546"/>
                  </a:lnTo>
                  <a:lnTo>
                    <a:pt x="231" y="540"/>
                  </a:lnTo>
                  <a:lnTo>
                    <a:pt x="872" y="537"/>
                  </a:lnTo>
                  <a:close/>
                  <a:moveTo>
                    <a:pt x="226" y="397"/>
                  </a:moveTo>
                  <a:lnTo>
                    <a:pt x="228" y="380"/>
                  </a:lnTo>
                  <a:lnTo>
                    <a:pt x="229" y="365"/>
                  </a:lnTo>
                  <a:lnTo>
                    <a:pt x="231" y="353"/>
                  </a:lnTo>
                  <a:lnTo>
                    <a:pt x="234" y="342"/>
                  </a:lnTo>
                  <a:lnTo>
                    <a:pt x="236" y="332"/>
                  </a:lnTo>
                  <a:lnTo>
                    <a:pt x="239" y="323"/>
                  </a:lnTo>
                  <a:lnTo>
                    <a:pt x="242" y="315"/>
                  </a:lnTo>
                  <a:lnTo>
                    <a:pt x="246" y="306"/>
                  </a:lnTo>
                  <a:lnTo>
                    <a:pt x="252" y="290"/>
                  </a:lnTo>
                  <a:lnTo>
                    <a:pt x="258" y="277"/>
                  </a:lnTo>
                  <a:lnTo>
                    <a:pt x="265" y="265"/>
                  </a:lnTo>
                  <a:lnTo>
                    <a:pt x="273" y="253"/>
                  </a:lnTo>
                  <a:lnTo>
                    <a:pt x="281" y="243"/>
                  </a:lnTo>
                  <a:lnTo>
                    <a:pt x="289" y="232"/>
                  </a:lnTo>
                  <a:lnTo>
                    <a:pt x="297" y="223"/>
                  </a:lnTo>
                  <a:lnTo>
                    <a:pt x="305" y="215"/>
                  </a:lnTo>
                  <a:lnTo>
                    <a:pt x="322" y="201"/>
                  </a:lnTo>
                  <a:lnTo>
                    <a:pt x="337" y="190"/>
                  </a:lnTo>
                  <a:lnTo>
                    <a:pt x="351" y="180"/>
                  </a:lnTo>
                  <a:lnTo>
                    <a:pt x="364" y="174"/>
                  </a:lnTo>
                  <a:lnTo>
                    <a:pt x="369" y="171"/>
                  </a:lnTo>
                  <a:lnTo>
                    <a:pt x="376" y="168"/>
                  </a:lnTo>
                  <a:lnTo>
                    <a:pt x="384" y="165"/>
                  </a:lnTo>
                  <a:lnTo>
                    <a:pt x="393" y="162"/>
                  </a:lnTo>
                  <a:lnTo>
                    <a:pt x="404" y="160"/>
                  </a:lnTo>
                  <a:lnTo>
                    <a:pt x="415" y="157"/>
                  </a:lnTo>
                  <a:lnTo>
                    <a:pt x="428" y="156"/>
                  </a:lnTo>
                  <a:lnTo>
                    <a:pt x="441" y="155"/>
                  </a:lnTo>
                  <a:lnTo>
                    <a:pt x="450" y="155"/>
                  </a:lnTo>
                  <a:lnTo>
                    <a:pt x="461" y="156"/>
                  </a:lnTo>
                  <a:lnTo>
                    <a:pt x="475" y="158"/>
                  </a:lnTo>
                  <a:lnTo>
                    <a:pt x="488" y="162"/>
                  </a:lnTo>
                  <a:lnTo>
                    <a:pt x="504" y="167"/>
                  </a:lnTo>
                  <a:lnTo>
                    <a:pt x="520" y="174"/>
                  </a:lnTo>
                  <a:lnTo>
                    <a:pt x="538" y="185"/>
                  </a:lnTo>
                  <a:lnTo>
                    <a:pt x="555" y="197"/>
                  </a:lnTo>
                  <a:lnTo>
                    <a:pt x="568" y="207"/>
                  </a:lnTo>
                  <a:lnTo>
                    <a:pt x="580" y="217"/>
                  </a:lnTo>
                  <a:lnTo>
                    <a:pt x="590" y="227"/>
                  </a:lnTo>
                  <a:lnTo>
                    <a:pt x="599" y="238"/>
                  </a:lnTo>
                  <a:lnTo>
                    <a:pt x="607" y="250"/>
                  </a:lnTo>
                  <a:lnTo>
                    <a:pt x="614" y="261"/>
                  </a:lnTo>
                  <a:lnTo>
                    <a:pt x="620" y="273"/>
                  </a:lnTo>
                  <a:lnTo>
                    <a:pt x="627" y="285"/>
                  </a:lnTo>
                  <a:lnTo>
                    <a:pt x="631" y="299"/>
                  </a:lnTo>
                  <a:lnTo>
                    <a:pt x="636" y="311"/>
                  </a:lnTo>
                  <a:lnTo>
                    <a:pt x="639" y="324"/>
                  </a:lnTo>
                  <a:lnTo>
                    <a:pt x="642" y="338"/>
                  </a:lnTo>
                  <a:lnTo>
                    <a:pt x="648" y="367"/>
                  </a:lnTo>
                  <a:lnTo>
                    <a:pt x="653" y="397"/>
                  </a:lnTo>
                  <a:lnTo>
                    <a:pt x="226" y="397"/>
                  </a:lnTo>
                  <a:close/>
                </a:path>
              </a:pathLst>
            </a:custGeom>
            <a:solidFill>
              <a:srgbClr val="5E737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276" u="sng">
                <a:solidFill>
                  <a:srgbClr val="000000"/>
                </a:solidFill>
                <a:latin typeface="Arial" charset="0"/>
                <a:cs typeface="Arial"/>
              </a:endParaRPr>
            </a:p>
          </p:txBody>
        </p:sp>
        <p:sp>
          <p:nvSpPr>
            <p:cNvPr id="1059" name="Rectangle 83"/>
            <p:cNvSpPr>
              <a:spLocks noChangeArrowheads="1"/>
            </p:cNvSpPr>
            <p:nvPr userDrawn="1"/>
          </p:nvSpPr>
          <p:spPr bwMode="auto">
            <a:xfrm>
              <a:off x="6011" y="399"/>
              <a:ext cx="12" cy="12"/>
            </a:xfrm>
            <a:prstGeom prst="rect">
              <a:avLst/>
            </a:prstGeom>
            <a:solidFill>
              <a:srgbClr val="5E737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700" u="sng">
                  <a:solidFill>
                    <a:schemeClr val="tx1"/>
                  </a:solidFill>
                  <a:latin typeface="Arial" charset="0"/>
                  <a:cs typeface="Arial" charset="0"/>
                </a:defRPr>
              </a:lvl1pPr>
              <a:lvl2pPr marL="742950" indent="-285750" eaLnBrk="0" hangingPunct="0">
                <a:defRPr sz="1700" u="sng">
                  <a:solidFill>
                    <a:schemeClr val="tx1"/>
                  </a:solidFill>
                  <a:latin typeface="Arial" charset="0"/>
                  <a:cs typeface="Arial" charset="0"/>
                </a:defRPr>
              </a:lvl2pPr>
              <a:lvl3pPr marL="1143000" indent="-228600" eaLnBrk="0" hangingPunct="0">
                <a:defRPr sz="1700" u="sng">
                  <a:solidFill>
                    <a:schemeClr val="tx1"/>
                  </a:solidFill>
                  <a:latin typeface="Arial" charset="0"/>
                  <a:cs typeface="Arial" charset="0"/>
                </a:defRPr>
              </a:lvl3pPr>
              <a:lvl4pPr marL="1600200" indent="-228600" eaLnBrk="0" hangingPunct="0">
                <a:defRPr sz="1700" u="sng">
                  <a:solidFill>
                    <a:schemeClr val="tx1"/>
                  </a:solidFill>
                  <a:latin typeface="Arial" charset="0"/>
                  <a:cs typeface="Arial" charset="0"/>
                </a:defRPr>
              </a:lvl4pPr>
              <a:lvl5pPr marL="2057400" indent="-228600" eaLnBrk="0" hangingPunct="0">
                <a:defRPr sz="1700" u="sng">
                  <a:solidFill>
                    <a:schemeClr val="tx1"/>
                  </a:solidFill>
                  <a:latin typeface="Arial" charset="0"/>
                  <a:cs typeface="Arial" charset="0"/>
                </a:defRPr>
              </a:lvl5pPr>
              <a:lvl6pPr marL="2514600" indent="-228600" eaLnBrk="0" fontAlgn="base" hangingPunct="0">
                <a:spcBef>
                  <a:spcPct val="0"/>
                </a:spcBef>
                <a:spcAft>
                  <a:spcPct val="0"/>
                </a:spcAft>
                <a:defRPr sz="1700" u="sng">
                  <a:solidFill>
                    <a:schemeClr val="tx1"/>
                  </a:solidFill>
                  <a:latin typeface="Arial" charset="0"/>
                  <a:cs typeface="Arial" charset="0"/>
                </a:defRPr>
              </a:lvl6pPr>
              <a:lvl7pPr marL="2971800" indent="-228600" eaLnBrk="0" fontAlgn="base" hangingPunct="0">
                <a:spcBef>
                  <a:spcPct val="0"/>
                </a:spcBef>
                <a:spcAft>
                  <a:spcPct val="0"/>
                </a:spcAft>
                <a:defRPr sz="1700" u="sng">
                  <a:solidFill>
                    <a:schemeClr val="tx1"/>
                  </a:solidFill>
                  <a:latin typeface="Arial" charset="0"/>
                  <a:cs typeface="Arial" charset="0"/>
                </a:defRPr>
              </a:lvl7pPr>
              <a:lvl8pPr marL="3429000" indent="-228600" eaLnBrk="0" fontAlgn="base" hangingPunct="0">
                <a:spcBef>
                  <a:spcPct val="0"/>
                </a:spcBef>
                <a:spcAft>
                  <a:spcPct val="0"/>
                </a:spcAft>
                <a:defRPr sz="1700" u="sng">
                  <a:solidFill>
                    <a:schemeClr val="tx1"/>
                  </a:solidFill>
                  <a:latin typeface="Arial" charset="0"/>
                  <a:cs typeface="Arial" charset="0"/>
                </a:defRPr>
              </a:lvl8pPr>
              <a:lvl9pPr marL="3886200" indent="-228600" eaLnBrk="0" fontAlgn="base" hangingPunct="0">
                <a:spcBef>
                  <a:spcPct val="0"/>
                </a:spcBef>
                <a:spcAft>
                  <a:spcPct val="0"/>
                </a:spcAft>
                <a:defRPr sz="1700" u="sng">
                  <a:solidFill>
                    <a:schemeClr val="tx1"/>
                  </a:solidFill>
                  <a:latin typeface="Arial" charset="0"/>
                  <a:cs typeface="Arial" charset="0"/>
                </a:defRPr>
              </a:lvl9pPr>
            </a:lstStyle>
            <a:p>
              <a:pPr eaLnBrk="1" hangingPunct="1">
                <a:spcBef>
                  <a:spcPct val="20000"/>
                </a:spcBef>
                <a:buClr>
                  <a:srgbClr val="0084C2"/>
                </a:buClr>
                <a:buSzPct val="130000"/>
                <a:buFont typeface="Times New Roman" pitchFamily="18" charset="0"/>
                <a:buNone/>
                <a:defRPr/>
              </a:pPr>
              <a:endParaRPr lang="en-US" altLang="en-US" sz="1276">
                <a:solidFill>
                  <a:srgbClr val="000000"/>
                </a:solidFill>
              </a:endParaRPr>
            </a:p>
          </p:txBody>
        </p:sp>
      </p:grpSp>
    </p:spTree>
    <p:extLst>
      <p:ext uri="{BB962C8B-B14F-4D97-AF65-F5344CB8AC3E}">
        <p14:creationId xmlns:p14="http://schemas.microsoft.com/office/powerpoint/2010/main" val="75501890"/>
      </p:ext>
    </p:extLst>
  </p:cSld>
  <p:clrMap bg1="lt1" tx1="dk1" bg2="lt2" tx2="dk2" accent1="accent1" accent2="accent2" accent3="accent3" accent4="accent4" accent5="accent5" accent6="accent6" hlink="hlink" folHlink="folHlink"/>
  <p:sldLayoutIdLst>
    <p:sldLayoutId id="2147484632" r:id="rId1"/>
    <p:sldLayoutId id="2147484633" r:id="rId2"/>
    <p:sldLayoutId id="2147484634" r:id="rId3"/>
    <p:sldLayoutId id="2147484635" r:id="rId4"/>
    <p:sldLayoutId id="2147484636" r:id="rId5"/>
    <p:sldLayoutId id="2147484637" r:id="rId6"/>
    <p:sldLayoutId id="2147484638" r:id="rId7"/>
    <p:sldLayoutId id="2147484639" r:id="rId8"/>
    <p:sldLayoutId id="2147484640" r:id="rId9"/>
    <p:sldLayoutId id="2147484641" r:id="rId10"/>
    <p:sldLayoutId id="2147484642" r:id="rId11"/>
    <p:sldLayoutId id="2147484643" r:id="rId12"/>
  </p:sldLayoutIdLst>
  <p:hf hdr="0" dt="0"/>
  <p:txStyles>
    <p:titleStyle>
      <a:lvl1pPr algn="l" rtl="0" eaLnBrk="0" fontAlgn="base" hangingPunct="0">
        <a:spcBef>
          <a:spcPct val="0"/>
        </a:spcBef>
        <a:spcAft>
          <a:spcPct val="0"/>
        </a:spcAft>
        <a:defRPr sz="2600">
          <a:solidFill>
            <a:srgbClr val="0084C2"/>
          </a:solidFill>
          <a:latin typeface="+mj-lt"/>
          <a:ea typeface="+mj-ea"/>
          <a:cs typeface="+mj-cs"/>
        </a:defRPr>
      </a:lvl1pPr>
      <a:lvl2pPr algn="l" rtl="0" eaLnBrk="0" fontAlgn="base" hangingPunct="0">
        <a:spcBef>
          <a:spcPct val="0"/>
        </a:spcBef>
        <a:spcAft>
          <a:spcPct val="0"/>
        </a:spcAft>
        <a:defRPr sz="2600">
          <a:solidFill>
            <a:srgbClr val="0084C2"/>
          </a:solidFill>
          <a:latin typeface="Arial" charset="0"/>
          <a:cs typeface="Arial" charset="0"/>
        </a:defRPr>
      </a:lvl2pPr>
      <a:lvl3pPr algn="l" rtl="0" eaLnBrk="0" fontAlgn="base" hangingPunct="0">
        <a:spcBef>
          <a:spcPct val="0"/>
        </a:spcBef>
        <a:spcAft>
          <a:spcPct val="0"/>
        </a:spcAft>
        <a:defRPr sz="2600">
          <a:solidFill>
            <a:srgbClr val="0084C2"/>
          </a:solidFill>
          <a:latin typeface="Arial" charset="0"/>
          <a:cs typeface="Arial" charset="0"/>
        </a:defRPr>
      </a:lvl3pPr>
      <a:lvl4pPr algn="l" rtl="0" eaLnBrk="0" fontAlgn="base" hangingPunct="0">
        <a:spcBef>
          <a:spcPct val="0"/>
        </a:spcBef>
        <a:spcAft>
          <a:spcPct val="0"/>
        </a:spcAft>
        <a:defRPr sz="2600">
          <a:solidFill>
            <a:srgbClr val="0084C2"/>
          </a:solidFill>
          <a:latin typeface="Arial" charset="0"/>
          <a:cs typeface="Arial" charset="0"/>
        </a:defRPr>
      </a:lvl4pPr>
      <a:lvl5pPr algn="l" rtl="0" eaLnBrk="0" fontAlgn="base" hangingPunct="0">
        <a:spcBef>
          <a:spcPct val="0"/>
        </a:spcBef>
        <a:spcAft>
          <a:spcPct val="0"/>
        </a:spcAft>
        <a:defRPr sz="2600">
          <a:solidFill>
            <a:srgbClr val="0084C2"/>
          </a:solidFill>
          <a:latin typeface="Arial" charset="0"/>
          <a:cs typeface="Arial" charset="0"/>
        </a:defRPr>
      </a:lvl5pPr>
      <a:lvl6pPr marL="457200" algn="l" rtl="0" fontAlgn="base">
        <a:spcBef>
          <a:spcPct val="0"/>
        </a:spcBef>
        <a:spcAft>
          <a:spcPct val="0"/>
        </a:spcAft>
        <a:defRPr sz="2600">
          <a:solidFill>
            <a:srgbClr val="0084C2"/>
          </a:solidFill>
          <a:latin typeface="Arial" charset="0"/>
          <a:cs typeface="Arial" charset="0"/>
        </a:defRPr>
      </a:lvl6pPr>
      <a:lvl7pPr marL="914400" algn="l" rtl="0" fontAlgn="base">
        <a:spcBef>
          <a:spcPct val="0"/>
        </a:spcBef>
        <a:spcAft>
          <a:spcPct val="0"/>
        </a:spcAft>
        <a:defRPr sz="2600">
          <a:solidFill>
            <a:srgbClr val="0084C2"/>
          </a:solidFill>
          <a:latin typeface="Arial" charset="0"/>
          <a:cs typeface="Arial" charset="0"/>
        </a:defRPr>
      </a:lvl7pPr>
      <a:lvl8pPr marL="1371600" algn="l" rtl="0" fontAlgn="base">
        <a:spcBef>
          <a:spcPct val="0"/>
        </a:spcBef>
        <a:spcAft>
          <a:spcPct val="0"/>
        </a:spcAft>
        <a:defRPr sz="2600">
          <a:solidFill>
            <a:srgbClr val="0084C2"/>
          </a:solidFill>
          <a:latin typeface="Arial" charset="0"/>
          <a:cs typeface="Arial" charset="0"/>
        </a:defRPr>
      </a:lvl8pPr>
      <a:lvl9pPr marL="1828800" algn="l" rtl="0" fontAlgn="base">
        <a:spcBef>
          <a:spcPct val="0"/>
        </a:spcBef>
        <a:spcAft>
          <a:spcPct val="0"/>
        </a:spcAft>
        <a:defRPr sz="2600">
          <a:solidFill>
            <a:srgbClr val="0084C2"/>
          </a:solidFill>
          <a:latin typeface="Arial" charset="0"/>
          <a:cs typeface="Arial" charset="0"/>
        </a:defRPr>
      </a:lvl9pPr>
    </p:titleStyle>
    <p:bodyStyle>
      <a:lvl1pPr marL="268288" indent="-268288" algn="l" rtl="0" eaLnBrk="0" fontAlgn="base" hangingPunct="0">
        <a:spcBef>
          <a:spcPct val="20000"/>
        </a:spcBef>
        <a:spcAft>
          <a:spcPct val="0"/>
        </a:spcAft>
        <a:buClr>
          <a:srgbClr val="0084C2"/>
        </a:buClr>
        <a:buSzPct val="130000"/>
        <a:buFont typeface="Arial" charset="0"/>
        <a:buChar char=":"/>
        <a:defRPr sz="1700">
          <a:solidFill>
            <a:schemeClr val="tx1"/>
          </a:solidFill>
          <a:latin typeface="+mn-lt"/>
          <a:ea typeface="+mn-ea"/>
          <a:cs typeface="+mn-cs"/>
        </a:defRPr>
      </a:lvl1pPr>
      <a:lvl2pPr marL="541338" indent="-271463" algn="l" rtl="0" eaLnBrk="0" fontAlgn="base" hangingPunct="0">
        <a:spcBef>
          <a:spcPct val="20000"/>
        </a:spcBef>
        <a:spcAft>
          <a:spcPct val="0"/>
        </a:spcAft>
        <a:buClr>
          <a:srgbClr val="0084C2"/>
        </a:buClr>
        <a:buFont typeface="Arial" charset="0"/>
        <a:buChar char="-"/>
        <a:defRPr sz="1600">
          <a:solidFill>
            <a:schemeClr val="tx1"/>
          </a:solidFill>
          <a:latin typeface="+mn-lt"/>
          <a:cs typeface="+mn-cs"/>
        </a:defRPr>
      </a:lvl2pPr>
      <a:lvl3pPr marL="809625" indent="-266700" algn="l" rtl="0" eaLnBrk="0" fontAlgn="base" hangingPunct="0">
        <a:spcBef>
          <a:spcPct val="20000"/>
        </a:spcBef>
        <a:spcAft>
          <a:spcPct val="0"/>
        </a:spcAft>
        <a:buClr>
          <a:srgbClr val="0084C2"/>
        </a:buClr>
        <a:buSzPct val="50000"/>
        <a:buFont typeface="Arial" charset="0"/>
        <a:buChar char="▪"/>
        <a:defRPr sz="1600">
          <a:solidFill>
            <a:schemeClr val="tx1"/>
          </a:solidFill>
          <a:latin typeface="+mn-lt"/>
          <a:cs typeface="+mn-cs"/>
        </a:defRPr>
      </a:lvl3pPr>
      <a:lvl4pPr marL="1073150" indent="-261938" algn="l" rtl="0" eaLnBrk="0" fontAlgn="base" hangingPunct="0">
        <a:spcBef>
          <a:spcPct val="20000"/>
        </a:spcBef>
        <a:spcAft>
          <a:spcPct val="0"/>
        </a:spcAft>
        <a:buClr>
          <a:srgbClr val="0084C2"/>
        </a:buClr>
        <a:buSzPct val="50000"/>
        <a:buFont typeface="Arial" charset="0"/>
        <a:buChar char="▪"/>
        <a:defRPr sz="1600">
          <a:solidFill>
            <a:schemeClr val="tx1"/>
          </a:solidFill>
          <a:latin typeface="+mn-lt"/>
          <a:cs typeface="+mn-cs"/>
        </a:defRPr>
      </a:lvl4pPr>
      <a:lvl5pPr marL="2157413" indent="-228600" algn="l" rtl="0" eaLnBrk="0" fontAlgn="base" hangingPunct="0">
        <a:spcBef>
          <a:spcPct val="20000"/>
        </a:spcBef>
        <a:spcAft>
          <a:spcPct val="0"/>
        </a:spcAft>
        <a:buChar char="»"/>
        <a:defRPr sz="1600">
          <a:solidFill>
            <a:schemeClr val="tx1"/>
          </a:solidFill>
          <a:latin typeface="+mn-lt"/>
          <a:cs typeface="+mn-cs"/>
        </a:defRPr>
      </a:lvl5pPr>
      <a:lvl6pPr marL="2614613" indent="-228600" algn="l" rtl="0" fontAlgn="base">
        <a:spcBef>
          <a:spcPct val="20000"/>
        </a:spcBef>
        <a:spcAft>
          <a:spcPct val="0"/>
        </a:spcAft>
        <a:buChar char="»"/>
        <a:defRPr sz="1600">
          <a:solidFill>
            <a:schemeClr val="tx1"/>
          </a:solidFill>
          <a:latin typeface="+mn-lt"/>
          <a:cs typeface="+mn-cs"/>
        </a:defRPr>
      </a:lvl6pPr>
      <a:lvl7pPr marL="3071813" indent="-228600" algn="l" rtl="0" fontAlgn="base">
        <a:spcBef>
          <a:spcPct val="20000"/>
        </a:spcBef>
        <a:spcAft>
          <a:spcPct val="0"/>
        </a:spcAft>
        <a:buChar char="»"/>
        <a:defRPr sz="1600">
          <a:solidFill>
            <a:schemeClr val="tx1"/>
          </a:solidFill>
          <a:latin typeface="+mn-lt"/>
          <a:cs typeface="+mn-cs"/>
        </a:defRPr>
      </a:lvl7pPr>
      <a:lvl8pPr marL="3529013" indent="-228600" algn="l" rtl="0" fontAlgn="base">
        <a:spcBef>
          <a:spcPct val="20000"/>
        </a:spcBef>
        <a:spcAft>
          <a:spcPct val="0"/>
        </a:spcAft>
        <a:buChar char="»"/>
        <a:defRPr sz="1600">
          <a:solidFill>
            <a:schemeClr val="tx1"/>
          </a:solidFill>
          <a:latin typeface="+mn-lt"/>
          <a:cs typeface="+mn-cs"/>
        </a:defRPr>
      </a:lvl8pPr>
      <a:lvl9pPr marL="3986213" indent="-228600" algn="l" rtl="0" fontAlgn="base">
        <a:spcBef>
          <a:spcPct val="20000"/>
        </a:spcBef>
        <a:spcAft>
          <a:spcPct val="0"/>
        </a:spcAft>
        <a:buChar char="»"/>
        <a:defRPr sz="1600">
          <a:solidFill>
            <a:schemeClr val="tx1"/>
          </a:solidFill>
          <a:latin typeface="+mn-lt"/>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0810626"/>
      </p:ext>
    </p:extLst>
  </p:cSld>
  <p:clrMap bg1="lt1" tx1="dk1" bg2="lt2" tx2="dk2" accent1="accent1" accent2="accent2" accent3="accent3" accent4="accent4" accent5="accent5" accent6="accent6" hlink="hlink" folHlink="folHlink"/>
  <p:sldLayoutIdLst>
    <p:sldLayoutId id="2147485196" r:id="rId1"/>
    <p:sldLayoutId id="2147485179" r:id="rId2"/>
  </p:sldLayoutIdLst>
  <p:transition>
    <p:fade/>
  </p:transition>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E"/>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6946195"/>
      </p:ext>
    </p:extLst>
  </p:cSld>
  <p:clrMap bg1="lt1" tx1="dk1" bg2="lt2" tx2="dk2" accent1="accent1" accent2="accent2" accent3="accent3" accent4="accent4" accent5="accent5" accent6="accent6" hlink="hlink" folHlink="folHlink"/>
  <p:sldLayoutIdLst>
    <p:sldLayoutId id="2147483665" r:id="rId1"/>
    <p:sldLayoutId id="2147485197" r:id="rId2"/>
    <p:sldLayoutId id="2147483673" r:id="rId3"/>
    <p:sldLayoutId id="2147483667" r:id="rId4"/>
    <p:sldLayoutId id="2147483668" r:id="rId5"/>
    <p:sldLayoutId id="2147485193" r:id="rId6"/>
    <p:sldLayoutId id="2147485194" r:id="rId7"/>
    <p:sldLayoutId id="2147485199" r:id="rId8"/>
  </p:sldLayoutIdLst>
  <p:transition>
    <p:fade/>
  </p:transition>
  <p:hf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pic>
        <p:nvPicPr>
          <p:cNvPr id="3" name="Picture 2" descr="A grey and white background&#10;&#10;Description automatically generated">
            <a:extLst>
              <a:ext uri="{FF2B5EF4-FFF2-40B4-BE49-F238E27FC236}">
                <a16:creationId xmlns:a16="http://schemas.microsoft.com/office/drawing/2014/main" id="{81DF4B53-7811-A34E-E9CD-6ACE17FE75D3}"/>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7951" y="-56270"/>
            <a:ext cx="9317704" cy="5204533"/>
          </a:xfrm>
          <a:prstGeom prst="rect">
            <a:avLst/>
          </a:prstGeom>
        </p:spPr>
      </p:pic>
      <p:sp>
        <p:nvSpPr>
          <p:cNvPr id="4" name="Rectangle 3">
            <a:extLst>
              <a:ext uri="{FF2B5EF4-FFF2-40B4-BE49-F238E27FC236}">
                <a16:creationId xmlns:a16="http://schemas.microsoft.com/office/drawing/2014/main" id="{909D9032-5E6F-434B-0F61-D582AB56463D}"/>
              </a:ext>
            </a:extLst>
          </p:cNvPr>
          <p:cNvSpPr/>
          <p:nvPr userDrawn="1"/>
        </p:nvSpPr>
        <p:spPr>
          <a:xfrm>
            <a:off x="-7951" y="-56270"/>
            <a:ext cx="9317704" cy="5204534"/>
          </a:xfrm>
          <a:prstGeom prst="rect">
            <a:avLst/>
          </a:prstGeom>
          <a:gradFill>
            <a:gsLst>
              <a:gs pos="0">
                <a:srgbClr val="1A1918">
                  <a:alpha val="83164"/>
                  <a:lumMod val="79995"/>
                  <a:lumOff val="20005"/>
                </a:srgbClr>
              </a:gs>
              <a:gs pos="77000">
                <a:srgbClr val="222323"/>
              </a:gs>
              <a:gs pos="43000">
                <a:srgbClr val="222323">
                  <a:lumMod val="63000"/>
                </a:srgbClr>
              </a:gs>
            </a:gsLst>
            <a:lin ang="2880000" scaled="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TextBox 8"/>
          <p:cNvSpPr txBox="1"/>
          <p:nvPr/>
        </p:nvSpPr>
        <p:spPr>
          <a:xfrm>
            <a:off x="7115820" y="4669577"/>
            <a:ext cx="1636295" cy="254151"/>
          </a:xfrm>
          <a:prstGeom prst="rect">
            <a:avLst/>
          </a:prstGeom>
          <a:noFill/>
        </p:spPr>
        <p:txBody>
          <a:bodyPr wrap="square" rtlCol="0">
            <a:spAutoFit/>
          </a:bodyPr>
          <a:lstStyle/>
          <a:p>
            <a:pPr algn="r"/>
            <a:r>
              <a:rPr lang="en-US" sz="1050" b="0" dirty="0">
                <a:solidFill>
                  <a:schemeClr val="accent4"/>
                </a:solidFill>
                <a:latin typeface="Arial"/>
                <a:cs typeface="Arial"/>
              </a:rPr>
              <a:t>www.itron.com</a:t>
            </a:r>
          </a:p>
        </p:txBody>
      </p:sp>
      <p:pic>
        <p:nvPicPr>
          <p:cNvPr id="6" name="Picture 5" descr="A white and yellow logo&#10;&#10;Description automatically generated">
            <a:extLst>
              <a:ext uri="{FF2B5EF4-FFF2-40B4-BE49-F238E27FC236}">
                <a16:creationId xmlns:a16="http://schemas.microsoft.com/office/drawing/2014/main" id="{53A19C19-83F4-2C78-04E8-EB6991670083}"/>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614613" y="551465"/>
            <a:ext cx="808548" cy="342194"/>
          </a:xfrm>
          <a:prstGeom prst="rect">
            <a:avLst/>
          </a:prstGeom>
        </p:spPr>
      </p:pic>
    </p:spTree>
    <p:extLst>
      <p:ext uri="{BB962C8B-B14F-4D97-AF65-F5344CB8AC3E}">
        <p14:creationId xmlns:p14="http://schemas.microsoft.com/office/powerpoint/2010/main" val="2167089576"/>
      </p:ext>
    </p:extLst>
  </p:cSld>
  <p:clrMap bg1="lt1" tx1="dk1" bg2="lt2" tx2="dk2" accent1="accent1" accent2="accent2" accent3="accent3" accent4="accent4" accent5="accent5" accent6="accent6" hlink="hlink" folHlink="folHlink"/>
  <p:sldLayoutIdLst>
    <p:sldLayoutId id="2147483672" r:id="rId1"/>
  </p:sldLayoutIdLst>
  <p:transition>
    <p:fade/>
  </p:transition>
  <p:hf hdr="0" dt="0"/>
  <p:txStyles>
    <p:titleStyle>
      <a:lvl1pPr algn="ctr" defTabSz="342900" rtl="0" eaLnBrk="1" latinLnBrk="0" hangingPunct="1">
        <a:spcBef>
          <a:spcPct val="0"/>
        </a:spcBef>
        <a:buNone/>
        <a:defRPr sz="3300" kern="1200">
          <a:solidFill>
            <a:schemeClr val="tx1"/>
          </a:solidFill>
          <a:latin typeface="+mj-lt"/>
          <a:ea typeface="+mj-ea"/>
          <a:cs typeface="+mj-cs"/>
        </a:defRPr>
      </a:lvl1pPr>
    </p:titleStyle>
    <p:bodyStyle>
      <a:lvl1pPr marL="257175" indent="-257175" algn="l" defTabSz="342900" rtl="0" eaLnBrk="1" latinLnBrk="0" hangingPunct="1">
        <a:spcBef>
          <a:spcPct val="20000"/>
        </a:spcBef>
        <a:buFont typeface="Arial"/>
        <a:buChar char="•"/>
        <a:defRPr sz="2400" kern="1200">
          <a:solidFill>
            <a:schemeClr val="tx1"/>
          </a:solidFill>
          <a:latin typeface="+mn-lt"/>
          <a:ea typeface="+mn-ea"/>
          <a:cs typeface="+mn-cs"/>
        </a:defRPr>
      </a:lvl1pPr>
      <a:lvl2pPr marL="557213" indent="-214313" algn="l" defTabSz="342900" rtl="0" eaLnBrk="1" latinLnBrk="0" hangingPunct="1">
        <a:spcBef>
          <a:spcPct val="20000"/>
        </a:spcBef>
        <a:buFont typeface="Arial"/>
        <a:buChar char="–"/>
        <a:defRPr sz="2100" kern="1200">
          <a:solidFill>
            <a:schemeClr val="tx1"/>
          </a:solidFill>
          <a:latin typeface="+mn-lt"/>
          <a:ea typeface="+mn-ea"/>
          <a:cs typeface="+mn-cs"/>
        </a:defRPr>
      </a:lvl2pPr>
      <a:lvl3pPr marL="857250" indent="-171450" algn="l" defTabSz="342900" rtl="0" eaLnBrk="1" latinLnBrk="0" hangingPunct="1">
        <a:spcBef>
          <a:spcPct val="20000"/>
        </a:spcBef>
        <a:buFont typeface="Arial"/>
        <a:buChar char="•"/>
        <a:defRPr sz="1800" kern="1200">
          <a:solidFill>
            <a:schemeClr val="tx1"/>
          </a:solidFill>
          <a:latin typeface="+mn-lt"/>
          <a:ea typeface="+mn-ea"/>
          <a:cs typeface="+mn-cs"/>
        </a:defRPr>
      </a:lvl3pPr>
      <a:lvl4pPr marL="1200150" indent="-171450" algn="l" defTabSz="342900" rtl="0" eaLnBrk="1" latinLnBrk="0" hangingPunct="1">
        <a:spcBef>
          <a:spcPct val="20000"/>
        </a:spcBef>
        <a:buFont typeface="Arial"/>
        <a:buChar char="–"/>
        <a:defRPr sz="1500" kern="1200">
          <a:solidFill>
            <a:schemeClr val="tx1"/>
          </a:solidFill>
          <a:latin typeface="+mn-lt"/>
          <a:ea typeface="+mn-ea"/>
          <a:cs typeface="+mn-cs"/>
        </a:defRPr>
      </a:lvl4pPr>
      <a:lvl5pPr marL="1543050" indent="-171450" algn="l" defTabSz="342900" rtl="0" eaLnBrk="1" latinLnBrk="0" hangingPunct="1">
        <a:spcBef>
          <a:spcPct val="20000"/>
        </a:spcBef>
        <a:buFont typeface="Arial"/>
        <a:buChar char="»"/>
        <a:defRPr sz="1500" kern="1200">
          <a:solidFill>
            <a:schemeClr val="tx1"/>
          </a:solidFill>
          <a:latin typeface="+mn-lt"/>
          <a:ea typeface="+mn-ea"/>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FFFE"/>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50954483"/>
      </p:ext>
    </p:extLst>
  </p:cSld>
  <p:clrMap bg1="lt1" tx1="dk1" bg2="lt2" tx2="dk2" accent1="accent1" accent2="accent2" accent3="accent3" accent4="accent4" accent5="accent5" accent6="accent6" hlink="hlink" folHlink="folHlink"/>
  <p:sldLayoutIdLst>
    <p:sldLayoutId id="2147483801" r:id="rId1"/>
  </p:sldLayoutIdLst>
  <p:hf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6" name="Footer Placeholder 4"/>
          <p:cNvSpPr txBox="1">
            <a:spLocks/>
          </p:cNvSpPr>
          <p:nvPr userDrawn="1"/>
        </p:nvSpPr>
        <p:spPr>
          <a:xfrm>
            <a:off x="8436853" y="4830674"/>
            <a:ext cx="580148" cy="273051"/>
          </a:xfrm>
          <a:prstGeom prst="rect">
            <a:avLst/>
          </a:prstGeom>
        </p:spPr>
        <p:txBody>
          <a:bodyPr vert="horz" lIns="91355" tIns="45678" rIns="91355" bIns="45678" rtlCol="0" anchor="ctr"/>
          <a:lstStyle>
            <a:defPPr>
              <a:defRPr lang="en-US"/>
            </a:defPPr>
            <a:lvl1pPr marL="0" algn="r" defTabSz="457200" rtl="0" eaLnBrk="1" latinLnBrk="0" hangingPunct="1">
              <a:defRPr sz="900" b="0" kern="1200">
                <a:solidFill>
                  <a:schemeClr val="tx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7572B9F8-3DFE-2044-BE1B-AA11B5D57ABE}" type="slidenum">
              <a:rPr lang="en-US" sz="899" smtClean="0"/>
              <a:t>‹#›</a:t>
            </a:fld>
            <a:endParaRPr lang="en-US" sz="899"/>
          </a:p>
        </p:txBody>
      </p:sp>
      <p:sp>
        <p:nvSpPr>
          <p:cNvPr id="8" name="Footer Placeholder 4">
            <a:extLst>
              <a:ext uri="{FF2B5EF4-FFF2-40B4-BE49-F238E27FC236}">
                <a16:creationId xmlns:a16="http://schemas.microsoft.com/office/drawing/2014/main" id="{9FFDB7FE-C573-476C-B82C-F2491486003B}"/>
              </a:ext>
            </a:extLst>
          </p:cNvPr>
          <p:cNvSpPr>
            <a:spLocks noGrp="1"/>
          </p:cNvSpPr>
          <p:nvPr>
            <p:ph type="ftr" sz="quarter" idx="3"/>
          </p:nvPr>
        </p:nvSpPr>
        <p:spPr>
          <a:xfrm>
            <a:off x="6579396" y="4838125"/>
            <a:ext cx="2282021" cy="273051"/>
          </a:xfrm>
          <a:prstGeom prst="rect">
            <a:avLst/>
          </a:prstGeom>
        </p:spPr>
        <p:txBody>
          <a:bodyPr vert="horz" lIns="91440" tIns="45720" rIns="91440" bIns="45720" rtlCol="0" anchor="ctr"/>
          <a:lstStyle>
            <a:lvl1pPr algn="r">
              <a:defRPr sz="899" b="0">
                <a:solidFill>
                  <a:schemeClr val="tx2"/>
                </a:solidFill>
              </a:defRPr>
            </a:lvl1pPr>
          </a:lstStyle>
          <a:p>
            <a:endParaRPr lang="en-US"/>
          </a:p>
        </p:txBody>
      </p:sp>
      <p:grpSp>
        <p:nvGrpSpPr>
          <p:cNvPr id="4" name="Group 3">
            <a:extLst>
              <a:ext uri="{FF2B5EF4-FFF2-40B4-BE49-F238E27FC236}">
                <a16:creationId xmlns:a16="http://schemas.microsoft.com/office/drawing/2014/main" id="{92743D54-437F-046B-6956-4CCF9DD8031A}"/>
              </a:ext>
            </a:extLst>
          </p:cNvPr>
          <p:cNvGrpSpPr/>
          <p:nvPr userDrawn="1"/>
        </p:nvGrpSpPr>
        <p:grpSpPr>
          <a:xfrm>
            <a:off x="1113372" y="4849051"/>
            <a:ext cx="3116163" cy="230239"/>
            <a:chOff x="1014620" y="4864974"/>
            <a:chExt cx="3116163" cy="230239"/>
          </a:xfrm>
        </p:grpSpPr>
        <p:pic>
          <p:nvPicPr>
            <p:cNvPr id="5" name="Picture 4" descr="Itron_Solo_Pos_RGB.png">
              <a:extLst>
                <a:ext uri="{FF2B5EF4-FFF2-40B4-BE49-F238E27FC236}">
                  <a16:creationId xmlns:a16="http://schemas.microsoft.com/office/drawing/2014/main" id="{925A9D71-4CA6-1DBF-0A64-B47A10387A1B}"/>
                </a:ext>
              </a:extLst>
            </p:cNvPr>
            <p:cNvPicPr>
              <a:picLocks/>
            </p:cNvPicPr>
            <p:nvPr userDrawn="1"/>
          </p:nvPicPr>
          <p:blipFill>
            <a:blip r:embed="rId3" cstate="email">
              <a:extLst>
                <a:ext uri="{28A0092B-C50C-407E-A947-70E740481C1C}">
                  <a14:useLocalDpi xmlns:a14="http://schemas.microsoft.com/office/drawing/2010/main"/>
                </a:ext>
              </a:extLst>
            </a:blip>
            <a:stretch>
              <a:fillRect/>
            </a:stretch>
          </p:blipFill>
          <p:spPr>
            <a:xfrm>
              <a:off x="1014620" y="4864974"/>
              <a:ext cx="389862" cy="182402"/>
            </a:xfrm>
            <a:prstGeom prst="rect">
              <a:avLst/>
            </a:prstGeom>
          </p:spPr>
        </p:pic>
        <p:sp>
          <p:nvSpPr>
            <p:cNvPr id="10" name="TextBox 9">
              <a:extLst>
                <a:ext uri="{FF2B5EF4-FFF2-40B4-BE49-F238E27FC236}">
                  <a16:creationId xmlns:a16="http://schemas.microsoft.com/office/drawing/2014/main" id="{856DF833-2711-A9E5-A92A-7B3508B2DC74}"/>
                </a:ext>
              </a:extLst>
            </p:cNvPr>
            <p:cNvSpPr txBox="1"/>
            <p:nvPr userDrawn="1"/>
          </p:nvSpPr>
          <p:spPr>
            <a:xfrm>
              <a:off x="1419333" y="4910547"/>
              <a:ext cx="2711450" cy="184666"/>
            </a:xfrm>
            <a:prstGeom prst="rect">
              <a:avLst/>
            </a:prstGeom>
            <a:noFill/>
          </p:spPr>
          <p:txBody>
            <a:bodyPr wrap="square" rtlCol="0">
              <a:spAutoFit/>
            </a:bodyPr>
            <a:lstStyle/>
            <a:p>
              <a:pPr algn="l"/>
              <a:r>
                <a:rPr lang="en-US" sz="599" kern="1200" dirty="0">
                  <a:solidFill>
                    <a:schemeClr val="tx2">
                      <a:lumMod val="60000"/>
                      <a:lumOff val="40000"/>
                    </a:schemeClr>
                  </a:solidFill>
                  <a:latin typeface="+mn-lt"/>
                  <a:ea typeface="+mn-ea"/>
                  <a:cs typeface="+mn-cs"/>
                </a:rPr>
                <a:t>©2025  ITRON CONFIDENTIAL PROPRIETARY</a:t>
              </a:r>
              <a:endParaRPr lang="en-US" sz="599" dirty="0">
                <a:solidFill>
                  <a:schemeClr val="tx2">
                    <a:lumMod val="60000"/>
                    <a:lumOff val="40000"/>
                  </a:schemeClr>
                </a:solidFill>
              </a:endParaRPr>
            </a:p>
          </p:txBody>
        </p:sp>
      </p:grpSp>
      <p:pic>
        <p:nvPicPr>
          <p:cNvPr id="3" name="Picture 2" descr="A logo for a company&#10;&#10;AI-generated content may be incorrect.">
            <a:extLst>
              <a:ext uri="{FF2B5EF4-FFF2-40B4-BE49-F238E27FC236}">
                <a16:creationId xmlns:a16="http://schemas.microsoft.com/office/drawing/2014/main" id="{635D07C3-B6AD-6624-C1B1-934E31714D9A}"/>
              </a:ext>
            </a:extLst>
          </p:cNvPr>
          <p:cNvPicPr>
            <a:picLocks noChangeAspect="1"/>
          </p:cNvPicPr>
          <p:nvPr userDrawn="1"/>
        </p:nvPicPr>
        <p:blipFill>
          <a:blip r:embed="rId4"/>
          <a:stretch>
            <a:fillRect/>
          </a:stretch>
        </p:blipFill>
        <p:spPr>
          <a:xfrm>
            <a:off x="126999" y="4849051"/>
            <a:ext cx="726123" cy="262125"/>
          </a:xfrm>
          <a:prstGeom prst="rect">
            <a:avLst/>
          </a:prstGeom>
        </p:spPr>
      </p:pic>
    </p:spTree>
    <p:extLst>
      <p:ext uri="{BB962C8B-B14F-4D97-AF65-F5344CB8AC3E}">
        <p14:creationId xmlns:p14="http://schemas.microsoft.com/office/powerpoint/2010/main" val="127644097"/>
      </p:ext>
    </p:extLst>
  </p:cSld>
  <p:clrMap bg1="lt1" tx1="dk1" bg2="lt2" tx2="dk2" accent1="accent1" accent2="accent2" accent3="accent3" accent4="accent4" accent5="accent5" accent6="accent6" hlink="hlink" folHlink="folHlink"/>
  <p:sldLayoutIdLst>
    <p:sldLayoutId id="2147485161" r:id="rId1"/>
  </p:sldLayoutIdLst>
  <p:transition>
    <p:fade/>
  </p:transition>
  <p:hf hdr="0" dt="0"/>
  <p:txStyles>
    <p:titleStyle>
      <a:lvl1pPr algn="l" defTabSz="456777" rtl="0" eaLnBrk="1" latinLnBrk="0" hangingPunct="1">
        <a:spcBef>
          <a:spcPct val="0"/>
        </a:spcBef>
        <a:buNone/>
        <a:defRPr sz="2398" b="1" kern="1200" cap="all">
          <a:solidFill>
            <a:srgbClr val="CF2124"/>
          </a:solidFill>
          <a:latin typeface="Arial"/>
          <a:ea typeface="+mj-ea"/>
          <a:cs typeface="Arial"/>
        </a:defRPr>
      </a:lvl1pPr>
    </p:titleStyle>
    <p:bodyStyle>
      <a:lvl1pPr marL="171292" indent="-171292" algn="l" defTabSz="456777" rtl="0" eaLnBrk="1" latinLnBrk="0" hangingPunct="1">
        <a:spcBef>
          <a:spcPct val="20000"/>
        </a:spcBef>
        <a:buClr>
          <a:srgbClr val="D02124"/>
        </a:buClr>
        <a:buFont typeface="Lucida Grande"/>
        <a:buChar char="»"/>
        <a:defRPr sz="1598" kern="1200">
          <a:solidFill>
            <a:schemeClr val="tx1"/>
          </a:solidFill>
          <a:latin typeface="Arial"/>
          <a:ea typeface="+mn-ea"/>
          <a:cs typeface="Arial"/>
        </a:defRPr>
      </a:lvl1pPr>
      <a:lvl2pPr marL="285486" indent="-114194" algn="l" defTabSz="456777" rtl="0" eaLnBrk="1" latinLnBrk="0" hangingPunct="1">
        <a:spcBef>
          <a:spcPct val="20000"/>
        </a:spcBef>
        <a:buClr>
          <a:srgbClr val="D02124"/>
        </a:buClr>
        <a:buSzPct val="100000"/>
        <a:buFont typeface="Arial"/>
        <a:buChar char="•"/>
        <a:defRPr sz="1598" kern="1200">
          <a:solidFill>
            <a:schemeClr val="tx1"/>
          </a:solidFill>
          <a:latin typeface="Arial"/>
          <a:ea typeface="+mn-ea"/>
          <a:cs typeface="Arial"/>
        </a:defRPr>
      </a:lvl2pPr>
      <a:lvl3pPr marL="456777" indent="-171292" algn="l" defTabSz="456777" rtl="0" eaLnBrk="1" latinLnBrk="0" hangingPunct="1">
        <a:spcBef>
          <a:spcPct val="20000"/>
        </a:spcBef>
        <a:buClr>
          <a:srgbClr val="D02124"/>
        </a:buClr>
        <a:buSzPct val="80000"/>
        <a:buFont typeface="Lucida Grande"/>
        <a:buChar char="-"/>
        <a:defRPr sz="1598" kern="1200" baseline="0">
          <a:solidFill>
            <a:schemeClr val="tx1"/>
          </a:solidFill>
          <a:latin typeface="Arial"/>
          <a:ea typeface="+mn-ea"/>
          <a:cs typeface="+mn-cs"/>
        </a:defRPr>
      </a:lvl3pPr>
      <a:lvl4pPr marL="1598720" indent="-228389" algn="l" defTabSz="456777" rtl="0" eaLnBrk="1" latinLnBrk="0" hangingPunct="1">
        <a:spcBef>
          <a:spcPct val="20000"/>
        </a:spcBef>
        <a:buFont typeface="Arial"/>
        <a:buChar char="–"/>
        <a:defRPr sz="1998" kern="1200">
          <a:solidFill>
            <a:schemeClr val="tx1"/>
          </a:solidFill>
          <a:latin typeface="+mn-lt"/>
          <a:ea typeface="+mn-ea"/>
          <a:cs typeface="+mn-cs"/>
        </a:defRPr>
      </a:lvl4pPr>
      <a:lvl5pPr marL="2055497" indent="-228389" algn="l" defTabSz="456777" rtl="0" eaLnBrk="1" latinLnBrk="0" hangingPunct="1">
        <a:spcBef>
          <a:spcPct val="20000"/>
        </a:spcBef>
        <a:buFont typeface="Arial"/>
        <a:buChar char="»"/>
        <a:defRPr sz="1998" kern="1200">
          <a:solidFill>
            <a:schemeClr val="tx1"/>
          </a:solidFill>
          <a:latin typeface="+mn-lt"/>
          <a:ea typeface="+mn-ea"/>
          <a:cs typeface="+mn-cs"/>
        </a:defRPr>
      </a:lvl5pPr>
      <a:lvl6pPr marL="2512274" indent="-228389" algn="l" defTabSz="456777" rtl="0" eaLnBrk="1" latinLnBrk="0" hangingPunct="1">
        <a:spcBef>
          <a:spcPct val="20000"/>
        </a:spcBef>
        <a:buFont typeface="Arial"/>
        <a:buChar char="•"/>
        <a:defRPr sz="1998" kern="1200">
          <a:solidFill>
            <a:schemeClr val="tx1"/>
          </a:solidFill>
          <a:latin typeface="+mn-lt"/>
          <a:ea typeface="+mn-ea"/>
          <a:cs typeface="+mn-cs"/>
        </a:defRPr>
      </a:lvl6pPr>
      <a:lvl7pPr marL="2969051" indent="-228389" algn="l" defTabSz="456777" rtl="0" eaLnBrk="1" latinLnBrk="0" hangingPunct="1">
        <a:spcBef>
          <a:spcPct val="20000"/>
        </a:spcBef>
        <a:buFont typeface="Arial"/>
        <a:buChar char="•"/>
        <a:defRPr sz="1998" kern="1200">
          <a:solidFill>
            <a:schemeClr val="tx1"/>
          </a:solidFill>
          <a:latin typeface="+mn-lt"/>
          <a:ea typeface="+mn-ea"/>
          <a:cs typeface="+mn-cs"/>
        </a:defRPr>
      </a:lvl7pPr>
      <a:lvl8pPr marL="3425828" indent="-228389" algn="l" defTabSz="456777" rtl="0" eaLnBrk="1" latinLnBrk="0" hangingPunct="1">
        <a:spcBef>
          <a:spcPct val="20000"/>
        </a:spcBef>
        <a:buFont typeface="Arial"/>
        <a:buChar char="•"/>
        <a:defRPr sz="1998" kern="1200">
          <a:solidFill>
            <a:schemeClr val="tx1"/>
          </a:solidFill>
          <a:latin typeface="+mn-lt"/>
          <a:ea typeface="+mn-ea"/>
          <a:cs typeface="+mn-cs"/>
        </a:defRPr>
      </a:lvl8pPr>
      <a:lvl9pPr marL="3882605" indent="-228389" algn="l" defTabSz="456777" rtl="0" eaLnBrk="1" latinLnBrk="0" hangingPunct="1">
        <a:spcBef>
          <a:spcPct val="20000"/>
        </a:spcBef>
        <a:buFont typeface="Arial"/>
        <a:buChar char="•"/>
        <a:defRPr sz="1998" kern="1200">
          <a:solidFill>
            <a:schemeClr val="tx1"/>
          </a:solidFill>
          <a:latin typeface="+mn-lt"/>
          <a:ea typeface="+mn-ea"/>
          <a:cs typeface="+mn-cs"/>
        </a:defRPr>
      </a:lvl9pPr>
    </p:bodyStyle>
    <p:otherStyle>
      <a:defPPr>
        <a:defRPr lang="en-US"/>
      </a:defPPr>
      <a:lvl1pPr marL="0" algn="l" defTabSz="456777" rtl="0" eaLnBrk="1" latinLnBrk="0" hangingPunct="1">
        <a:defRPr sz="1799" kern="1200">
          <a:solidFill>
            <a:schemeClr val="tx1"/>
          </a:solidFill>
          <a:latin typeface="+mn-lt"/>
          <a:ea typeface="+mn-ea"/>
          <a:cs typeface="+mn-cs"/>
        </a:defRPr>
      </a:lvl1pPr>
      <a:lvl2pPr marL="456777" algn="l" defTabSz="456777" rtl="0" eaLnBrk="1" latinLnBrk="0" hangingPunct="1">
        <a:defRPr sz="1799" kern="1200">
          <a:solidFill>
            <a:schemeClr val="tx1"/>
          </a:solidFill>
          <a:latin typeface="+mn-lt"/>
          <a:ea typeface="+mn-ea"/>
          <a:cs typeface="+mn-cs"/>
        </a:defRPr>
      </a:lvl2pPr>
      <a:lvl3pPr marL="913554" algn="l" defTabSz="456777" rtl="0" eaLnBrk="1" latinLnBrk="0" hangingPunct="1">
        <a:defRPr sz="1799" kern="1200">
          <a:solidFill>
            <a:schemeClr val="tx1"/>
          </a:solidFill>
          <a:latin typeface="+mn-lt"/>
          <a:ea typeface="+mn-ea"/>
          <a:cs typeface="+mn-cs"/>
        </a:defRPr>
      </a:lvl3pPr>
      <a:lvl4pPr marL="1370331" algn="l" defTabSz="456777" rtl="0" eaLnBrk="1" latinLnBrk="0" hangingPunct="1">
        <a:defRPr sz="1799" kern="1200">
          <a:solidFill>
            <a:schemeClr val="tx1"/>
          </a:solidFill>
          <a:latin typeface="+mn-lt"/>
          <a:ea typeface="+mn-ea"/>
          <a:cs typeface="+mn-cs"/>
        </a:defRPr>
      </a:lvl4pPr>
      <a:lvl5pPr marL="1827108" algn="l" defTabSz="456777" rtl="0" eaLnBrk="1" latinLnBrk="0" hangingPunct="1">
        <a:defRPr sz="1799" kern="1200">
          <a:solidFill>
            <a:schemeClr val="tx1"/>
          </a:solidFill>
          <a:latin typeface="+mn-lt"/>
          <a:ea typeface="+mn-ea"/>
          <a:cs typeface="+mn-cs"/>
        </a:defRPr>
      </a:lvl5pPr>
      <a:lvl6pPr marL="2283886" algn="l" defTabSz="456777" rtl="0" eaLnBrk="1" latinLnBrk="0" hangingPunct="1">
        <a:defRPr sz="1799" kern="1200">
          <a:solidFill>
            <a:schemeClr val="tx1"/>
          </a:solidFill>
          <a:latin typeface="+mn-lt"/>
          <a:ea typeface="+mn-ea"/>
          <a:cs typeface="+mn-cs"/>
        </a:defRPr>
      </a:lvl6pPr>
      <a:lvl7pPr marL="2740663" algn="l" defTabSz="456777" rtl="0" eaLnBrk="1" latinLnBrk="0" hangingPunct="1">
        <a:defRPr sz="1799" kern="1200">
          <a:solidFill>
            <a:schemeClr val="tx1"/>
          </a:solidFill>
          <a:latin typeface="+mn-lt"/>
          <a:ea typeface="+mn-ea"/>
          <a:cs typeface="+mn-cs"/>
        </a:defRPr>
      </a:lvl7pPr>
      <a:lvl8pPr marL="3197440" algn="l" defTabSz="456777" rtl="0" eaLnBrk="1" latinLnBrk="0" hangingPunct="1">
        <a:defRPr sz="1799" kern="1200">
          <a:solidFill>
            <a:schemeClr val="tx1"/>
          </a:solidFill>
          <a:latin typeface="+mn-lt"/>
          <a:ea typeface="+mn-ea"/>
          <a:cs typeface="+mn-cs"/>
        </a:defRPr>
      </a:lvl8pPr>
      <a:lvl9pPr marL="3654217" algn="l" defTabSz="456777" rtl="0" eaLnBrk="1" latinLnBrk="0" hangingPunct="1">
        <a:defRPr sz="1799"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5" name="Footer Placeholder 4"/>
          <p:cNvSpPr txBox="1">
            <a:spLocks/>
          </p:cNvSpPr>
          <p:nvPr userDrawn="1"/>
        </p:nvSpPr>
        <p:spPr>
          <a:xfrm>
            <a:off x="8510956" y="4819061"/>
            <a:ext cx="499697" cy="273049"/>
          </a:xfrm>
          <a:prstGeom prst="rect">
            <a:avLst/>
          </a:prstGeom>
        </p:spPr>
        <p:txBody>
          <a:bodyPr vert="horz" lIns="91354" tIns="45677" rIns="91354" bIns="45677" rtlCol="0" anchor="ctr"/>
          <a:lstStyle>
            <a:defPPr>
              <a:defRPr lang="en-US"/>
            </a:defPPr>
            <a:lvl1pPr marL="0" marR="0" indent="0" algn="r" defTabSz="456767" rtl="0" eaLnBrk="1" fontAlgn="auto" latinLnBrk="0" hangingPunct="1">
              <a:lnSpc>
                <a:spcPct val="100000"/>
              </a:lnSpc>
              <a:spcBef>
                <a:spcPts val="0"/>
              </a:spcBef>
              <a:spcAft>
                <a:spcPts val="0"/>
              </a:spcAft>
              <a:buClrTx/>
              <a:buSzTx/>
              <a:buFontTx/>
              <a:buNone/>
              <a:tabLst/>
              <a:defRPr sz="800" b="0" kern="1200">
                <a:solidFill>
                  <a:schemeClr val="bg1">
                    <a:lumMod val="60000"/>
                    <a:lumOff val="40000"/>
                  </a:schemeClr>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a:lstStyle>
          <a:p>
            <a:pPr>
              <a:defRPr/>
            </a:pPr>
            <a:fld id="{7F04727A-2180-284F-B331-CEFB00A519F5}" type="slidenum">
              <a:rPr lang="en-US" sz="899" smtClean="0"/>
              <a:t>‹#›</a:t>
            </a:fld>
            <a:endParaRPr lang="en-US" sz="899"/>
          </a:p>
        </p:txBody>
      </p:sp>
      <p:sp>
        <p:nvSpPr>
          <p:cNvPr id="7" name="Footer Placeholder 4"/>
          <p:cNvSpPr>
            <a:spLocks noGrp="1"/>
          </p:cNvSpPr>
          <p:nvPr>
            <p:ph type="ftr" sz="quarter" idx="3"/>
          </p:nvPr>
        </p:nvSpPr>
        <p:spPr>
          <a:xfrm>
            <a:off x="5915748" y="4827587"/>
            <a:ext cx="2890631" cy="273049"/>
          </a:xfrm>
          <a:prstGeom prst="rect">
            <a:avLst/>
          </a:prstGeom>
        </p:spPr>
        <p:txBody>
          <a:bodyPr vert="horz" lIns="91438" tIns="45719" rIns="91438" bIns="45719" rtlCol="0" anchor="ctr"/>
          <a:lstStyle>
            <a:lvl1pPr marL="0" marR="0" indent="0" algn="r" defTabSz="456332" rtl="0" eaLnBrk="1" fontAlgn="auto" latinLnBrk="0" hangingPunct="1">
              <a:lnSpc>
                <a:spcPct val="100000"/>
              </a:lnSpc>
              <a:spcBef>
                <a:spcPts val="0"/>
              </a:spcBef>
              <a:spcAft>
                <a:spcPts val="0"/>
              </a:spcAft>
              <a:buClrTx/>
              <a:buSzTx/>
              <a:buFontTx/>
              <a:buNone/>
              <a:tabLst/>
              <a:defRPr sz="899" b="0">
                <a:solidFill>
                  <a:schemeClr val="tx2"/>
                </a:solidFill>
              </a:defRPr>
            </a:lvl1pPr>
          </a:lstStyle>
          <a:p>
            <a:pPr>
              <a:defRPr/>
            </a:pPr>
            <a:endParaRPr lang="en-US"/>
          </a:p>
        </p:txBody>
      </p:sp>
      <p:grpSp>
        <p:nvGrpSpPr>
          <p:cNvPr id="3" name="Group 2">
            <a:extLst>
              <a:ext uri="{FF2B5EF4-FFF2-40B4-BE49-F238E27FC236}">
                <a16:creationId xmlns:a16="http://schemas.microsoft.com/office/drawing/2014/main" id="{227DE718-C4EE-754E-B327-98B574D260BD}"/>
              </a:ext>
            </a:extLst>
          </p:cNvPr>
          <p:cNvGrpSpPr/>
          <p:nvPr userDrawn="1"/>
        </p:nvGrpSpPr>
        <p:grpSpPr>
          <a:xfrm>
            <a:off x="1192601" y="4823992"/>
            <a:ext cx="3116163" cy="230239"/>
            <a:chOff x="1014620" y="4864974"/>
            <a:chExt cx="3116163" cy="230239"/>
          </a:xfrm>
        </p:grpSpPr>
        <p:pic>
          <p:nvPicPr>
            <p:cNvPr id="4" name="Picture 3" descr="Itron_Solo_Pos_RGB.png">
              <a:extLst>
                <a:ext uri="{FF2B5EF4-FFF2-40B4-BE49-F238E27FC236}">
                  <a16:creationId xmlns:a16="http://schemas.microsoft.com/office/drawing/2014/main" id="{DB756B09-B620-7014-484A-CA37F2C1FF3E}"/>
                </a:ext>
              </a:extLst>
            </p:cNvPr>
            <p:cNvPicPr>
              <a:picLocks/>
            </p:cNvPicPr>
            <p:nvPr userDrawn="1"/>
          </p:nvPicPr>
          <p:blipFill>
            <a:blip r:embed="rId3" cstate="email">
              <a:extLst>
                <a:ext uri="{28A0092B-C50C-407E-A947-70E740481C1C}">
                  <a14:useLocalDpi xmlns:a14="http://schemas.microsoft.com/office/drawing/2010/main"/>
                </a:ext>
              </a:extLst>
            </a:blip>
            <a:stretch>
              <a:fillRect/>
            </a:stretch>
          </p:blipFill>
          <p:spPr>
            <a:xfrm>
              <a:off x="1014620" y="4864974"/>
              <a:ext cx="389862" cy="182402"/>
            </a:xfrm>
            <a:prstGeom prst="rect">
              <a:avLst/>
            </a:prstGeom>
          </p:spPr>
        </p:pic>
        <p:sp>
          <p:nvSpPr>
            <p:cNvPr id="5" name="TextBox 4">
              <a:extLst>
                <a:ext uri="{FF2B5EF4-FFF2-40B4-BE49-F238E27FC236}">
                  <a16:creationId xmlns:a16="http://schemas.microsoft.com/office/drawing/2014/main" id="{0A6C27EF-2B0B-DE58-D07C-EF28FDEE37FA}"/>
                </a:ext>
              </a:extLst>
            </p:cNvPr>
            <p:cNvSpPr txBox="1"/>
            <p:nvPr userDrawn="1"/>
          </p:nvSpPr>
          <p:spPr>
            <a:xfrm>
              <a:off x="1419333" y="4910547"/>
              <a:ext cx="2711450" cy="184666"/>
            </a:xfrm>
            <a:prstGeom prst="rect">
              <a:avLst/>
            </a:prstGeom>
            <a:noFill/>
          </p:spPr>
          <p:txBody>
            <a:bodyPr wrap="square" rtlCol="0">
              <a:spAutoFit/>
            </a:bodyPr>
            <a:lstStyle/>
            <a:p>
              <a:pPr algn="l"/>
              <a:r>
                <a:rPr lang="en-US" sz="599" kern="1200" dirty="0">
                  <a:solidFill>
                    <a:schemeClr val="tx2">
                      <a:lumMod val="60000"/>
                      <a:lumOff val="40000"/>
                    </a:schemeClr>
                  </a:solidFill>
                  <a:latin typeface="+mn-lt"/>
                  <a:ea typeface="+mn-ea"/>
                  <a:cs typeface="+mn-cs"/>
                </a:rPr>
                <a:t>©2025  ITRON CONFIDENTIAL PROPRIETARY</a:t>
              </a:r>
              <a:endParaRPr lang="en-US" sz="599" dirty="0">
                <a:solidFill>
                  <a:schemeClr val="tx2">
                    <a:lumMod val="60000"/>
                    <a:lumOff val="40000"/>
                  </a:schemeClr>
                </a:solidFill>
              </a:endParaRPr>
            </a:p>
          </p:txBody>
        </p:sp>
      </p:grpSp>
      <p:pic>
        <p:nvPicPr>
          <p:cNvPr id="8" name="Picture 7" descr="A logo for a company&#10;&#10;AI-generated content may be incorrect.">
            <a:extLst>
              <a:ext uri="{FF2B5EF4-FFF2-40B4-BE49-F238E27FC236}">
                <a16:creationId xmlns:a16="http://schemas.microsoft.com/office/drawing/2014/main" id="{7D180C4B-E082-E567-36DA-1257ED06CEDD}"/>
              </a:ext>
            </a:extLst>
          </p:cNvPr>
          <p:cNvPicPr>
            <a:picLocks noChangeAspect="1"/>
          </p:cNvPicPr>
          <p:nvPr userDrawn="1"/>
        </p:nvPicPr>
        <p:blipFill>
          <a:blip r:embed="rId4"/>
          <a:stretch>
            <a:fillRect/>
          </a:stretch>
        </p:blipFill>
        <p:spPr>
          <a:xfrm>
            <a:off x="327342" y="4869565"/>
            <a:ext cx="466480" cy="168395"/>
          </a:xfrm>
          <a:prstGeom prst="rect">
            <a:avLst/>
          </a:prstGeom>
        </p:spPr>
      </p:pic>
    </p:spTree>
    <p:extLst>
      <p:ext uri="{BB962C8B-B14F-4D97-AF65-F5344CB8AC3E}">
        <p14:creationId xmlns:p14="http://schemas.microsoft.com/office/powerpoint/2010/main" val="2257373379"/>
      </p:ext>
    </p:extLst>
  </p:cSld>
  <p:clrMap bg1="lt1" tx1="dk1" bg2="lt2" tx2="dk2" accent1="accent1" accent2="accent2" accent3="accent3" accent4="accent4" accent5="accent5" accent6="accent6" hlink="hlink" folHlink="folHlink"/>
  <p:sldLayoutIdLst>
    <p:sldLayoutId id="2147485170" r:id="rId1"/>
  </p:sldLayoutIdLst>
  <p:transition>
    <p:fade/>
  </p:transition>
  <p:hf hdr="0" dt="0"/>
  <p:txStyles>
    <p:titleStyle>
      <a:lvl1pPr algn="l" defTabSz="456332" rtl="0" eaLnBrk="1" latinLnBrk="0" hangingPunct="1">
        <a:spcBef>
          <a:spcPct val="0"/>
        </a:spcBef>
        <a:buNone/>
        <a:defRPr sz="2398" b="1" kern="1200" cap="all">
          <a:solidFill>
            <a:srgbClr val="CF2124"/>
          </a:solidFill>
          <a:latin typeface="Arial"/>
          <a:ea typeface="+mj-ea"/>
          <a:cs typeface="Arial"/>
        </a:defRPr>
      </a:lvl1pPr>
    </p:titleStyle>
    <p:bodyStyle>
      <a:lvl1pPr marL="171125" indent="-171125" algn="l" defTabSz="456332" rtl="0" eaLnBrk="1" latinLnBrk="0" hangingPunct="1">
        <a:spcBef>
          <a:spcPct val="20000"/>
        </a:spcBef>
        <a:buClr>
          <a:srgbClr val="D02124"/>
        </a:buClr>
        <a:buFont typeface="Lucida Grande"/>
        <a:buChar char="»"/>
        <a:defRPr sz="1598" kern="1200">
          <a:solidFill>
            <a:schemeClr val="tx1"/>
          </a:solidFill>
          <a:latin typeface="Arial"/>
          <a:ea typeface="+mn-ea"/>
          <a:cs typeface="Arial"/>
        </a:defRPr>
      </a:lvl1pPr>
      <a:lvl2pPr marL="285208" indent="-114083" algn="l" defTabSz="456332" rtl="0" eaLnBrk="1" latinLnBrk="0" hangingPunct="1">
        <a:spcBef>
          <a:spcPct val="20000"/>
        </a:spcBef>
        <a:buClr>
          <a:srgbClr val="D02124"/>
        </a:buClr>
        <a:buSzPct val="100000"/>
        <a:buFont typeface="Arial"/>
        <a:buChar char="•"/>
        <a:defRPr sz="1598" kern="1200">
          <a:solidFill>
            <a:schemeClr val="tx1"/>
          </a:solidFill>
          <a:latin typeface="Arial"/>
          <a:ea typeface="+mn-ea"/>
          <a:cs typeface="Arial"/>
        </a:defRPr>
      </a:lvl2pPr>
      <a:lvl3pPr marL="456332" indent="-171125" algn="l" defTabSz="456332" rtl="0" eaLnBrk="1" latinLnBrk="0" hangingPunct="1">
        <a:spcBef>
          <a:spcPct val="20000"/>
        </a:spcBef>
        <a:buClr>
          <a:srgbClr val="D02124"/>
        </a:buClr>
        <a:buSzPct val="80000"/>
        <a:buFont typeface="Lucida Grande"/>
        <a:buChar char="-"/>
        <a:defRPr sz="1598" kern="1200" baseline="0">
          <a:solidFill>
            <a:schemeClr val="tx1"/>
          </a:solidFill>
          <a:latin typeface="Arial"/>
          <a:ea typeface="+mn-ea"/>
          <a:cs typeface="+mn-cs"/>
        </a:defRPr>
      </a:lvl3pPr>
      <a:lvl4pPr marL="1597161" indent="-228166" algn="l" defTabSz="456332" rtl="0" eaLnBrk="1" latinLnBrk="0" hangingPunct="1">
        <a:spcBef>
          <a:spcPct val="20000"/>
        </a:spcBef>
        <a:buFont typeface="Arial"/>
        <a:buChar char="–"/>
        <a:defRPr sz="1998" kern="1200">
          <a:solidFill>
            <a:schemeClr val="tx1"/>
          </a:solidFill>
          <a:latin typeface="+mn-lt"/>
          <a:ea typeface="+mn-ea"/>
          <a:cs typeface="+mn-cs"/>
        </a:defRPr>
      </a:lvl4pPr>
      <a:lvl5pPr marL="2053494" indent="-228166" algn="l" defTabSz="456332" rtl="0" eaLnBrk="1" latinLnBrk="0" hangingPunct="1">
        <a:spcBef>
          <a:spcPct val="20000"/>
        </a:spcBef>
        <a:buFont typeface="Arial"/>
        <a:buChar char="»"/>
        <a:defRPr sz="1998" kern="1200">
          <a:solidFill>
            <a:schemeClr val="tx1"/>
          </a:solidFill>
          <a:latin typeface="+mn-lt"/>
          <a:ea typeface="+mn-ea"/>
          <a:cs typeface="+mn-cs"/>
        </a:defRPr>
      </a:lvl5pPr>
      <a:lvl6pPr marL="2509824" indent="-228166" algn="l" defTabSz="456332" rtl="0" eaLnBrk="1" latinLnBrk="0" hangingPunct="1">
        <a:spcBef>
          <a:spcPct val="20000"/>
        </a:spcBef>
        <a:buFont typeface="Arial"/>
        <a:buChar char="•"/>
        <a:defRPr sz="1998" kern="1200">
          <a:solidFill>
            <a:schemeClr val="tx1"/>
          </a:solidFill>
          <a:latin typeface="+mn-lt"/>
          <a:ea typeface="+mn-ea"/>
          <a:cs typeface="+mn-cs"/>
        </a:defRPr>
      </a:lvl6pPr>
      <a:lvl7pPr marL="2966157" indent="-228166" algn="l" defTabSz="456332" rtl="0" eaLnBrk="1" latinLnBrk="0" hangingPunct="1">
        <a:spcBef>
          <a:spcPct val="20000"/>
        </a:spcBef>
        <a:buFont typeface="Arial"/>
        <a:buChar char="•"/>
        <a:defRPr sz="1998" kern="1200">
          <a:solidFill>
            <a:schemeClr val="tx1"/>
          </a:solidFill>
          <a:latin typeface="+mn-lt"/>
          <a:ea typeface="+mn-ea"/>
          <a:cs typeface="+mn-cs"/>
        </a:defRPr>
      </a:lvl7pPr>
      <a:lvl8pPr marL="3422489" indent="-228166" algn="l" defTabSz="456332" rtl="0" eaLnBrk="1" latinLnBrk="0" hangingPunct="1">
        <a:spcBef>
          <a:spcPct val="20000"/>
        </a:spcBef>
        <a:buFont typeface="Arial"/>
        <a:buChar char="•"/>
        <a:defRPr sz="1998" kern="1200">
          <a:solidFill>
            <a:schemeClr val="tx1"/>
          </a:solidFill>
          <a:latin typeface="+mn-lt"/>
          <a:ea typeface="+mn-ea"/>
          <a:cs typeface="+mn-cs"/>
        </a:defRPr>
      </a:lvl8pPr>
      <a:lvl9pPr marL="3878820" indent="-228166" algn="l" defTabSz="456332" rtl="0" eaLnBrk="1" latinLnBrk="0" hangingPunct="1">
        <a:spcBef>
          <a:spcPct val="20000"/>
        </a:spcBef>
        <a:buFont typeface="Arial"/>
        <a:buChar char="•"/>
        <a:defRPr sz="1998" kern="1200">
          <a:solidFill>
            <a:schemeClr val="tx1"/>
          </a:solidFill>
          <a:latin typeface="+mn-lt"/>
          <a:ea typeface="+mn-ea"/>
          <a:cs typeface="+mn-cs"/>
        </a:defRPr>
      </a:lvl9pPr>
    </p:bodyStyle>
    <p:otherStyle>
      <a:defPPr>
        <a:defRPr lang="en-US"/>
      </a:defPPr>
      <a:lvl1pPr marL="0" algn="l" defTabSz="456332" rtl="0" eaLnBrk="1" latinLnBrk="0" hangingPunct="1">
        <a:defRPr sz="1799" kern="1200">
          <a:solidFill>
            <a:schemeClr val="tx1"/>
          </a:solidFill>
          <a:latin typeface="+mn-lt"/>
          <a:ea typeface="+mn-ea"/>
          <a:cs typeface="+mn-cs"/>
        </a:defRPr>
      </a:lvl1pPr>
      <a:lvl2pPr marL="456332" algn="l" defTabSz="456332" rtl="0" eaLnBrk="1" latinLnBrk="0" hangingPunct="1">
        <a:defRPr sz="1799" kern="1200">
          <a:solidFill>
            <a:schemeClr val="tx1"/>
          </a:solidFill>
          <a:latin typeface="+mn-lt"/>
          <a:ea typeface="+mn-ea"/>
          <a:cs typeface="+mn-cs"/>
        </a:defRPr>
      </a:lvl2pPr>
      <a:lvl3pPr marL="912664" algn="l" defTabSz="456332" rtl="0" eaLnBrk="1" latinLnBrk="0" hangingPunct="1">
        <a:defRPr sz="1799" kern="1200">
          <a:solidFill>
            <a:schemeClr val="tx1"/>
          </a:solidFill>
          <a:latin typeface="+mn-lt"/>
          <a:ea typeface="+mn-ea"/>
          <a:cs typeface="+mn-cs"/>
        </a:defRPr>
      </a:lvl3pPr>
      <a:lvl4pPr marL="1368997" algn="l" defTabSz="456332" rtl="0" eaLnBrk="1" latinLnBrk="0" hangingPunct="1">
        <a:defRPr sz="1799" kern="1200">
          <a:solidFill>
            <a:schemeClr val="tx1"/>
          </a:solidFill>
          <a:latin typeface="+mn-lt"/>
          <a:ea typeface="+mn-ea"/>
          <a:cs typeface="+mn-cs"/>
        </a:defRPr>
      </a:lvl4pPr>
      <a:lvl5pPr marL="1825327" algn="l" defTabSz="456332" rtl="0" eaLnBrk="1" latinLnBrk="0" hangingPunct="1">
        <a:defRPr sz="1799" kern="1200">
          <a:solidFill>
            <a:schemeClr val="tx1"/>
          </a:solidFill>
          <a:latin typeface="+mn-lt"/>
          <a:ea typeface="+mn-ea"/>
          <a:cs typeface="+mn-cs"/>
        </a:defRPr>
      </a:lvl5pPr>
      <a:lvl6pPr marL="2281660" algn="l" defTabSz="456332" rtl="0" eaLnBrk="1" latinLnBrk="0" hangingPunct="1">
        <a:defRPr sz="1799" kern="1200">
          <a:solidFill>
            <a:schemeClr val="tx1"/>
          </a:solidFill>
          <a:latin typeface="+mn-lt"/>
          <a:ea typeface="+mn-ea"/>
          <a:cs typeface="+mn-cs"/>
        </a:defRPr>
      </a:lvl6pPr>
      <a:lvl7pPr marL="2737991" algn="l" defTabSz="456332" rtl="0" eaLnBrk="1" latinLnBrk="0" hangingPunct="1">
        <a:defRPr sz="1799" kern="1200">
          <a:solidFill>
            <a:schemeClr val="tx1"/>
          </a:solidFill>
          <a:latin typeface="+mn-lt"/>
          <a:ea typeface="+mn-ea"/>
          <a:cs typeface="+mn-cs"/>
        </a:defRPr>
      </a:lvl7pPr>
      <a:lvl8pPr marL="3194323" algn="l" defTabSz="456332" rtl="0" eaLnBrk="1" latinLnBrk="0" hangingPunct="1">
        <a:defRPr sz="1799" kern="1200">
          <a:solidFill>
            <a:schemeClr val="tx1"/>
          </a:solidFill>
          <a:latin typeface="+mn-lt"/>
          <a:ea typeface="+mn-ea"/>
          <a:cs typeface="+mn-cs"/>
        </a:defRPr>
      </a:lvl8pPr>
      <a:lvl9pPr marL="3650655" algn="l" defTabSz="456332" rtl="0" eaLnBrk="1" latinLnBrk="0" hangingPunct="1">
        <a:defRPr sz="1799"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6" name="Footer Placeholder 5"/>
          <p:cNvSpPr>
            <a:spLocks noGrp="1"/>
          </p:cNvSpPr>
          <p:nvPr>
            <p:ph type="ftr" sz="quarter" idx="3"/>
          </p:nvPr>
        </p:nvSpPr>
        <p:spPr>
          <a:xfrm>
            <a:off x="5778500" y="4839481"/>
            <a:ext cx="3086100" cy="273050"/>
          </a:xfrm>
          <a:prstGeom prst="rect">
            <a:avLst/>
          </a:prstGeom>
        </p:spPr>
        <p:txBody>
          <a:bodyPr vert="horz" lIns="91440" tIns="45720" rIns="91440" bIns="45720" rtlCol="0" anchor="ctr"/>
          <a:lstStyle>
            <a:lvl1pPr algn="r">
              <a:defRPr sz="799">
                <a:solidFill>
                  <a:schemeClr val="tx2"/>
                </a:solidFill>
              </a:defRPr>
            </a:lvl1pPr>
          </a:lstStyle>
          <a:p>
            <a:endParaRPr lang="en-US" dirty="0"/>
          </a:p>
        </p:txBody>
      </p:sp>
      <p:sp>
        <p:nvSpPr>
          <p:cNvPr id="7" name="Slide Number Placeholder 3"/>
          <p:cNvSpPr txBox="1">
            <a:spLocks/>
          </p:cNvSpPr>
          <p:nvPr userDrawn="1"/>
        </p:nvSpPr>
        <p:spPr>
          <a:xfrm>
            <a:off x="8610600" y="4835111"/>
            <a:ext cx="393700" cy="273050"/>
          </a:xfrm>
          <a:prstGeom prst="rect">
            <a:avLst/>
          </a:prstGeom>
        </p:spPr>
        <p:txBody>
          <a:bodyPr vert="horz" lIns="91355" tIns="45678" rIns="91355" bIns="45678" rtlCol="0" anchor="ctr"/>
          <a:lstStyle>
            <a:defPPr>
              <a:defRPr lang="en-US"/>
            </a:defPPr>
            <a:lvl1pPr marL="0" algn="r" defTabSz="457200" rtl="0" eaLnBrk="1" latinLnBrk="0" hangingPunct="1">
              <a:defRPr sz="8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FB09E98C-EE1C-4E4C-965D-CBFEA427E22F}" type="slidenum">
              <a:rPr lang="en-US" sz="799" smtClean="0"/>
              <a:t>‹#›</a:t>
            </a:fld>
            <a:endParaRPr lang="en-US" sz="799" dirty="0"/>
          </a:p>
        </p:txBody>
      </p:sp>
      <p:grpSp>
        <p:nvGrpSpPr>
          <p:cNvPr id="4" name="Group 3">
            <a:extLst>
              <a:ext uri="{FF2B5EF4-FFF2-40B4-BE49-F238E27FC236}">
                <a16:creationId xmlns:a16="http://schemas.microsoft.com/office/drawing/2014/main" id="{98F0D935-907E-5027-660C-06D1BCED5214}"/>
              </a:ext>
            </a:extLst>
          </p:cNvPr>
          <p:cNvGrpSpPr/>
          <p:nvPr userDrawn="1"/>
        </p:nvGrpSpPr>
        <p:grpSpPr>
          <a:xfrm>
            <a:off x="1126073" y="4858045"/>
            <a:ext cx="3116163" cy="230239"/>
            <a:chOff x="1014620" y="4864974"/>
            <a:chExt cx="3116163" cy="230239"/>
          </a:xfrm>
        </p:grpSpPr>
        <p:pic>
          <p:nvPicPr>
            <p:cNvPr id="5" name="Picture 4" descr="Itron_Solo_Pos_RGB.png">
              <a:extLst>
                <a:ext uri="{FF2B5EF4-FFF2-40B4-BE49-F238E27FC236}">
                  <a16:creationId xmlns:a16="http://schemas.microsoft.com/office/drawing/2014/main" id="{7C5C3423-A89A-551A-33BC-20A77B4D481F}"/>
                </a:ext>
              </a:extLst>
            </p:cNvPr>
            <p:cNvPicPr>
              <a:picLocks/>
            </p:cNvPicPr>
            <p:nvPr userDrawn="1"/>
          </p:nvPicPr>
          <p:blipFill>
            <a:blip r:embed="rId11" cstate="email">
              <a:extLst>
                <a:ext uri="{28A0092B-C50C-407E-A947-70E740481C1C}">
                  <a14:useLocalDpi xmlns:a14="http://schemas.microsoft.com/office/drawing/2010/main"/>
                </a:ext>
              </a:extLst>
            </a:blip>
            <a:stretch>
              <a:fillRect/>
            </a:stretch>
          </p:blipFill>
          <p:spPr>
            <a:xfrm>
              <a:off x="1014620" y="4864974"/>
              <a:ext cx="389862" cy="182402"/>
            </a:xfrm>
            <a:prstGeom prst="rect">
              <a:avLst/>
            </a:prstGeom>
          </p:spPr>
        </p:pic>
        <p:sp>
          <p:nvSpPr>
            <p:cNvPr id="8" name="TextBox 7">
              <a:extLst>
                <a:ext uri="{FF2B5EF4-FFF2-40B4-BE49-F238E27FC236}">
                  <a16:creationId xmlns:a16="http://schemas.microsoft.com/office/drawing/2014/main" id="{3FD2E0B8-B313-0C34-D281-2E65B79E262A}"/>
                </a:ext>
              </a:extLst>
            </p:cNvPr>
            <p:cNvSpPr txBox="1"/>
            <p:nvPr userDrawn="1"/>
          </p:nvSpPr>
          <p:spPr>
            <a:xfrm>
              <a:off x="1419333" y="4910547"/>
              <a:ext cx="2711450" cy="184666"/>
            </a:xfrm>
            <a:prstGeom prst="rect">
              <a:avLst/>
            </a:prstGeom>
            <a:noFill/>
          </p:spPr>
          <p:txBody>
            <a:bodyPr wrap="square" rtlCol="0">
              <a:spAutoFit/>
            </a:bodyPr>
            <a:lstStyle/>
            <a:p>
              <a:pPr algn="l"/>
              <a:r>
                <a:rPr lang="en-US" sz="599" kern="1200" dirty="0">
                  <a:solidFill>
                    <a:schemeClr val="tx2">
                      <a:lumMod val="60000"/>
                      <a:lumOff val="40000"/>
                    </a:schemeClr>
                  </a:solidFill>
                  <a:latin typeface="+mn-lt"/>
                  <a:ea typeface="+mn-ea"/>
                  <a:cs typeface="+mn-cs"/>
                </a:rPr>
                <a:t>©2025  ITRON CONFIDENTIAL PROPRIETARY</a:t>
              </a:r>
              <a:endParaRPr lang="en-US" sz="599" dirty="0">
                <a:solidFill>
                  <a:schemeClr val="tx2">
                    <a:lumMod val="60000"/>
                    <a:lumOff val="40000"/>
                  </a:schemeClr>
                </a:solidFill>
              </a:endParaRPr>
            </a:p>
          </p:txBody>
        </p:sp>
      </p:grpSp>
      <p:pic>
        <p:nvPicPr>
          <p:cNvPr id="3" name="Picture 2" descr="A logo for a company&#10;&#10;AI-generated content may be incorrect.">
            <a:extLst>
              <a:ext uri="{FF2B5EF4-FFF2-40B4-BE49-F238E27FC236}">
                <a16:creationId xmlns:a16="http://schemas.microsoft.com/office/drawing/2014/main" id="{3D542A59-D2F3-ED26-76DD-1C8F677170FB}"/>
              </a:ext>
            </a:extLst>
          </p:cNvPr>
          <p:cNvPicPr>
            <a:picLocks noChangeAspect="1"/>
          </p:cNvPicPr>
          <p:nvPr userDrawn="1"/>
        </p:nvPicPr>
        <p:blipFill>
          <a:blip r:embed="rId12"/>
          <a:stretch>
            <a:fillRect/>
          </a:stretch>
        </p:blipFill>
        <p:spPr>
          <a:xfrm>
            <a:off x="276509" y="4903618"/>
            <a:ext cx="588730" cy="212526"/>
          </a:xfrm>
          <a:prstGeom prst="rect">
            <a:avLst/>
          </a:prstGeom>
        </p:spPr>
      </p:pic>
    </p:spTree>
    <p:extLst>
      <p:ext uri="{BB962C8B-B14F-4D97-AF65-F5344CB8AC3E}">
        <p14:creationId xmlns:p14="http://schemas.microsoft.com/office/powerpoint/2010/main" val="429560871"/>
      </p:ext>
    </p:extLst>
  </p:cSld>
  <p:clrMap bg1="lt1" tx1="dk1" bg2="lt2" tx2="dk2" accent1="accent1" accent2="accent2" accent3="accent3" accent4="accent4" accent5="accent5" accent6="accent6" hlink="hlink" folHlink="folHlink"/>
  <p:sldLayoutIdLst>
    <p:sldLayoutId id="2147483769" r:id="rId1"/>
    <p:sldLayoutId id="2147485177" r:id="rId2"/>
    <p:sldLayoutId id="2147485178" r:id="rId3"/>
    <p:sldLayoutId id="2147485180" r:id="rId4"/>
    <p:sldLayoutId id="2147485181" r:id="rId5"/>
    <p:sldLayoutId id="2147485182" r:id="rId6"/>
    <p:sldLayoutId id="2147485183" r:id="rId7"/>
    <p:sldLayoutId id="2147485184" r:id="rId8"/>
    <p:sldLayoutId id="2147485190" r:id="rId9"/>
  </p:sldLayoutIdLst>
  <p:transition>
    <p:fade/>
  </p:transition>
  <p:hf hdr="0" dt="0"/>
  <p:txStyles>
    <p:titleStyle>
      <a:lvl1pPr algn="l" defTabSz="456789" rtl="0" eaLnBrk="1" latinLnBrk="0" hangingPunct="1">
        <a:spcBef>
          <a:spcPct val="0"/>
        </a:spcBef>
        <a:buNone/>
        <a:defRPr sz="2398" b="1" kern="1200" cap="all">
          <a:solidFill>
            <a:srgbClr val="CF2124"/>
          </a:solidFill>
          <a:latin typeface="Arial"/>
          <a:ea typeface="+mj-ea"/>
          <a:cs typeface="Arial"/>
        </a:defRPr>
      </a:lvl1pPr>
    </p:titleStyle>
    <p:bodyStyle>
      <a:lvl1pPr marL="171296" indent="-171296" algn="l" defTabSz="456789" rtl="0" eaLnBrk="1" latinLnBrk="0" hangingPunct="1">
        <a:spcBef>
          <a:spcPct val="20000"/>
        </a:spcBef>
        <a:buClr>
          <a:srgbClr val="D02124"/>
        </a:buClr>
        <a:buFont typeface="Lucida Grande"/>
        <a:buChar char="»"/>
        <a:defRPr sz="1599" kern="1200">
          <a:solidFill>
            <a:schemeClr val="tx1"/>
          </a:solidFill>
          <a:latin typeface="Arial"/>
          <a:ea typeface="+mn-ea"/>
          <a:cs typeface="Arial"/>
        </a:defRPr>
      </a:lvl1pPr>
      <a:lvl2pPr marL="285493" indent="-114197" algn="l" defTabSz="456789" rtl="0" eaLnBrk="1" latinLnBrk="0" hangingPunct="1">
        <a:spcBef>
          <a:spcPct val="20000"/>
        </a:spcBef>
        <a:buClr>
          <a:srgbClr val="D02124"/>
        </a:buClr>
        <a:buSzPct val="100000"/>
        <a:buFont typeface="Arial"/>
        <a:buChar char="•"/>
        <a:defRPr sz="1599" kern="1200">
          <a:solidFill>
            <a:schemeClr val="tx1"/>
          </a:solidFill>
          <a:latin typeface="Arial"/>
          <a:ea typeface="+mn-ea"/>
          <a:cs typeface="Arial"/>
        </a:defRPr>
      </a:lvl2pPr>
      <a:lvl3pPr marL="456789" indent="-171296" algn="l" defTabSz="456789" rtl="0" eaLnBrk="1" latinLnBrk="0" hangingPunct="1">
        <a:spcBef>
          <a:spcPct val="20000"/>
        </a:spcBef>
        <a:buClr>
          <a:srgbClr val="D02124"/>
        </a:buClr>
        <a:buSzPct val="80000"/>
        <a:buFont typeface="Lucida Grande"/>
        <a:buChar char="-"/>
        <a:defRPr sz="1599" kern="1200" baseline="0">
          <a:solidFill>
            <a:schemeClr val="tx1"/>
          </a:solidFill>
          <a:latin typeface="Arial"/>
          <a:ea typeface="+mn-ea"/>
          <a:cs typeface="+mn-cs"/>
        </a:defRPr>
      </a:lvl3pPr>
      <a:lvl4pPr marL="1598760" indent="-228394" algn="l" defTabSz="456789" rtl="0" eaLnBrk="1" latinLnBrk="0" hangingPunct="1">
        <a:spcBef>
          <a:spcPct val="20000"/>
        </a:spcBef>
        <a:buFont typeface="Arial"/>
        <a:buChar char="–"/>
        <a:defRPr sz="1998" kern="1200">
          <a:solidFill>
            <a:schemeClr val="tx1"/>
          </a:solidFill>
          <a:latin typeface="+mn-lt"/>
          <a:ea typeface="+mn-ea"/>
          <a:cs typeface="+mn-cs"/>
        </a:defRPr>
      </a:lvl4pPr>
      <a:lvl5pPr marL="2055548" indent="-228394" algn="l" defTabSz="456789" rtl="0" eaLnBrk="1" latinLnBrk="0" hangingPunct="1">
        <a:spcBef>
          <a:spcPct val="20000"/>
        </a:spcBef>
        <a:buFont typeface="Arial"/>
        <a:buChar char="»"/>
        <a:defRPr sz="1998" kern="1200">
          <a:solidFill>
            <a:schemeClr val="tx1"/>
          </a:solidFill>
          <a:latin typeface="+mn-lt"/>
          <a:ea typeface="+mn-ea"/>
          <a:cs typeface="+mn-cs"/>
        </a:defRPr>
      </a:lvl5pPr>
      <a:lvl6pPr marL="2512337" indent="-228394" algn="l" defTabSz="456789" rtl="0" eaLnBrk="1" latinLnBrk="0" hangingPunct="1">
        <a:spcBef>
          <a:spcPct val="20000"/>
        </a:spcBef>
        <a:buFont typeface="Arial"/>
        <a:buChar char="•"/>
        <a:defRPr sz="1998" kern="1200">
          <a:solidFill>
            <a:schemeClr val="tx1"/>
          </a:solidFill>
          <a:latin typeface="+mn-lt"/>
          <a:ea typeface="+mn-ea"/>
          <a:cs typeface="+mn-cs"/>
        </a:defRPr>
      </a:lvl6pPr>
      <a:lvl7pPr marL="2969125" indent="-228394" algn="l" defTabSz="456789" rtl="0" eaLnBrk="1" latinLnBrk="0" hangingPunct="1">
        <a:spcBef>
          <a:spcPct val="20000"/>
        </a:spcBef>
        <a:buFont typeface="Arial"/>
        <a:buChar char="•"/>
        <a:defRPr sz="1998" kern="1200">
          <a:solidFill>
            <a:schemeClr val="tx1"/>
          </a:solidFill>
          <a:latin typeface="+mn-lt"/>
          <a:ea typeface="+mn-ea"/>
          <a:cs typeface="+mn-cs"/>
        </a:defRPr>
      </a:lvl7pPr>
      <a:lvl8pPr marL="3425914" indent="-228394" algn="l" defTabSz="456789" rtl="0" eaLnBrk="1" latinLnBrk="0" hangingPunct="1">
        <a:spcBef>
          <a:spcPct val="20000"/>
        </a:spcBef>
        <a:buFont typeface="Arial"/>
        <a:buChar char="•"/>
        <a:defRPr sz="1998" kern="1200">
          <a:solidFill>
            <a:schemeClr val="tx1"/>
          </a:solidFill>
          <a:latin typeface="+mn-lt"/>
          <a:ea typeface="+mn-ea"/>
          <a:cs typeface="+mn-cs"/>
        </a:defRPr>
      </a:lvl8pPr>
      <a:lvl9pPr marL="3882702" indent="-228394" algn="l" defTabSz="456789" rtl="0" eaLnBrk="1" latinLnBrk="0" hangingPunct="1">
        <a:spcBef>
          <a:spcPct val="20000"/>
        </a:spcBef>
        <a:buFont typeface="Arial"/>
        <a:buChar char="•"/>
        <a:defRPr sz="1998" kern="1200">
          <a:solidFill>
            <a:schemeClr val="tx1"/>
          </a:solidFill>
          <a:latin typeface="+mn-lt"/>
          <a:ea typeface="+mn-ea"/>
          <a:cs typeface="+mn-cs"/>
        </a:defRPr>
      </a:lvl9pPr>
    </p:bodyStyle>
    <p:otherStyle>
      <a:defPPr>
        <a:defRPr lang="en-US"/>
      </a:defPPr>
      <a:lvl1pPr marL="0" algn="l" defTabSz="456789" rtl="0" eaLnBrk="1" latinLnBrk="0" hangingPunct="1">
        <a:defRPr sz="1798" kern="1200">
          <a:solidFill>
            <a:schemeClr val="tx1"/>
          </a:solidFill>
          <a:latin typeface="+mn-lt"/>
          <a:ea typeface="+mn-ea"/>
          <a:cs typeface="+mn-cs"/>
        </a:defRPr>
      </a:lvl1pPr>
      <a:lvl2pPr marL="456789" algn="l" defTabSz="456789" rtl="0" eaLnBrk="1" latinLnBrk="0" hangingPunct="1">
        <a:defRPr sz="1798" kern="1200">
          <a:solidFill>
            <a:schemeClr val="tx1"/>
          </a:solidFill>
          <a:latin typeface="+mn-lt"/>
          <a:ea typeface="+mn-ea"/>
          <a:cs typeface="+mn-cs"/>
        </a:defRPr>
      </a:lvl2pPr>
      <a:lvl3pPr marL="913577" algn="l" defTabSz="456789" rtl="0" eaLnBrk="1" latinLnBrk="0" hangingPunct="1">
        <a:defRPr sz="1798" kern="1200">
          <a:solidFill>
            <a:schemeClr val="tx1"/>
          </a:solidFill>
          <a:latin typeface="+mn-lt"/>
          <a:ea typeface="+mn-ea"/>
          <a:cs typeface="+mn-cs"/>
        </a:defRPr>
      </a:lvl3pPr>
      <a:lvl4pPr marL="1370366" algn="l" defTabSz="456789" rtl="0" eaLnBrk="1" latinLnBrk="0" hangingPunct="1">
        <a:defRPr sz="1798" kern="1200">
          <a:solidFill>
            <a:schemeClr val="tx1"/>
          </a:solidFill>
          <a:latin typeface="+mn-lt"/>
          <a:ea typeface="+mn-ea"/>
          <a:cs typeface="+mn-cs"/>
        </a:defRPr>
      </a:lvl4pPr>
      <a:lvl5pPr marL="1827154" algn="l" defTabSz="456789" rtl="0" eaLnBrk="1" latinLnBrk="0" hangingPunct="1">
        <a:defRPr sz="1798" kern="1200">
          <a:solidFill>
            <a:schemeClr val="tx1"/>
          </a:solidFill>
          <a:latin typeface="+mn-lt"/>
          <a:ea typeface="+mn-ea"/>
          <a:cs typeface="+mn-cs"/>
        </a:defRPr>
      </a:lvl5pPr>
      <a:lvl6pPr marL="2283943" algn="l" defTabSz="456789" rtl="0" eaLnBrk="1" latinLnBrk="0" hangingPunct="1">
        <a:defRPr sz="1798" kern="1200">
          <a:solidFill>
            <a:schemeClr val="tx1"/>
          </a:solidFill>
          <a:latin typeface="+mn-lt"/>
          <a:ea typeface="+mn-ea"/>
          <a:cs typeface="+mn-cs"/>
        </a:defRPr>
      </a:lvl6pPr>
      <a:lvl7pPr marL="2740731" algn="l" defTabSz="456789" rtl="0" eaLnBrk="1" latinLnBrk="0" hangingPunct="1">
        <a:defRPr sz="1798" kern="1200">
          <a:solidFill>
            <a:schemeClr val="tx1"/>
          </a:solidFill>
          <a:latin typeface="+mn-lt"/>
          <a:ea typeface="+mn-ea"/>
          <a:cs typeface="+mn-cs"/>
        </a:defRPr>
      </a:lvl7pPr>
      <a:lvl8pPr marL="3197520" algn="l" defTabSz="456789" rtl="0" eaLnBrk="1" latinLnBrk="0" hangingPunct="1">
        <a:defRPr sz="1798" kern="1200">
          <a:solidFill>
            <a:schemeClr val="tx1"/>
          </a:solidFill>
          <a:latin typeface="+mn-lt"/>
          <a:ea typeface="+mn-ea"/>
          <a:cs typeface="+mn-cs"/>
        </a:defRPr>
      </a:lvl8pPr>
      <a:lvl9pPr marL="3654308" algn="l" defTabSz="456789" rtl="0" eaLnBrk="1" latinLnBrk="0" hangingPunct="1">
        <a:defRPr sz="1798"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rgbClr val="FFFFFE"/>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4655574"/>
      </p:ext>
    </p:extLst>
  </p:cSld>
  <p:clrMap bg1="lt1" tx1="dk1" bg2="lt2" tx2="dk2" accent1="accent1" accent2="accent2" accent3="accent3" accent4="accent4" accent5="accent5" accent6="accent6" hlink="hlink" folHlink="folHlink"/>
  <p:sldLayoutIdLst>
    <p:sldLayoutId id="2147485176" r:id="rId1"/>
    <p:sldLayoutId id="2147485191" r:id="rId2"/>
    <p:sldLayoutId id="2147485192" r:id="rId3"/>
  </p:sldLayoutIdLst>
  <p:hf hdr="0" dt="0"/>
  <p:txStyles>
    <p:titleStyle>
      <a:lvl1pPr algn="ctr" defTabSz="457189" rtl="0" eaLnBrk="1" latinLnBrk="0" hangingPunct="1">
        <a:spcBef>
          <a:spcPct val="0"/>
        </a:spcBef>
        <a:buNone/>
        <a:defRPr sz="4400" kern="1200">
          <a:solidFill>
            <a:schemeClr val="tx1"/>
          </a:solidFill>
          <a:latin typeface="+mj-lt"/>
          <a:ea typeface="+mj-ea"/>
          <a:cs typeface="+mj-cs"/>
        </a:defRPr>
      </a:lvl1pPr>
    </p:titleStyle>
    <p:bodyStyle>
      <a:lvl1pPr marL="342892" indent="-342892" algn="l" defTabSz="457189" rtl="0" eaLnBrk="1" latinLnBrk="0" hangingPunct="1">
        <a:spcBef>
          <a:spcPct val="20000"/>
        </a:spcBef>
        <a:buFont typeface="Arial"/>
        <a:buChar char="•"/>
        <a:defRPr sz="3200" kern="1200">
          <a:solidFill>
            <a:schemeClr val="tx1"/>
          </a:solidFill>
          <a:latin typeface="+mn-lt"/>
          <a:ea typeface="+mn-ea"/>
          <a:cs typeface="+mn-cs"/>
        </a:defRPr>
      </a:lvl1pPr>
      <a:lvl2pPr marL="742931" indent="-285743" algn="l" defTabSz="457189" rtl="0" eaLnBrk="1" latinLnBrk="0" hangingPunct="1">
        <a:spcBef>
          <a:spcPct val="20000"/>
        </a:spcBef>
        <a:buFont typeface="Arial"/>
        <a:buChar char="–"/>
        <a:defRPr sz="2800" kern="1200">
          <a:solidFill>
            <a:schemeClr val="tx1"/>
          </a:solidFill>
          <a:latin typeface="+mn-lt"/>
          <a:ea typeface="+mn-ea"/>
          <a:cs typeface="+mn-cs"/>
        </a:defRPr>
      </a:lvl2pPr>
      <a:lvl3pPr marL="1142972" indent="-228594" algn="l" defTabSz="457189" rtl="0" eaLnBrk="1" latinLnBrk="0" hangingPunct="1">
        <a:spcBef>
          <a:spcPct val="20000"/>
        </a:spcBef>
        <a:buFont typeface="Arial"/>
        <a:buChar char="•"/>
        <a:defRPr sz="2400" kern="1200">
          <a:solidFill>
            <a:schemeClr val="tx1"/>
          </a:solidFill>
          <a:latin typeface="+mn-lt"/>
          <a:ea typeface="+mn-ea"/>
          <a:cs typeface="+mn-cs"/>
        </a:defRPr>
      </a:lvl3pPr>
      <a:lvl4pPr marL="1600160" indent="-228594" algn="l" defTabSz="457189" rtl="0" eaLnBrk="1" latinLnBrk="0" hangingPunct="1">
        <a:spcBef>
          <a:spcPct val="20000"/>
        </a:spcBef>
        <a:buFont typeface="Arial"/>
        <a:buChar char="–"/>
        <a:defRPr sz="2000" kern="1200">
          <a:solidFill>
            <a:schemeClr val="tx1"/>
          </a:solidFill>
          <a:latin typeface="+mn-lt"/>
          <a:ea typeface="+mn-ea"/>
          <a:cs typeface="+mn-cs"/>
        </a:defRPr>
      </a:lvl4pPr>
      <a:lvl5pPr marL="2057348" indent="-228594" algn="l" defTabSz="457189" rtl="0" eaLnBrk="1" latinLnBrk="0" hangingPunct="1">
        <a:spcBef>
          <a:spcPct val="20000"/>
        </a:spcBef>
        <a:buFont typeface="Arial"/>
        <a:buChar char="»"/>
        <a:defRPr sz="2000" kern="1200">
          <a:solidFill>
            <a:schemeClr val="tx1"/>
          </a:solidFill>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1.xml"/><Relationship Id="rId1" Type="http://schemas.openxmlformats.org/officeDocument/2006/relationships/slideLayout" Target="../slideLayouts/slideLayout13.xml"/><Relationship Id="rId6" Type="http://schemas.openxmlformats.org/officeDocument/2006/relationships/image" Target="../media/image20.jpg"/><Relationship Id="rId5" Type="http://schemas.openxmlformats.org/officeDocument/2006/relationships/image" Target="../media/image19.png"/><Relationship Id="rId4" Type="http://schemas.openxmlformats.org/officeDocument/2006/relationships/image" Target="../media/image18.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0.xml"/></Relationships>
</file>

<file path=ppt/slides/_rels/slide1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1.xml"/><Relationship Id="rId1" Type="http://schemas.openxmlformats.org/officeDocument/2006/relationships/slideLayout" Target="../slideLayouts/slideLayout34.xml"/><Relationship Id="rId4" Type="http://schemas.openxmlformats.org/officeDocument/2006/relationships/image" Target="../media/image45.svg"/></Relationships>
</file>

<file path=ppt/slides/_rels/slide12.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2.xml"/><Relationship Id="rId1" Type="http://schemas.openxmlformats.org/officeDocument/2006/relationships/slideLayout" Target="../slideLayouts/slideLayout39.xml"/></Relationships>
</file>

<file path=ppt/slides/_rels/slide13.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notesSlide" Target="../notesSlides/notesSlide13.xml"/><Relationship Id="rId7" Type="http://schemas.openxmlformats.org/officeDocument/2006/relationships/image" Target="../media/image50.png"/><Relationship Id="rId2" Type="http://schemas.openxmlformats.org/officeDocument/2006/relationships/slideLayout" Target="../slideLayouts/slideLayout30.xml"/><Relationship Id="rId1" Type="http://schemas.openxmlformats.org/officeDocument/2006/relationships/themeOverride" Target="../theme/themeOverride6.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30.xml"/><Relationship Id="rId1" Type="http://schemas.openxmlformats.org/officeDocument/2006/relationships/themeOverride" Target="../theme/themeOverride7.xml"/><Relationship Id="rId4" Type="http://schemas.openxmlformats.org/officeDocument/2006/relationships/image" Target="../media/image52.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30.xml"/><Relationship Id="rId1" Type="http://schemas.openxmlformats.org/officeDocument/2006/relationships/themeOverride" Target="../theme/themeOverride8.xml"/><Relationship Id="rId4" Type="http://schemas.openxmlformats.org/officeDocument/2006/relationships/image" Target="../media/image53.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30.xml"/><Relationship Id="rId1" Type="http://schemas.openxmlformats.org/officeDocument/2006/relationships/themeOverride" Target="../theme/themeOverride9.xml"/><Relationship Id="rId4" Type="http://schemas.openxmlformats.org/officeDocument/2006/relationships/image" Target="../media/image54.jpe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30.xml"/><Relationship Id="rId1" Type="http://schemas.openxmlformats.org/officeDocument/2006/relationships/themeOverride" Target="../theme/themeOverride10.xml"/><Relationship Id="rId5" Type="http://schemas.openxmlformats.org/officeDocument/2006/relationships/image" Target="../media/image47.png"/><Relationship Id="rId4" Type="http://schemas.openxmlformats.org/officeDocument/2006/relationships/image" Target="../media/image55.png"/></Relationships>
</file>

<file path=ppt/slides/_rels/slide18.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notesSlide" Target="../notesSlides/notesSlide18.xml"/><Relationship Id="rId7" Type="http://schemas.openxmlformats.org/officeDocument/2006/relationships/image" Target="../media/image59.png"/><Relationship Id="rId12" Type="http://schemas.openxmlformats.org/officeDocument/2006/relationships/image" Target="../media/image64.png"/><Relationship Id="rId2" Type="http://schemas.openxmlformats.org/officeDocument/2006/relationships/slideLayout" Target="../slideLayouts/slideLayout28.xml"/><Relationship Id="rId1" Type="http://schemas.openxmlformats.org/officeDocument/2006/relationships/themeOverride" Target="../theme/themeOverride11.xml"/><Relationship Id="rId6" Type="http://schemas.openxmlformats.org/officeDocument/2006/relationships/image" Target="../media/image58.png"/><Relationship Id="rId11" Type="http://schemas.openxmlformats.org/officeDocument/2006/relationships/image" Target="../media/image63.png"/><Relationship Id="rId5" Type="http://schemas.openxmlformats.org/officeDocument/2006/relationships/image" Target="../media/image57.png"/><Relationship Id="rId10" Type="http://schemas.openxmlformats.org/officeDocument/2006/relationships/image" Target="../media/image62.png"/><Relationship Id="rId4" Type="http://schemas.openxmlformats.org/officeDocument/2006/relationships/image" Target="../media/image56.png"/><Relationship Id="rId9" Type="http://schemas.openxmlformats.org/officeDocument/2006/relationships/image" Target="../media/image61.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8.xml"/><Relationship Id="rId1" Type="http://schemas.openxmlformats.org/officeDocument/2006/relationships/themeOverride" Target="../theme/themeOverride12.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64.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3.xml"/><Relationship Id="rId1" Type="http://schemas.openxmlformats.org/officeDocument/2006/relationships/themeOverride" Target="../theme/themeOverride1.xml"/><Relationship Id="rId4" Type="http://schemas.openxmlformats.org/officeDocument/2006/relationships/image" Target="../media/image21.jpe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31.xml"/><Relationship Id="rId1" Type="http://schemas.openxmlformats.org/officeDocument/2006/relationships/themeOverride" Target="../theme/themeOverride13.xml"/><Relationship Id="rId5" Type="http://schemas.openxmlformats.org/officeDocument/2006/relationships/image" Target="../media/image66.png"/><Relationship Id="rId4" Type="http://schemas.openxmlformats.org/officeDocument/2006/relationships/image" Target="../media/image65.pn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31.xml"/><Relationship Id="rId1" Type="http://schemas.openxmlformats.org/officeDocument/2006/relationships/themeOverride" Target="../theme/themeOverride14.xml"/><Relationship Id="rId4" Type="http://schemas.openxmlformats.org/officeDocument/2006/relationships/image" Target="../media/image67.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30.xml"/><Relationship Id="rId1" Type="http://schemas.openxmlformats.org/officeDocument/2006/relationships/themeOverride" Target="../theme/themeOverride15.xml"/><Relationship Id="rId4" Type="http://schemas.openxmlformats.org/officeDocument/2006/relationships/image" Target="../media/image68.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26.xml"/><Relationship Id="rId1" Type="http://schemas.openxmlformats.org/officeDocument/2006/relationships/themeOverride" Target="../theme/themeOverride16.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29.xml"/><Relationship Id="rId1" Type="http://schemas.openxmlformats.org/officeDocument/2006/relationships/themeOverride" Target="../theme/themeOverride17.xml"/><Relationship Id="rId4" Type="http://schemas.openxmlformats.org/officeDocument/2006/relationships/image" Target="../media/image69.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26.xml"/><Relationship Id="rId1" Type="http://schemas.openxmlformats.org/officeDocument/2006/relationships/themeOverride" Target="../theme/themeOverride18.xml"/><Relationship Id="rId4" Type="http://schemas.openxmlformats.org/officeDocument/2006/relationships/image" Target="../media/image70.jpe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26.xml"/><Relationship Id="rId1" Type="http://schemas.openxmlformats.org/officeDocument/2006/relationships/themeOverride" Target="../theme/themeOverride19.xml"/><Relationship Id="rId4" Type="http://schemas.openxmlformats.org/officeDocument/2006/relationships/image" Target="../media/image71.jpg"/></Relationships>
</file>

<file path=ppt/slides/_rels/slide27.xml.rels><?xml version="1.0" encoding="UTF-8" standalone="yes"?>
<Relationships xmlns="http://schemas.openxmlformats.org/package/2006/relationships"><Relationship Id="rId3" Type="http://schemas.openxmlformats.org/officeDocument/2006/relationships/image" Target="../media/image72.emf"/><Relationship Id="rId2" Type="http://schemas.openxmlformats.org/officeDocument/2006/relationships/notesSlide" Target="../notesSlides/notesSlide27.xml"/><Relationship Id="rId1" Type="http://schemas.openxmlformats.org/officeDocument/2006/relationships/slideLayout" Target="../slideLayouts/slideLayout35.xml"/><Relationship Id="rId5" Type="http://schemas.openxmlformats.org/officeDocument/2006/relationships/image" Target="../media/image74.png"/><Relationship Id="rId4" Type="http://schemas.openxmlformats.org/officeDocument/2006/relationships/image" Target="../media/image73.emf"/></Relationships>
</file>

<file path=ppt/slides/_rels/slide28.xml.rels><?xml version="1.0" encoding="UTF-8" standalone="yes"?>
<Relationships xmlns="http://schemas.openxmlformats.org/package/2006/relationships"><Relationship Id="rId8" Type="http://schemas.openxmlformats.org/officeDocument/2006/relationships/image" Target="../media/image81.jpeg"/><Relationship Id="rId3" Type="http://schemas.openxmlformats.org/officeDocument/2006/relationships/image" Target="../media/image76.jpeg"/><Relationship Id="rId7" Type="http://schemas.openxmlformats.org/officeDocument/2006/relationships/image" Target="../media/image80.png"/><Relationship Id="rId2" Type="http://schemas.openxmlformats.org/officeDocument/2006/relationships/image" Target="../media/image75.jpeg"/><Relationship Id="rId1" Type="http://schemas.openxmlformats.org/officeDocument/2006/relationships/slideLayout" Target="../slideLayouts/slideLayout44.xml"/><Relationship Id="rId6" Type="http://schemas.openxmlformats.org/officeDocument/2006/relationships/image" Target="../media/image79.png"/><Relationship Id="rId5" Type="http://schemas.openxmlformats.org/officeDocument/2006/relationships/image" Target="../media/image78.jpeg"/><Relationship Id="rId4" Type="http://schemas.openxmlformats.org/officeDocument/2006/relationships/image" Target="../media/image77.png"/></Relationships>
</file>

<file path=ppt/slides/_rels/slide29.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image" Target="../media/image83.png"/><Relationship Id="rId7" Type="http://schemas.openxmlformats.org/officeDocument/2006/relationships/image" Target="../media/image87.png"/><Relationship Id="rId2" Type="http://schemas.openxmlformats.org/officeDocument/2006/relationships/image" Target="../media/image82.png"/><Relationship Id="rId1" Type="http://schemas.openxmlformats.org/officeDocument/2006/relationships/slideLayout" Target="../slideLayouts/slideLayout44.xml"/><Relationship Id="rId6" Type="http://schemas.openxmlformats.org/officeDocument/2006/relationships/image" Target="../media/image86.jpeg"/><Relationship Id="rId5" Type="http://schemas.openxmlformats.org/officeDocument/2006/relationships/image" Target="../media/image85.png"/><Relationship Id="rId4" Type="http://schemas.openxmlformats.org/officeDocument/2006/relationships/image" Target="../media/image84.png"/><Relationship Id="rId9" Type="http://schemas.openxmlformats.org/officeDocument/2006/relationships/image" Target="../media/image89.jpe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3.xml"/><Relationship Id="rId1" Type="http://schemas.openxmlformats.org/officeDocument/2006/relationships/themeOverride" Target="../theme/themeOverride2.xml"/><Relationship Id="rId4" Type="http://schemas.openxmlformats.org/officeDocument/2006/relationships/image" Target="../media/image22.png"/></Relationships>
</file>

<file path=ppt/slides/_rels/slide30.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png"/><Relationship Id="rId1" Type="http://schemas.openxmlformats.org/officeDocument/2006/relationships/slideLayout" Target="../slideLayouts/slideLayout80.xml"/></Relationships>
</file>

<file path=ppt/slides/_rels/slide31.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28.xml"/><Relationship Id="rId1" Type="http://schemas.openxmlformats.org/officeDocument/2006/relationships/slideLayout" Target="../slideLayouts/slideLayout85.xml"/><Relationship Id="rId6" Type="http://schemas.openxmlformats.org/officeDocument/2006/relationships/image" Target="../media/image95.png"/><Relationship Id="rId5" Type="http://schemas.openxmlformats.org/officeDocument/2006/relationships/image" Target="../media/image94.png"/><Relationship Id="rId4" Type="http://schemas.openxmlformats.org/officeDocument/2006/relationships/image" Target="../media/image93.png"/></Relationships>
</file>

<file path=ppt/slides/_rels/slide32.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image" Target="../media/image96.png"/><Relationship Id="rId1" Type="http://schemas.openxmlformats.org/officeDocument/2006/relationships/slideLayout" Target="../slideLayouts/slideLayout37.xml"/><Relationship Id="rId4" Type="http://schemas.openxmlformats.org/officeDocument/2006/relationships/image" Target="../media/image98.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2.xml"/></Relationships>
</file>

<file path=ppt/slides/_rels/slide34.xml.rels><?xml version="1.0" encoding="UTF-8" standalone="yes"?>
<Relationships xmlns="http://schemas.openxmlformats.org/package/2006/relationships"><Relationship Id="rId3" Type="http://schemas.openxmlformats.org/officeDocument/2006/relationships/image" Target="../media/image99.jpeg"/><Relationship Id="rId2" Type="http://schemas.openxmlformats.org/officeDocument/2006/relationships/notesSlide" Target="../notesSlides/notesSlide30.xml"/><Relationship Id="rId1" Type="http://schemas.openxmlformats.org/officeDocument/2006/relationships/slideLayout" Target="../slideLayouts/slideLayout22.xml"/></Relationships>
</file>

<file path=ppt/slides/_rels/slide35.xml.rels><?xml version="1.0" encoding="UTF-8" standalone="yes"?>
<Relationships xmlns="http://schemas.openxmlformats.org/package/2006/relationships"><Relationship Id="rId3" Type="http://schemas.openxmlformats.org/officeDocument/2006/relationships/hyperlink" Target="https://youtu.be/YYUr50_T-rs" TargetMode="External"/><Relationship Id="rId2" Type="http://schemas.openxmlformats.org/officeDocument/2006/relationships/notesSlide" Target="../notesSlides/notesSlide31.xml"/><Relationship Id="rId1" Type="http://schemas.openxmlformats.org/officeDocument/2006/relationships/slideLayout" Target="../slideLayouts/slideLayout18.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27.xml"/><Relationship Id="rId1" Type="http://schemas.openxmlformats.org/officeDocument/2006/relationships/themeOverride" Target="../theme/themeOverride20.xml"/><Relationship Id="rId5" Type="http://schemas.openxmlformats.org/officeDocument/2006/relationships/image" Target="../media/image101.png"/><Relationship Id="rId4" Type="http://schemas.openxmlformats.org/officeDocument/2006/relationships/image" Target="../media/image100.png"/></Relationships>
</file>

<file path=ppt/slides/_rels/slide37.xml.rels><?xml version="1.0" encoding="UTF-8" standalone="yes"?>
<Relationships xmlns="http://schemas.openxmlformats.org/package/2006/relationships"><Relationship Id="rId8" Type="http://schemas.openxmlformats.org/officeDocument/2006/relationships/image" Target="../media/image107.png"/><Relationship Id="rId3" Type="http://schemas.openxmlformats.org/officeDocument/2006/relationships/image" Target="../media/image102.png"/><Relationship Id="rId7" Type="http://schemas.openxmlformats.org/officeDocument/2006/relationships/image" Target="../media/image106.png"/><Relationship Id="rId2" Type="http://schemas.openxmlformats.org/officeDocument/2006/relationships/notesSlide" Target="../notesSlides/notesSlide33.xml"/><Relationship Id="rId1" Type="http://schemas.openxmlformats.org/officeDocument/2006/relationships/slideLayout" Target="../slideLayouts/slideLayout28.xml"/><Relationship Id="rId6" Type="http://schemas.openxmlformats.org/officeDocument/2006/relationships/image" Target="../media/image105.png"/><Relationship Id="rId5" Type="http://schemas.openxmlformats.org/officeDocument/2006/relationships/image" Target="../media/image104.png"/><Relationship Id="rId10" Type="http://schemas.openxmlformats.org/officeDocument/2006/relationships/image" Target="../media/image109.png"/><Relationship Id="rId4" Type="http://schemas.openxmlformats.org/officeDocument/2006/relationships/image" Target="../media/image103.png"/><Relationship Id="rId9" Type="http://schemas.openxmlformats.org/officeDocument/2006/relationships/image" Target="../media/image108.png"/></Relationships>
</file>

<file path=ppt/slides/_rels/slide38.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34.xml"/><Relationship Id="rId1" Type="http://schemas.openxmlformats.org/officeDocument/2006/relationships/slideLayout" Target="../slideLayouts/slideLayout39.xml"/></Relationships>
</file>

<file path=ppt/slides/_rels/slide3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35.xml"/><Relationship Id="rId1" Type="http://schemas.openxmlformats.org/officeDocument/2006/relationships/slideLayout" Target="../slideLayouts/slideLayout39.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2.xml"/><Relationship Id="rId1" Type="http://schemas.openxmlformats.org/officeDocument/2006/relationships/themeOverride" Target="../theme/themeOverride3.xml"/><Relationship Id="rId4" Type="http://schemas.openxmlformats.org/officeDocument/2006/relationships/image" Target="../media/image23.jpe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7.xml"/><Relationship Id="rId1" Type="http://schemas.openxmlformats.org/officeDocument/2006/relationships/themeOverride" Target="../theme/themeOverride4.xml"/><Relationship Id="rId4" Type="http://schemas.openxmlformats.org/officeDocument/2006/relationships/image" Target="../media/image24.jpeg"/></Relationships>
</file>

<file path=ppt/slides/_rels/slide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6.xml"/><Relationship Id="rId1" Type="http://schemas.openxmlformats.org/officeDocument/2006/relationships/slideLayout" Target="../slideLayouts/slideLayout27.xml"/></Relationships>
</file>

<file path=ppt/slides/_rels/slide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7.xml"/><Relationship Id="rId1" Type="http://schemas.openxmlformats.org/officeDocument/2006/relationships/slideLayout" Target="../slideLayouts/slideLayout27.xml"/></Relationships>
</file>

<file path=ppt/slides/_rels/slide8.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27.jpg"/><Relationship Id="rId7" Type="http://schemas.openxmlformats.org/officeDocument/2006/relationships/image" Target="../media/image31.png"/><Relationship Id="rId2" Type="http://schemas.openxmlformats.org/officeDocument/2006/relationships/notesSlide" Target="../notesSlides/notesSlide8.xml"/><Relationship Id="rId1" Type="http://schemas.openxmlformats.org/officeDocument/2006/relationships/slideLayout" Target="../slideLayouts/slideLayout27.xml"/><Relationship Id="rId6" Type="http://schemas.openxmlformats.org/officeDocument/2006/relationships/image" Target="../media/image30.jpg"/><Relationship Id="rId5" Type="http://schemas.openxmlformats.org/officeDocument/2006/relationships/image" Target="../media/image29.png"/><Relationship Id="rId4" Type="http://schemas.openxmlformats.org/officeDocument/2006/relationships/image" Target="../media/image28.png"/><Relationship Id="rId9" Type="http://schemas.openxmlformats.org/officeDocument/2006/relationships/image" Target="../media/image33.jfif"/></Relationships>
</file>

<file path=ppt/slides/_rels/slide9.xml.rels><?xml version="1.0" encoding="UTF-8" standalone="yes"?>
<Relationships xmlns="http://schemas.openxmlformats.org/package/2006/relationships"><Relationship Id="rId8" Type="http://schemas.openxmlformats.org/officeDocument/2006/relationships/image" Target="../media/image38.png"/><Relationship Id="rId13" Type="http://schemas.openxmlformats.org/officeDocument/2006/relationships/image" Target="../media/image43.png"/><Relationship Id="rId3" Type="http://schemas.openxmlformats.org/officeDocument/2006/relationships/notesSlide" Target="../notesSlides/notesSlide9.xml"/><Relationship Id="rId7" Type="http://schemas.openxmlformats.org/officeDocument/2006/relationships/image" Target="../media/image37.png"/><Relationship Id="rId12" Type="http://schemas.openxmlformats.org/officeDocument/2006/relationships/image" Target="../media/image42.png"/><Relationship Id="rId2" Type="http://schemas.openxmlformats.org/officeDocument/2006/relationships/slideLayout" Target="../slideLayouts/slideLayout32.xml"/><Relationship Id="rId1" Type="http://schemas.openxmlformats.org/officeDocument/2006/relationships/themeOverride" Target="../theme/themeOverride5.xml"/><Relationship Id="rId6" Type="http://schemas.openxmlformats.org/officeDocument/2006/relationships/image" Target="../media/image36.png"/><Relationship Id="rId11" Type="http://schemas.openxmlformats.org/officeDocument/2006/relationships/image" Target="../media/image41.png"/><Relationship Id="rId5" Type="http://schemas.openxmlformats.org/officeDocument/2006/relationships/image" Target="../media/image35.png"/><Relationship Id="rId10" Type="http://schemas.openxmlformats.org/officeDocument/2006/relationships/image" Target="../media/image40.jpeg"/><Relationship Id="rId4" Type="http://schemas.openxmlformats.org/officeDocument/2006/relationships/image" Target="../media/image34.png"/><Relationship Id="rId9" Type="http://schemas.openxmlformats.org/officeDocument/2006/relationships/image" Target="../media/image39.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471"/>
        <p:cNvGrpSpPr/>
        <p:nvPr/>
      </p:nvGrpSpPr>
      <p:grpSpPr>
        <a:xfrm>
          <a:off x="0" y="0"/>
          <a:ext cx="0" cy="0"/>
          <a:chOff x="0" y="0"/>
          <a:chExt cx="0" cy="0"/>
        </a:xfrm>
      </p:grpSpPr>
      <p:pic>
        <p:nvPicPr>
          <p:cNvPr id="472" name="Google Shape;472;p1"/>
          <p:cNvPicPr preferRelativeResize="0"/>
          <p:nvPr/>
        </p:nvPicPr>
        <p:blipFill rotWithShape="1">
          <a:blip r:embed="rId3">
            <a:alphaModFix/>
          </a:blip>
          <a:srcRect b="-70"/>
          <a:stretch/>
        </p:blipFill>
        <p:spPr>
          <a:xfrm>
            <a:off x="0" y="2381"/>
            <a:ext cx="9144000" cy="5147118"/>
          </a:xfrm>
          <a:prstGeom prst="rect">
            <a:avLst/>
          </a:prstGeom>
          <a:noFill/>
          <a:ln>
            <a:noFill/>
          </a:ln>
        </p:spPr>
      </p:pic>
      <p:sp>
        <p:nvSpPr>
          <p:cNvPr id="473" name="Google Shape;473;p1"/>
          <p:cNvSpPr txBox="1"/>
          <p:nvPr/>
        </p:nvSpPr>
        <p:spPr>
          <a:xfrm>
            <a:off x="7704222" y="4771232"/>
            <a:ext cx="1209843" cy="253916"/>
          </a:xfrm>
          <a:prstGeom prst="rect">
            <a:avLst/>
          </a:prstGeom>
          <a:noFill/>
          <a:ln>
            <a:noFill/>
          </a:ln>
        </p:spPr>
        <p:txBody>
          <a:bodyPr spcFirstLastPara="1" wrap="square" lIns="91425" tIns="45700" rIns="91425" bIns="45700" anchor="t" anchorCtr="0">
            <a:spAutoFit/>
          </a:bodyPr>
          <a:lstStyle/>
          <a:p>
            <a:pPr marL="0" marR="0" lvl="0" indent="0" algn="r" rtl="0">
              <a:lnSpc>
                <a:spcPct val="100000"/>
              </a:lnSpc>
              <a:spcBef>
                <a:spcPts val="0"/>
              </a:spcBef>
              <a:spcAft>
                <a:spcPts val="0"/>
              </a:spcAft>
              <a:buClr>
                <a:srgbClr val="E6E6E7"/>
              </a:buClr>
              <a:buSzPts val="1050"/>
              <a:buFont typeface="Arial"/>
              <a:buNone/>
            </a:pPr>
            <a:r>
              <a:rPr lang="en-US" sz="1050" b="1" dirty="0">
                <a:solidFill>
                  <a:srgbClr val="E6E6E7"/>
                </a:solidFill>
                <a:latin typeface="Arial"/>
                <a:ea typeface="Arial"/>
                <a:cs typeface="Arial"/>
                <a:sym typeface="Arial"/>
              </a:rPr>
              <a:t>August</a:t>
            </a:r>
            <a:r>
              <a:rPr lang="en-US" sz="1050" b="1" i="0" u="none" strike="noStrike" cap="none" dirty="0">
                <a:solidFill>
                  <a:srgbClr val="E6E6E7"/>
                </a:solidFill>
                <a:latin typeface="Arial"/>
                <a:ea typeface="Arial"/>
                <a:cs typeface="Arial"/>
                <a:sym typeface="Arial"/>
              </a:rPr>
              <a:t> 2025</a:t>
            </a:r>
            <a:endParaRPr dirty="0"/>
          </a:p>
        </p:txBody>
      </p:sp>
      <p:sp>
        <p:nvSpPr>
          <p:cNvPr id="474" name="Google Shape;474;p1"/>
          <p:cNvSpPr txBox="1"/>
          <p:nvPr/>
        </p:nvSpPr>
        <p:spPr>
          <a:xfrm>
            <a:off x="1125355" y="3793979"/>
            <a:ext cx="8310806" cy="781712"/>
          </a:xfrm>
          <a:prstGeom prst="rect">
            <a:avLst/>
          </a:prstGeom>
          <a:noFill/>
          <a:ln>
            <a:noFill/>
          </a:ln>
        </p:spPr>
        <p:txBody>
          <a:bodyPr spcFirstLastPara="1" wrap="square" lIns="91425" tIns="45700" rIns="91425" bIns="45700" anchor="t" anchorCtr="0">
            <a:spAutoFit/>
          </a:bodyPr>
          <a:lstStyle/>
          <a:p>
            <a:pPr marL="0" marR="0" lvl="0" indent="0" algn="l" rtl="0">
              <a:lnSpc>
                <a:spcPct val="80000"/>
              </a:lnSpc>
              <a:spcBef>
                <a:spcPts val="0"/>
              </a:spcBef>
              <a:spcAft>
                <a:spcPts val="0"/>
              </a:spcAft>
              <a:buClr>
                <a:srgbClr val="FFFFFF"/>
              </a:buClr>
              <a:buSzPts val="2800"/>
              <a:buFont typeface="Arial"/>
              <a:buNone/>
            </a:pPr>
            <a:r>
              <a:rPr lang="en-US" sz="2800" b="1" dirty="0">
                <a:solidFill>
                  <a:srgbClr val="FFFFFF"/>
                </a:solidFill>
              </a:rPr>
              <a:t>Gas Meter Operation: Diaphragm and Ultrasonic for Design and Applications</a:t>
            </a:r>
            <a:endParaRPr lang="en-US" dirty="0"/>
          </a:p>
        </p:txBody>
      </p:sp>
      <p:cxnSp>
        <p:nvCxnSpPr>
          <p:cNvPr id="475" name="Google Shape;475;p1"/>
          <p:cNvCxnSpPr/>
          <p:nvPr/>
        </p:nvCxnSpPr>
        <p:spPr>
          <a:xfrm>
            <a:off x="992005" y="3705080"/>
            <a:ext cx="0" cy="850121"/>
          </a:xfrm>
          <a:prstGeom prst="straightConnector1">
            <a:avLst/>
          </a:prstGeom>
          <a:noFill/>
          <a:ln w="9525" cap="flat" cmpd="sng">
            <a:solidFill>
              <a:srgbClr val="DDE7EB"/>
            </a:solidFill>
            <a:prstDash val="solid"/>
            <a:round/>
            <a:headEnd type="none" w="sm" len="sm"/>
            <a:tailEnd type="none" w="sm" len="sm"/>
          </a:ln>
        </p:spPr>
      </p:cxnSp>
      <p:pic>
        <p:nvPicPr>
          <p:cNvPr id="476" name="Google Shape;476;p1"/>
          <p:cNvPicPr preferRelativeResize="0"/>
          <p:nvPr/>
        </p:nvPicPr>
        <p:blipFill rotWithShape="1">
          <a:blip r:embed="rId4">
            <a:alphaModFix/>
          </a:blip>
          <a:srcRect/>
          <a:stretch/>
        </p:blipFill>
        <p:spPr>
          <a:xfrm>
            <a:off x="567266" y="3895401"/>
            <a:ext cx="263213" cy="469476"/>
          </a:xfrm>
          <a:prstGeom prst="rect">
            <a:avLst/>
          </a:prstGeom>
          <a:noFill/>
          <a:ln>
            <a:noFill/>
          </a:ln>
        </p:spPr>
      </p:pic>
      <p:grpSp>
        <p:nvGrpSpPr>
          <p:cNvPr id="477" name="Google Shape;477;p1"/>
          <p:cNvGrpSpPr/>
          <p:nvPr/>
        </p:nvGrpSpPr>
        <p:grpSpPr>
          <a:xfrm>
            <a:off x="0" y="-1237"/>
            <a:ext cx="2541899" cy="2819813"/>
            <a:chOff x="-14600" y="-47065"/>
            <a:chExt cx="2541899" cy="2819813"/>
          </a:xfrm>
        </p:grpSpPr>
        <p:sp>
          <p:nvSpPr>
            <p:cNvPr id="478" name="Google Shape;478;p1"/>
            <p:cNvSpPr/>
            <p:nvPr/>
          </p:nvSpPr>
          <p:spPr>
            <a:xfrm>
              <a:off x="-14600" y="-47065"/>
              <a:ext cx="2541899" cy="2819813"/>
            </a:xfrm>
            <a:custGeom>
              <a:avLst/>
              <a:gdLst/>
              <a:ahLst/>
              <a:cxnLst/>
              <a:rect l="l" t="t" r="r" b="b"/>
              <a:pathLst>
                <a:path w="2381250" h="2641600" extrusionOk="0">
                  <a:moveTo>
                    <a:pt x="0" y="0"/>
                  </a:moveTo>
                  <a:lnTo>
                    <a:pt x="2381250" y="0"/>
                  </a:lnTo>
                  <a:lnTo>
                    <a:pt x="6350" y="2641600"/>
                  </a:lnTo>
                  <a:lnTo>
                    <a:pt x="0" y="2641600"/>
                  </a:lnTo>
                  <a:lnTo>
                    <a:pt x="0" y="0"/>
                  </a:lnTo>
                  <a:close/>
                </a:path>
              </a:pathLst>
            </a:custGeom>
            <a:solidFill>
              <a:srgbClr val="FFFFF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0" b="0" i="0" u="none" strike="noStrike" cap="none" dirty="0">
                <a:solidFill>
                  <a:schemeClr val="lt1"/>
                </a:solidFill>
                <a:latin typeface="Arial"/>
                <a:ea typeface="Arial"/>
                <a:cs typeface="Arial"/>
                <a:sym typeface="Arial"/>
              </a:endParaRPr>
            </a:p>
          </p:txBody>
        </p:sp>
        <p:pic>
          <p:nvPicPr>
            <p:cNvPr id="479" name="Google Shape;479;p1" descr="A red and yellow logo&#10;&#10;Description automatically generated"/>
            <p:cNvPicPr preferRelativeResize="0"/>
            <p:nvPr/>
          </p:nvPicPr>
          <p:blipFill rotWithShape="1">
            <a:blip r:embed="rId5">
              <a:alphaModFix/>
            </a:blip>
            <a:srcRect/>
            <a:stretch/>
          </p:blipFill>
          <p:spPr>
            <a:xfrm>
              <a:off x="404969" y="424773"/>
              <a:ext cx="851380" cy="360657"/>
            </a:xfrm>
            <a:prstGeom prst="rect">
              <a:avLst/>
            </a:prstGeom>
            <a:noFill/>
            <a:ln>
              <a:noFill/>
            </a:ln>
          </p:spPr>
        </p:pic>
      </p:grpSp>
      <p:sp>
        <p:nvSpPr>
          <p:cNvPr id="4" name="Text Placeholder 2">
            <a:extLst>
              <a:ext uri="{FF2B5EF4-FFF2-40B4-BE49-F238E27FC236}">
                <a16:creationId xmlns:a16="http://schemas.microsoft.com/office/drawing/2014/main" id="{406DE342-ED95-730C-D76F-0916DCA7561D}"/>
              </a:ext>
            </a:extLst>
          </p:cNvPr>
          <p:cNvSpPr txBox="1">
            <a:spLocks/>
          </p:cNvSpPr>
          <p:nvPr/>
        </p:nvSpPr>
        <p:spPr>
          <a:xfrm>
            <a:off x="1674995" y="4458447"/>
            <a:ext cx="6343650" cy="41925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rgbClr val="FF0000"/>
                </a:solidFill>
              </a:rPr>
              <a:t>Scott Henrich, Meter Valve &amp; Control</a:t>
            </a:r>
          </a:p>
        </p:txBody>
      </p:sp>
      <p:sp>
        <p:nvSpPr>
          <p:cNvPr id="5" name="Slide Number Placeholder 4">
            <a:extLst>
              <a:ext uri="{FF2B5EF4-FFF2-40B4-BE49-F238E27FC236}">
                <a16:creationId xmlns:a16="http://schemas.microsoft.com/office/drawing/2014/main" id="{F4AF53D0-FF44-5ADD-C007-6BE598839F5A}"/>
              </a:ext>
            </a:extLst>
          </p:cNvPr>
          <p:cNvSpPr>
            <a:spLocks noGrp="1"/>
          </p:cNvSpPr>
          <p:nvPr>
            <p:ph type="sldNum" idx="12"/>
          </p:nvPr>
        </p:nvSpPr>
        <p:spPr/>
        <p:txBody>
          <a:bodyPr/>
          <a:lstStyle/>
          <a:p>
            <a:pPr marL="0" lvl="0" indent="0" algn="l" rtl="0">
              <a:spcBef>
                <a:spcPts val="0"/>
              </a:spcBef>
              <a:spcAft>
                <a:spcPts val="0"/>
              </a:spcAft>
              <a:buNone/>
            </a:pPr>
            <a:fld id="{00000000-1234-1234-1234-123412341234}" type="slidenum">
              <a:rPr lang="en-US" smtClean="0"/>
              <a:t>1</a:t>
            </a:fld>
            <a:endParaRPr lang="en-US"/>
          </a:p>
        </p:txBody>
      </p:sp>
      <p:pic>
        <p:nvPicPr>
          <p:cNvPr id="6" name="Picture 5" descr="A close-up of a company logo&#10;&#10;AI-generated content may be incorrect.">
            <a:extLst>
              <a:ext uri="{FF2B5EF4-FFF2-40B4-BE49-F238E27FC236}">
                <a16:creationId xmlns:a16="http://schemas.microsoft.com/office/drawing/2014/main" id="{251C781A-F6C5-CB74-A225-EBD8EB9987E1}"/>
              </a:ext>
            </a:extLst>
          </p:cNvPr>
          <p:cNvPicPr>
            <a:picLocks noChangeAspect="1"/>
          </p:cNvPicPr>
          <p:nvPr/>
        </p:nvPicPr>
        <p:blipFill>
          <a:blip r:embed="rId6"/>
          <a:stretch>
            <a:fillRect/>
          </a:stretch>
        </p:blipFill>
        <p:spPr>
          <a:xfrm>
            <a:off x="7014754" y="-1"/>
            <a:ext cx="2129246" cy="1064623"/>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D212AE1-ED29-3931-B87A-B547C6730CF7}"/>
              </a:ext>
            </a:extLst>
          </p:cNvPr>
          <p:cNvSpPr>
            <a:spLocks noGrp="1"/>
          </p:cNvSpPr>
          <p:nvPr>
            <p:ph type="body" sz="quarter" idx="15"/>
          </p:nvPr>
        </p:nvSpPr>
        <p:spPr>
          <a:xfrm>
            <a:off x="1033671" y="278297"/>
            <a:ext cx="7580076" cy="3322528"/>
          </a:xfrm>
          <a:prstGeom prst="rect">
            <a:avLst/>
          </a:prstGeom>
        </p:spPr>
        <p:txBody>
          <a:bodyPr/>
          <a:lstStyle/>
          <a:p>
            <a:r>
              <a:rPr lang="en-US" sz="1600" dirty="0">
                <a:latin typeface="+mn-lt"/>
              </a:rPr>
              <a:t>Ultrasonic gas meters have been around for decades</a:t>
            </a:r>
          </a:p>
          <a:p>
            <a:r>
              <a:rPr lang="en-US" sz="1600" dirty="0"/>
              <a:t>	- used in Japan since the 1970’s</a:t>
            </a:r>
            <a:endParaRPr lang="en-US" sz="1600" dirty="0">
              <a:latin typeface="+mn-lt"/>
            </a:endParaRPr>
          </a:p>
          <a:p>
            <a:r>
              <a:rPr lang="en-US" sz="1600" dirty="0">
                <a:latin typeface="+mn-lt"/>
              </a:rPr>
              <a:t> </a:t>
            </a:r>
          </a:p>
          <a:p>
            <a:r>
              <a:rPr lang="en-US" sz="1600" dirty="0">
                <a:latin typeface="+mn-lt"/>
              </a:rPr>
              <a:t>Their use in residential applications has more recently seen exponential growth in North America</a:t>
            </a:r>
          </a:p>
          <a:p>
            <a:r>
              <a:rPr lang="en-US" sz="1600" dirty="0"/>
              <a:t>	- more than 3 million shipments since introduced in April 2019</a:t>
            </a:r>
          </a:p>
          <a:p>
            <a:r>
              <a:rPr lang="en-US" sz="1600" dirty="0"/>
              <a:t>	- more than 1 million shipped in the last year alone</a:t>
            </a:r>
          </a:p>
          <a:p>
            <a:endParaRPr lang="en-US" sz="1600" dirty="0"/>
          </a:p>
          <a:p>
            <a:r>
              <a:rPr lang="en-US" sz="1600" dirty="0"/>
              <a:t>Lack of industry standards prevented some utilities from implementing</a:t>
            </a:r>
          </a:p>
          <a:p>
            <a:r>
              <a:rPr lang="en-US" sz="1600" dirty="0"/>
              <a:t>	- ANSI B109.6 Single Path Ultrasonic Gas Meters (Under 1400 Cubic Feet 	Per Hour Capacity) was released January 2024 by AGA</a:t>
            </a:r>
          </a:p>
          <a:p>
            <a:endParaRPr lang="en-US" sz="1600" dirty="0"/>
          </a:p>
          <a:p>
            <a:r>
              <a:rPr lang="en-US" sz="1600" dirty="0"/>
              <a:t>Ultrasonic meters now, or soon to be available, from</a:t>
            </a:r>
          </a:p>
          <a:p>
            <a:r>
              <a:rPr lang="en-US" sz="1600" dirty="0"/>
              <a:t>	Itron				Honeywell/American Meter</a:t>
            </a:r>
          </a:p>
          <a:p>
            <a:r>
              <a:rPr lang="en-US" sz="1600" dirty="0"/>
              <a:t>	</a:t>
            </a:r>
            <a:r>
              <a:rPr lang="en-US" sz="1600" dirty="0" err="1"/>
              <a:t>Sensus</a:t>
            </a:r>
            <a:r>
              <a:rPr lang="en-US" sz="1600" dirty="0"/>
              <a:t>			</a:t>
            </a:r>
            <a:r>
              <a:rPr lang="en-US" sz="1600" dirty="0" err="1"/>
              <a:t>Landis+Gyr</a:t>
            </a:r>
            <a:endParaRPr lang="en-US" sz="1600" dirty="0"/>
          </a:p>
          <a:p>
            <a:r>
              <a:rPr lang="en-US" sz="1600" dirty="0"/>
              <a:t>	Pietro </a:t>
            </a:r>
            <a:r>
              <a:rPr lang="en-US" sz="1600" dirty="0" err="1"/>
              <a:t>Fiorentini</a:t>
            </a:r>
            <a:endParaRPr lang="en-US" sz="1600" dirty="0"/>
          </a:p>
          <a:p>
            <a:r>
              <a:rPr lang="en-US" sz="1600" dirty="0"/>
              <a:t>	</a:t>
            </a:r>
          </a:p>
          <a:p>
            <a:endParaRPr lang="en-US" sz="1600" dirty="0"/>
          </a:p>
          <a:p>
            <a:endParaRPr lang="en-US" sz="1600" dirty="0"/>
          </a:p>
          <a:p>
            <a:r>
              <a:rPr lang="en-US" sz="1600" dirty="0">
                <a:latin typeface="+mn-lt"/>
              </a:rPr>
              <a:t>	</a:t>
            </a:r>
          </a:p>
          <a:p>
            <a:endParaRPr lang="en-US" sz="1600" dirty="0">
              <a:latin typeface="+mn-lt"/>
            </a:endParaRPr>
          </a:p>
        </p:txBody>
      </p:sp>
    </p:spTree>
    <p:extLst>
      <p:ext uri="{BB962C8B-B14F-4D97-AF65-F5344CB8AC3E}">
        <p14:creationId xmlns:p14="http://schemas.microsoft.com/office/powerpoint/2010/main" val="1436286622"/>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ttangolo 14">
            <a:extLst>
              <a:ext uri="{FF2B5EF4-FFF2-40B4-BE49-F238E27FC236}">
                <a16:creationId xmlns:a16="http://schemas.microsoft.com/office/drawing/2014/main" id="{B87E8C16-54C1-4F8C-B0F4-EDC5E45FDD01}"/>
              </a:ext>
            </a:extLst>
          </p:cNvPr>
          <p:cNvSpPr/>
          <p:nvPr/>
        </p:nvSpPr>
        <p:spPr>
          <a:xfrm>
            <a:off x="2250782" y="1457424"/>
            <a:ext cx="4642439" cy="1144403"/>
          </a:xfrm>
          <a:prstGeom prst="rect">
            <a:avLst/>
          </a:prstGeom>
          <a:solidFill>
            <a:schemeClr val="tx2">
              <a:alpha val="20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anchor="ctr">
            <a:noAutofit/>
          </a:bodyPr>
          <a:lstStyle/>
          <a:p>
            <a:pPr defTabSz="1219001" hangingPunct="0"/>
            <a:endParaRPr lang="it-IT" sz="2400" kern="0">
              <a:noFill/>
              <a:latin typeface="Code Pro Bold LC"/>
              <a:ea typeface="Code Pro Bold LC"/>
              <a:cs typeface="Code Pro Bold LC"/>
              <a:sym typeface="Code Pro Bold LC"/>
            </a:endParaRPr>
          </a:p>
        </p:txBody>
      </p:sp>
      <p:sp>
        <p:nvSpPr>
          <p:cNvPr id="14" name="Rettangolo 13">
            <a:extLst>
              <a:ext uri="{FF2B5EF4-FFF2-40B4-BE49-F238E27FC236}">
                <a16:creationId xmlns:a16="http://schemas.microsoft.com/office/drawing/2014/main" id="{8BBCC882-8773-4552-830A-F0C9664B3400}"/>
              </a:ext>
            </a:extLst>
          </p:cNvPr>
          <p:cNvSpPr/>
          <p:nvPr/>
        </p:nvSpPr>
        <p:spPr>
          <a:xfrm>
            <a:off x="3243179" y="2595036"/>
            <a:ext cx="452109" cy="144651"/>
          </a:xfrm>
          <a:prstGeom prst="rect">
            <a:avLst/>
          </a:prstGeom>
          <a:solidFill>
            <a:schemeClr val="tx2">
              <a:alpha val="53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anchor="ctr">
            <a:noAutofit/>
          </a:bodyPr>
          <a:lstStyle/>
          <a:p>
            <a:pPr defTabSz="1219001" hangingPunct="0"/>
            <a:endParaRPr lang="it-IT" sz="2400" kern="0">
              <a:noFill/>
              <a:latin typeface="Code Pro Bold LC"/>
              <a:ea typeface="Code Pro Bold LC"/>
              <a:cs typeface="Code Pro Bold LC"/>
              <a:sym typeface="Code Pro Bold LC"/>
            </a:endParaRPr>
          </a:p>
        </p:txBody>
      </p:sp>
      <p:sp>
        <p:nvSpPr>
          <p:cNvPr id="12" name="Rettangolo 11">
            <a:extLst>
              <a:ext uri="{FF2B5EF4-FFF2-40B4-BE49-F238E27FC236}">
                <a16:creationId xmlns:a16="http://schemas.microsoft.com/office/drawing/2014/main" id="{21FFC95A-C7A8-4577-AF48-6C67EF7319FF}"/>
              </a:ext>
            </a:extLst>
          </p:cNvPr>
          <p:cNvSpPr/>
          <p:nvPr/>
        </p:nvSpPr>
        <p:spPr>
          <a:xfrm>
            <a:off x="4487807" y="1325476"/>
            <a:ext cx="452109" cy="144651"/>
          </a:xfrm>
          <a:prstGeom prst="rect">
            <a:avLst/>
          </a:prstGeom>
          <a:solidFill>
            <a:schemeClr val="tx2">
              <a:alpha val="53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anchor="ctr">
            <a:noAutofit/>
          </a:bodyPr>
          <a:lstStyle/>
          <a:p>
            <a:pPr defTabSz="1219001" hangingPunct="0"/>
            <a:endParaRPr lang="it-IT" sz="2400" kern="0">
              <a:noFill/>
              <a:latin typeface="Code Pro Bold LC"/>
              <a:ea typeface="Code Pro Bold LC"/>
              <a:cs typeface="Code Pro Bold LC"/>
              <a:sym typeface="Code Pro Bold LC"/>
            </a:endParaRPr>
          </a:p>
        </p:txBody>
      </p:sp>
      <p:sp>
        <p:nvSpPr>
          <p:cNvPr id="5" name="Rettangolo 4">
            <a:extLst>
              <a:ext uri="{FF2B5EF4-FFF2-40B4-BE49-F238E27FC236}">
                <a16:creationId xmlns:a16="http://schemas.microsoft.com/office/drawing/2014/main" id="{1E920E16-5487-4E93-B082-AD179D4C295D}"/>
              </a:ext>
            </a:extLst>
          </p:cNvPr>
          <p:cNvSpPr/>
          <p:nvPr/>
        </p:nvSpPr>
        <p:spPr>
          <a:xfrm>
            <a:off x="2250782" y="1325476"/>
            <a:ext cx="2237026" cy="144651"/>
          </a:xfrm>
          <a:prstGeom prst="rect">
            <a:avLst/>
          </a:prstGeom>
          <a:solidFill>
            <a:schemeClr val="tx2"/>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anchor="ctr">
            <a:noAutofit/>
          </a:bodyPr>
          <a:lstStyle/>
          <a:p>
            <a:pPr defTabSz="1219001" hangingPunct="0"/>
            <a:endParaRPr lang="it-IT" sz="2400" kern="0">
              <a:noFill/>
              <a:latin typeface="Code Pro Bold LC"/>
              <a:ea typeface="Code Pro Bold LC"/>
              <a:cs typeface="Code Pro Bold LC"/>
              <a:sym typeface="Code Pro Bold LC"/>
            </a:endParaRPr>
          </a:p>
        </p:txBody>
      </p:sp>
      <p:sp>
        <p:nvSpPr>
          <p:cNvPr id="6" name="Rettangolo 5">
            <a:extLst>
              <a:ext uri="{FF2B5EF4-FFF2-40B4-BE49-F238E27FC236}">
                <a16:creationId xmlns:a16="http://schemas.microsoft.com/office/drawing/2014/main" id="{4BB159E7-5A89-43B3-85D3-5FB564AFF712}"/>
              </a:ext>
            </a:extLst>
          </p:cNvPr>
          <p:cNvSpPr/>
          <p:nvPr/>
        </p:nvSpPr>
        <p:spPr>
          <a:xfrm>
            <a:off x="2250781" y="2595036"/>
            <a:ext cx="992396" cy="144651"/>
          </a:xfrm>
          <a:prstGeom prst="rect">
            <a:avLst/>
          </a:prstGeom>
          <a:solidFill>
            <a:schemeClr val="tx2"/>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anchor="ctr">
            <a:noAutofit/>
          </a:bodyPr>
          <a:lstStyle/>
          <a:p>
            <a:pPr defTabSz="1219001" hangingPunct="0"/>
            <a:endParaRPr lang="it-IT" sz="2400" kern="0">
              <a:noFill/>
              <a:latin typeface="Code Pro Bold LC"/>
              <a:ea typeface="Code Pro Bold LC"/>
              <a:cs typeface="Code Pro Bold LC"/>
              <a:sym typeface="Code Pro Bold LC"/>
            </a:endParaRPr>
          </a:p>
        </p:txBody>
      </p:sp>
      <p:sp>
        <p:nvSpPr>
          <p:cNvPr id="9" name="Figura a mano libera: forma 8">
            <a:extLst>
              <a:ext uri="{FF2B5EF4-FFF2-40B4-BE49-F238E27FC236}">
                <a16:creationId xmlns:a16="http://schemas.microsoft.com/office/drawing/2014/main" id="{C5A1C767-8B7C-46F3-9ACC-A4BE248EB6A8}"/>
              </a:ext>
            </a:extLst>
          </p:cNvPr>
          <p:cNvSpPr/>
          <p:nvPr/>
        </p:nvSpPr>
        <p:spPr>
          <a:xfrm rot="2700000">
            <a:off x="4565699" y="1269404"/>
            <a:ext cx="204843" cy="348278"/>
          </a:xfrm>
          <a:custGeom>
            <a:avLst/>
            <a:gdLst>
              <a:gd name="connsiteX0" fmla="*/ 0 w 163513"/>
              <a:gd name="connsiteY0" fmla="*/ 0 h 174734"/>
              <a:gd name="connsiteX1" fmla="*/ 163513 w 163513"/>
              <a:gd name="connsiteY1" fmla="*/ 0 h 174734"/>
              <a:gd name="connsiteX2" fmla="*/ 163513 w 163513"/>
              <a:gd name="connsiteY2" fmla="*/ 152852 h 174734"/>
              <a:gd name="connsiteX3" fmla="*/ 134938 w 163513"/>
              <a:gd name="connsiteY3" fmla="*/ 152852 h 174734"/>
              <a:gd name="connsiteX4" fmla="*/ 134938 w 163513"/>
              <a:gd name="connsiteY4" fmla="*/ 174734 h 174734"/>
              <a:gd name="connsiteX5" fmla="*/ 25400 w 163513"/>
              <a:gd name="connsiteY5" fmla="*/ 174734 h 174734"/>
              <a:gd name="connsiteX6" fmla="*/ 25400 w 163513"/>
              <a:gd name="connsiteY6" fmla="*/ 152852 h 174734"/>
              <a:gd name="connsiteX7" fmla="*/ 0 w 163513"/>
              <a:gd name="connsiteY7" fmla="*/ 152852 h 174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3513" h="174734">
                <a:moveTo>
                  <a:pt x="0" y="0"/>
                </a:moveTo>
                <a:lnTo>
                  <a:pt x="163513" y="0"/>
                </a:lnTo>
                <a:lnTo>
                  <a:pt x="163513" y="152852"/>
                </a:lnTo>
                <a:lnTo>
                  <a:pt x="134938" y="152852"/>
                </a:lnTo>
                <a:lnTo>
                  <a:pt x="134938" y="174734"/>
                </a:lnTo>
                <a:lnTo>
                  <a:pt x="25400" y="174734"/>
                </a:lnTo>
                <a:lnTo>
                  <a:pt x="25400" y="152852"/>
                </a:lnTo>
                <a:lnTo>
                  <a:pt x="0" y="152852"/>
                </a:lnTo>
                <a:close/>
              </a:path>
            </a:pathLst>
          </a:custGeom>
          <a:solidFill>
            <a:schemeClr val="accent1"/>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anchor="ctr">
            <a:noAutofit/>
          </a:bodyPr>
          <a:lstStyle/>
          <a:p>
            <a:pPr defTabSz="1219001" hangingPunct="0"/>
            <a:endParaRPr lang="it-IT" sz="2400" kern="0">
              <a:noFill/>
              <a:latin typeface="Code Pro Bold LC"/>
              <a:ea typeface="Code Pro Bold LC"/>
              <a:cs typeface="Code Pro Bold LC"/>
              <a:sym typeface="Code Pro Bold LC"/>
            </a:endParaRPr>
          </a:p>
        </p:txBody>
      </p:sp>
      <p:sp>
        <p:nvSpPr>
          <p:cNvPr id="10" name="Figura a mano libera: forma 9">
            <a:extLst>
              <a:ext uri="{FF2B5EF4-FFF2-40B4-BE49-F238E27FC236}">
                <a16:creationId xmlns:a16="http://schemas.microsoft.com/office/drawing/2014/main" id="{C0877681-DD5C-4037-88FB-1A2B6A861A4F}"/>
              </a:ext>
            </a:extLst>
          </p:cNvPr>
          <p:cNvSpPr/>
          <p:nvPr/>
        </p:nvSpPr>
        <p:spPr>
          <a:xfrm rot="13500000">
            <a:off x="3415781" y="2441272"/>
            <a:ext cx="204843" cy="355548"/>
          </a:xfrm>
          <a:custGeom>
            <a:avLst/>
            <a:gdLst>
              <a:gd name="connsiteX0" fmla="*/ 0 w 163513"/>
              <a:gd name="connsiteY0" fmla="*/ 0 h 174734"/>
              <a:gd name="connsiteX1" fmla="*/ 163513 w 163513"/>
              <a:gd name="connsiteY1" fmla="*/ 0 h 174734"/>
              <a:gd name="connsiteX2" fmla="*/ 163513 w 163513"/>
              <a:gd name="connsiteY2" fmla="*/ 152852 h 174734"/>
              <a:gd name="connsiteX3" fmla="*/ 134938 w 163513"/>
              <a:gd name="connsiteY3" fmla="*/ 152852 h 174734"/>
              <a:gd name="connsiteX4" fmla="*/ 134938 w 163513"/>
              <a:gd name="connsiteY4" fmla="*/ 174734 h 174734"/>
              <a:gd name="connsiteX5" fmla="*/ 25400 w 163513"/>
              <a:gd name="connsiteY5" fmla="*/ 174734 h 174734"/>
              <a:gd name="connsiteX6" fmla="*/ 25400 w 163513"/>
              <a:gd name="connsiteY6" fmla="*/ 152852 h 174734"/>
              <a:gd name="connsiteX7" fmla="*/ 0 w 163513"/>
              <a:gd name="connsiteY7" fmla="*/ 152852 h 174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3513" h="174734">
                <a:moveTo>
                  <a:pt x="0" y="0"/>
                </a:moveTo>
                <a:lnTo>
                  <a:pt x="163513" y="0"/>
                </a:lnTo>
                <a:lnTo>
                  <a:pt x="163513" y="152852"/>
                </a:lnTo>
                <a:lnTo>
                  <a:pt x="134938" y="152852"/>
                </a:lnTo>
                <a:lnTo>
                  <a:pt x="134938" y="174734"/>
                </a:lnTo>
                <a:lnTo>
                  <a:pt x="25400" y="174734"/>
                </a:lnTo>
                <a:lnTo>
                  <a:pt x="25400" y="152852"/>
                </a:lnTo>
                <a:lnTo>
                  <a:pt x="0" y="152852"/>
                </a:lnTo>
                <a:close/>
              </a:path>
            </a:pathLst>
          </a:custGeom>
          <a:solidFill>
            <a:schemeClr val="accent1"/>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anchor="ctr">
            <a:noAutofit/>
          </a:bodyPr>
          <a:lstStyle/>
          <a:p>
            <a:pPr defTabSz="1219001" hangingPunct="0"/>
            <a:endParaRPr lang="it-IT" sz="2400" kern="0">
              <a:noFill/>
              <a:latin typeface="Code Pro Bold LC"/>
              <a:ea typeface="Code Pro Bold LC"/>
              <a:cs typeface="Code Pro Bold LC"/>
              <a:sym typeface="Code Pro Bold LC"/>
            </a:endParaRPr>
          </a:p>
        </p:txBody>
      </p:sp>
      <p:sp>
        <p:nvSpPr>
          <p:cNvPr id="11" name="Rettangolo 10">
            <a:extLst>
              <a:ext uri="{FF2B5EF4-FFF2-40B4-BE49-F238E27FC236}">
                <a16:creationId xmlns:a16="http://schemas.microsoft.com/office/drawing/2014/main" id="{929E72A3-D6FA-48C0-A167-A61DD7766BCD}"/>
              </a:ext>
            </a:extLst>
          </p:cNvPr>
          <p:cNvSpPr/>
          <p:nvPr/>
        </p:nvSpPr>
        <p:spPr>
          <a:xfrm>
            <a:off x="4939918" y="1325476"/>
            <a:ext cx="1953303" cy="144651"/>
          </a:xfrm>
          <a:prstGeom prst="rect">
            <a:avLst/>
          </a:prstGeom>
          <a:solidFill>
            <a:schemeClr val="tx2"/>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anchor="ctr">
            <a:noAutofit/>
          </a:bodyPr>
          <a:lstStyle/>
          <a:p>
            <a:pPr defTabSz="1219001" hangingPunct="0"/>
            <a:endParaRPr lang="it-IT" sz="2400" kern="0">
              <a:noFill/>
              <a:latin typeface="Code Pro Bold LC"/>
              <a:ea typeface="Code Pro Bold LC"/>
              <a:cs typeface="Code Pro Bold LC"/>
              <a:sym typeface="Code Pro Bold LC"/>
            </a:endParaRPr>
          </a:p>
        </p:txBody>
      </p:sp>
      <p:sp>
        <p:nvSpPr>
          <p:cNvPr id="13" name="Rettangolo 12">
            <a:extLst>
              <a:ext uri="{FF2B5EF4-FFF2-40B4-BE49-F238E27FC236}">
                <a16:creationId xmlns:a16="http://schemas.microsoft.com/office/drawing/2014/main" id="{636EAD9C-7B9E-4EC1-8607-0A7BE8993C59}"/>
              </a:ext>
            </a:extLst>
          </p:cNvPr>
          <p:cNvSpPr/>
          <p:nvPr/>
        </p:nvSpPr>
        <p:spPr>
          <a:xfrm>
            <a:off x="3695288" y="2595036"/>
            <a:ext cx="3197933" cy="144651"/>
          </a:xfrm>
          <a:prstGeom prst="rect">
            <a:avLst/>
          </a:prstGeom>
          <a:solidFill>
            <a:schemeClr val="tx2"/>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anchor="ctr">
            <a:noAutofit/>
          </a:bodyPr>
          <a:lstStyle/>
          <a:p>
            <a:pPr defTabSz="1219001" hangingPunct="0"/>
            <a:endParaRPr lang="it-IT" sz="2400" kern="0">
              <a:noFill/>
              <a:latin typeface="Code Pro Bold LC"/>
              <a:ea typeface="Code Pro Bold LC"/>
              <a:cs typeface="Code Pro Bold LC"/>
              <a:sym typeface="Code Pro Bold LC"/>
            </a:endParaRPr>
          </a:p>
        </p:txBody>
      </p:sp>
      <p:sp>
        <p:nvSpPr>
          <p:cNvPr id="19" name="Freccia a destra 18">
            <a:extLst>
              <a:ext uri="{FF2B5EF4-FFF2-40B4-BE49-F238E27FC236}">
                <a16:creationId xmlns:a16="http://schemas.microsoft.com/office/drawing/2014/main" id="{41939B91-3671-4512-B7A1-D6C0A331F072}"/>
              </a:ext>
            </a:extLst>
          </p:cNvPr>
          <p:cNvSpPr/>
          <p:nvPr/>
        </p:nvSpPr>
        <p:spPr>
          <a:xfrm>
            <a:off x="2258345" y="1576839"/>
            <a:ext cx="901563" cy="909558"/>
          </a:xfrm>
          <a:prstGeom prst="rightArrow">
            <a:avLst/>
          </a:prstGeom>
          <a:solidFill>
            <a:schemeClr val="accent1">
              <a:alpha val="33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anchor="ctr">
            <a:noAutofit/>
          </a:bodyPr>
          <a:lstStyle/>
          <a:p>
            <a:pPr defTabSz="1219001" hangingPunct="0"/>
            <a:endParaRPr lang="it-IT" sz="2400" kern="0">
              <a:solidFill>
                <a:srgbClr val="FFFFFF"/>
              </a:solidFill>
              <a:latin typeface="Code Pro Bold LC"/>
              <a:ea typeface="Code Pro Bold LC"/>
              <a:cs typeface="Code Pro Bold LC"/>
              <a:sym typeface="Code Pro Bold LC"/>
            </a:endParaRPr>
          </a:p>
        </p:txBody>
      </p:sp>
      <p:pic>
        <p:nvPicPr>
          <p:cNvPr id="21" name="Elemento grafico 20" descr="Wi-Fi contorno">
            <a:extLst>
              <a:ext uri="{FF2B5EF4-FFF2-40B4-BE49-F238E27FC236}">
                <a16:creationId xmlns:a16="http://schemas.microsoft.com/office/drawing/2014/main" id="{6053A2B3-6ABD-4C4E-82DF-A63EB6C05CC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700000">
            <a:off x="3510345" y="1963777"/>
            <a:ext cx="664501" cy="664501"/>
          </a:xfrm>
          <a:prstGeom prst="rect">
            <a:avLst/>
          </a:prstGeom>
        </p:spPr>
      </p:pic>
      <p:cxnSp>
        <p:nvCxnSpPr>
          <p:cNvPr id="30" name="Connettore diritto 29">
            <a:extLst>
              <a:ext uri="{FF2B5EF4-FFF2-40B4-BE49-F238E27FC236}">
                <a16:creationId xmlns:a16="http://schemas.microsoft.com/office/drawing/2014/main" id="{E30358F4-47A8-4B48-873A-3F8BD7828FC0}"/>
              </a:ext>
            </a:extLst>
          </p:cNvPr>
          <p:cNvCxnSpPr>
            <a:cxnSpLocks/>
          </p:cNvCxnSpPr>
          <p:nvPr/>
        </p:nvCxnSpPr>
        <p:spPr>
          <a:xfrm flipH="1">
            <a:off x="3643951" y="1563472"/>
            <a:ext cx="897206" cy="927333"/>
          </a:xfrm>
          <a:prstGeom prst="line">
            <a:avLst/>
          </a:prstGeom>
          <a:noFill/>
          <a:ln w="9525" cap="flat">
            <a:solidFill>
              <a:schemeClr val="accent1">
                <a:alpha val="35000"/>
              </a:schemeClr>
            </a:solidFill>
            <a:prstDash val="dash"/>
            <a:round/>
          </a:ln>
          <a:effectLst/>
          <a:sp3d/>
        </p:spPr>
        <p:style>
          <a:lnRef idx="0">
            <a:scrgbClr r="0" g="0" b="0"/>
          </a:lnRef>
          <a:fillRef idx="0">
            <a:scrgbClr r="0" g="0" b="0"/>
          </a:fillRef>
          <a:effectRef idx="0">
            <a:scrgbClr r="0" g="0" b="0"/>
          </a:effectRef>
          <a:fontRef idx="none"/>
        </p:style>
      </p:cxnSp>
      <p:sp>
        <p:nvSpPr>
          <p:cNvPr id="2" name="Titolo 4">
            <a:extLst>
              <a:ext uri="{FF2B5EF4-FFF2-40B4-BE49-F238E27FC236}">
                <a16:creationId xmlns:a16="http://schemas.microsoft.com/office/drawing/2014/main" id="{389B3BDC-A25B-4818-A7E9-C8F33140B520}"/>
              </a:ext>
            </a:extLst>
          </p:cNvPr>
          <p:cNvSpPr txBox="1">
            <a:spLocks/>
          </p:cNvSpPr>
          <p:nvPr/>
        </p:nvSpPr>
        <p:spPr>
          <a:xfrm>
            <a:off x="468314" y="312521"/>
            <a:ext cx="7163687" cy="596052"/>
          </a:xfrm>
          <a:prstGeom prst="rect">
            <a:avLst/>
          </a:prstGeom>
          <a:solidFill>
            <a:schemeClr val="bg1"/>
          </a:solidFill>
        </p:spPr>
        <p:txBody>
          <a:bodyPr lIns="0" tIns="0" rIns="0" bIns="0" anchor="ctr" anchorCtr="0"/>
          <a:lstStyle>
            <a:lvl1pPr marL="0" marR="0" indent="0" algn="l" defTabSz="2438400" rtl="0" latinLnBrk="0">
              <a:lnSpc>
                <a:spcPct val="100000"/>
              </a:lnSpc>
              <a:spcBef>
                <a:spcPts val="0"/>
              </a:spcBef>
              <a:spcAft>
                <a:spcPts val="0"/>
              </a:spcAft>
              <a:buClrTx/>
              <a:buSzTx/>
              <a:buFontTx/>
              <a:buNone/>
              <a:tabLst/>
              <a:defRPr sz="9600" b="1" i="0" u="none" strike="noStrike" cap="none" spc="-715" baseline="0">
                <a:solidFill>
                  <a:srgbClr val="099683"/>
                </a:solidFill>
                <a:uFillTx/>
                <a:latin typeface="Helvetica 75"/>
                <a:ea typeface="Helvetica 75"/>
                <a:cs typeface="Helvetica 75"/>
                <a:sym typeface="Helvetica Neue"/>
              </a:defRPr>
            </a:lvl1pPr>
            <a:lvl2pPr marL="0" marR="0" indent="0" algn="l" defTabSz="1828781" rtl="0" latinLnBrk="0">
              <a:lnSpc>
                <a:spcPct val="100000"/>
              </a:lnSpc>
              <a:spcBef>
                <a:spcPts val="0"/>
              </a:spcBef>
              <a:spcAft>
                <a:spcPts val="0"/>
              </a:spcAft>
              <a:buClrTx/>
              <a:buSzTx/>
              <a:buFontTx/>
              <a:buNone/>
              <a:tabLst/>
              <a:defRPr sz="6700" b="1" i="0" u="none" strike="noStrike" cap="none" spc="-335" baseline="0">
                <a:solidFill>
                  <a:srgbClr val="FFFFFF"/>
                </a:solidFill>
                <a:uFillTx/>
                <a:latin typeface="Century Gothic"/>
                <a:ea typeface="Century Gothic"/>
                <a:cs typeface="Century Gothic"/>
                <a:sym typeface="Century Gothic"/>
              </a:defRPr>
            </a:lvl2pPr>
            <a:lvl3pPr marL="0" marR="0" indent="0" algn="l" defTabSz="1828781" rtl="0" latinLnBrk="0">
              <a:lnSpc>
                <a:spcPct val="100000"/>
              </a:lnSpc>
              <a:spcBef>
                <a:spcPts val="0"/>
              </a:spcBef>
              <a:spcAft>
                <a:spcPts val="0"/>
              </a:spcAft>
              <a:buClrTx/>
              <a:buSzTx/>
              <a:buFontTx/>
              <a:buNone/>
              <a:tabLst/>
              <a:defRPr sz="6700" b="1" i="0" u="none" strike="noStrike" cap="none" spc="-335" baseline="0">
                <a:solidFill>
                  <a:srgbClr val="FFFFFF"/>
                </a:solidFill>
                <a:uFillTx/>
                <a:latin typeface="Century Gothic"/>
                <a:ea typeface="Century Gothic"/>
                <a:cs typeface="Century Gothic"/>
                <a:sym typeface="Century Gothic"/>
              </a:defRPr>
            </a:lvl3pPr>
            <a:lvl4pPr marL="0" marR="0" indent="0" algn="l" defTabSz="1828781" rtl="0" latinLnBrk="0">
              <a:lnSpc>
                <a:spcPct val="100000"/>
              </a:lnSpc>
              <a:spcBef>
                <a:spcPts val="0"/>
              </a:spcBef>
              <a:spcAft>
                <a:spcPts val="0"/>
              </a:spcAft>
              <a:buClrTx/>
              <a:buSzTx/>
              <a:buFontTx/>
              <a:buNone/>
              <a:tabLst/>
              <a:defRPr sz="6700" b="1" i="0" u="none" strike="noStrike" cap="none" spc="-335" baseline="0">
                <a:solidFill>
                  <a:srgbClr val="FFFFFF"/>
                </a:solidFill>
                <a:uFillTx/>
                <a:latin typeface="Century Gothic"/>
                <a:ea typeface="Century Gothic"/>
                <a:cs typeface="Century Gothic"/>
                <a:sym typeface="Century Gothic"/>
              </a:defRPr>
            </a:lvl4pPr>
            <a:lvl5pPr marL="0" marR="0" indent="0" algn="l" defTabSz="1828781" rtl="0" latinLnBrk="0">
              <a:lnSpc>
                <a:spcPct val="100000"/>
              </a:lnSpc>
              <a:spcBef>
                <a:spcPts val="0"/>
              </a:spcBef>
              <a:spcAft>
                <a:spcPts val="0"/>
              </a:spcAft>
              <a:buClrTx/>
              <a:buSzTx/>
              <a:buFontTx/>
              <a:buNone/>
              <a:tabLst/>
              <a:defRPr sz="6700" b="1" i="0" u="none" strike="noStrike" cap="none" spc="-335" baseline="0">
                <a:solidFill>
                  <a:srgbClr val="FFFFFF"/>
                </a:solidFill>
                <a:uFillTx/>
                <a:latin typeface="Century Gothic"/>
                <a:ea typeface="Century Gothic"/>
                <a:cs typeface="Century Gothic"/>
                <a:sym typeface="Century Gothic"/>
              </a:defRPr>
            </a:lvl5pPr>
            <a:lvl6pPr marL="0" marR="0" indent="0" algn="l" defTabSz="1828781" rtl="0" latinLnBrk="0">
              <a:lnSpc>
                <a:spcPct val="100000"/>
              </a:lnSpc>
              <a:spcBef>
                <a:spcPts val="0"/>
              </a:spcBef>
              <a:spcAft>
                <a:spcPts val="0"/>
              </a:spcAft>
              <a:buClrTx/>
              <a:buSzTx/>
              <a:buFontTx/>
              <a:buNone/>
              <a:tabLst/>
              <a:defRPr sz="6700" b="1" i="0" u="none" strike="noStrike" cap="none" spc="-335" baseline="0">
                <a:solidFill>
                  <a:srgbClr val="FFFFFF"/>
                </a:solidFill>
                <a:uFillTx/>
                <a:latin typeface="Century Gothic"/>
                <a:ea typeface="Century Gothic"/>
                <a:cs typeface="Century Gothic"/>
                <a:sym typeface="Century Gothic"/>
              </a:defRPr>
            </a:lvl6pPr>
            <a:lvl7pPr marL="0" marR="0" indent="0" algn="l" defTabSz="1828781" rtl="0" latinLnBrk="0">
              <a:lnSpc>
                <a:spcPct val="100000"/>
              </a:lnSpc>
              <a:spcBef>
                <a:spcPts val="0"/>
              </a:spcBef>
              <a:spcAft>
                <a:spcPts val="0"/>
              </a:spcAft>
              <a:buClrTx/>
              <a:buSzTx/>
              <a:buFontTx/>
              <a:buNone/>
              <a:tabLst/>
              <a:defRPr sz="6700" b="1" i="0" u="none" strike="noStrike" cap="none" spc="-335" baseline="0">
                <a:solidFill>
                  <a:srgbClr val="FFFFFF"/>
                </a:solidFill>
                <a:uFillTx/>
                <a:latin typeface="Century Gothic"/>
                <a:ea typeface="Century Gothic"/>
                <a:cs typeface="Century Gothic"/>
                <a:sym typeface="Century Gothic"/>
              </a:defRPr>
            </a:lvl7pPr>
            <a:lvl8pPr marL="0" marR="0" indent="0" algn="l" defTabSz="1828781" rtl="0" latinLnBrk="0">
              <a:lnSpc>
                <a:spcPct val="100000"/>
              </a:lnSpc>
              <a:spcBef>
                <a:spcPts val="0"/>
              </a:spcBef>
              <a:spcAft>
                <a:spcPts val="0"/>
              </a:spcAft>
              <a:buClrTx/>
              <a:buSzTx/>
              <a:buFontTx/>
              <a:buNone/>
              <a:tabLst/>
              <a:defRPr sz="6700" b="1" i="0" u="none" strike="noStrike" cap="none" spc="-335" baseline="0">
                <a:solidFill>
                  <a:srgbClr val="FFFFFF"/>
                </a:solidFill>
                <a:uFillTx/>
                <a:latin typeface="Century Gothic"/>
                <a:ea typeface="Century Gothic"/>
                <a:cs typeface="Century Gothic"/>
                <a:sym typeface="Century Gothic"/>
              </a:defRPr>
            </a:lvl8pPr>
            <a:lvl9pPr marL="0" marR="0" indent="0" algn="l" defTabSz="1828781" rtl="0" latinLnBrk="0">
              <a:lnSpc>
                <a:spcPct val="100000"/>
              </a:lnSpc>
              <a:spcBef>
                <a:spcPts val="0"/>
              </a:spcBef>
              <a:spcAft>
                <a:spcPts val="0"/>
              </a:spcAft>
              <a:buClrTx/>
              <a:buSzTx/>
              <a:buFontTx/>
              <a:buNone/>
              <a:tabLst/>
              <a:defRPr sz="6700" b="1" i="0" u="none" strike="noStrike" cap="none" spc="-335" baseline="0">
                <a:solidFill>
                  <a:srgbClr val="FFFFFF"/>
                </a:solidFill>
                <a:uFillTx/>
                <a:latin typeface="Century Gothic"/>
                <a:ea typeface="Century Gothic"/>
                <a:cs typeface="Century Gothic"/>
                <a:sym typeface="Century Gothic"/>
              </a:defRPr>
            </a:lvl9pPr>
          </a:lstStyle>
          <a:p>
            <a:pPr defTabSz="2438339"/>
            <a:r>
              <a:rPr lang="it-IT" sz="3750" kern="0" spc="-113" noProof="1">
                <a:latin typeface="Arial" panose="020B0604020202020204" pitchFamily="34" charset="0"/>
                <a:cs typeface="Arial" panose="020B0604020202020204" pitchFamily="34" charset="0"/>
              </a:rPr>
              <a:t>Principle of Operation</a:t>
            </a:r>
          </a:p>
        </p:txBody>
      </p:sp>
      <p:sp>
        <p:nvSpPr>
          <p:cNvPr id="22" name="CasellaDiTesto 21">
            <a:extLst>
              <a:ext uri="{FF2B5EF4-FFF2-40B4-BE49-F238E27FC236}">
                <a16:creationId xmlns:a16="http://schemas.microsoft.com/office/drawing/2014/main" id="{40BC695D-7BC4-4C5A-A7B8-2F08D2D384FD}"/>
              </a:ext>
            </a:extLst>
          </p:cNvPr>
          <p:cNvSpPr txBox="1"/>
          <p:nvPr/>
        </p:nvSpPr>
        <p:spPr>
          <a:xfrm>
            <a:off x="2427544" y="2793198"/>
            <a:ext cx="1142699" cy="261610"/>
          </a:xfrm>
          <a:prstGeom prst="rect">
            <a:avLst/>
          </a:prstGeom>
          <a:no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a:spAutoFit/>
          </a:bodyPr>
          <a:lstStyle/>
          <a:p>
            <a:pPr algn="r" defTabSz="457126" hangingPunct="0"/>
            <a:r>
              <a:rPr lang="en-US" sz="1100" b="1" kern="0">
                <a:solidFill>
                  <a:srgbClr val="069782"/>
                </a:solidFill>
                <a:latin typeface="Arial" panose="020B0604020202020204" pitchFamily="34" charset="0"/>
                <a:cs typeface="Arial" panose="020B0604020202020204" pitchFamily="34" charset="0"/>
                <a:sym typeface="Code Pro Bold LC"/>
              </a:rPr>
              <a:t>Transducer A</a:t>
            </a:r>
            <a:endParaRPr lang="en-US" sz="1100" kern="0">
              <a:solidFill>
                <a:srgbClr val="069782"/>
              </a:solidFill>
              <a:latin typeface="Arial" panose="020B0604020202020204" pitchFamily="34" charset="0"/>
              <a:cs typeface="Arial" panose="020B0604020202020204" pitchFamily="34" charset="0"/>
              <a:sym typeface="Code Pro Bold LC"/>
            </a:endParaRPr>
          </a:p>
        </p:txBody>
      </p:sp>
      <p:sp>
        <p:nvSpPr>
          <p:cNvPr id="23" name="CasellaDiTesto 22">
            <a:extLst>
              <a:ext uri="{FF2B5EF4-FFF2-40B4-BE49-F238E27FC236}">
                <a16:creationId xmlns:a16="http://schemas.microsoft.com/office/drawing/2014/main" id="{79FB4F33-8899-4996-BEB2-BFD0A374661F}"/>
              </a:ext>
            </a:extLst>
          </p:cNvPr>
          <p:cNvSpPr txBox="1"/>
          <p:nvPr/>
        </p:nvSpPr>
        <p:spPr>
          <a:xfrm>
            <a:off x="4572001" y="1025046"/>
            <a:ext cx="1142699" cy="261610"/>
          </a:xfrm>
          <a:prstGeom prst="rect">
            <a:avLst/>
          </a:prstGeom>
          <a:no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a:spAutoFit/>
          </a:bodyPr>
          <a:lstStyle/>
          <a:p>
            <a:pPr algn="r" defTabSz="457126" hangingPunct="0"/>
            <a:r>
              <a:rPr lang="en-US" sz="1100" b="1" kern="0">
                <a:solidFill>
                  <a:srgbClr val="069782"/>
                </a:solidFill>
                <a:latin typeface="Arial" panose="020B0604020202020204" pitchFamily="34" charset="0"/>
                <a:cs typeface="Arial" panose="020B0604020202020204" pitchFamily="34" charset="0"/>
                <a:sym typeface="Code Pro Bold LC"/>
              </a:rPr>
              <a:t>Transducer B</a:t>
            </a:r>
            <a:endParaRPr lang="en-US" sz="1100" kern="0">
              <a:solidFill>
                <a:srgbClr val="069782"/>
              </a:solidFill>
              <a:latin typeface="Arial" panose="020B0604020202020204" pitchFamily="34" charset="0"/>
              <a:cs typeface="Arial" panose="020B0604020202020204" pitchFamily="34" charset="0"/>
              <a:sym typeface="Code Pro Bold LC"/>
            </a:endParaRPr>
          </a:p>
        </p:txBody>
      </p:sp>
      <p:sp>
        <p:nvSpPr>
          <p:cNvPr id="25" name="CasellaDiTesto 24">
            <a:extLst>
              <a:ext uri="{FF2B5EF4-FFF2-40B4-BE49-F238E27FC236}">
                <a16:creationId xmlns:a16="http://schemas.microsoft.com/office/drawing/2014/main" id="{80BFA6CB-53C5-4468-96DC-4EADEABC81ED}"/>
              </a:ext>
            </a:extLst>
          </p:cNvPr>
          <p:cNvSpPr txBox="1"/>
          <p:nvPr/>
        </p:nvSpPr>
        <p:spPr>
          <a:xfrm>
            <a:off x="468314" y="3498412"/>
            <a:ext cx="3877757" cy="61401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t" anchorCtr="0">
            <a:spAutoFit/>
          </a:bodyPr>
          <a:lstStyle/>
          <a:p>
            <a:pPr algn="just" defTabSz="457126" hangingPunct="0">
              <a:lnSpc>
                <a:spcPct val="125000"/>
              </a:lnSpc>
            </a:pPr>
            <a:r>
              <a:rPr lang="en-US" sz="1100" kern="0" dirty="0">
                <a:solidFill>
                  <a:srgbClr val="535353"/>
                </a:solidFill>
                <a:latin typeface="Arial" panose="020B0604020202020204" pitchFamily="34" charset="0"/>
                <a:cs typeface="Arial" panose="020B0604020202020204" pitchFamily="34" charset="0"/>
                <a:sym typeface="Code Pro Bold LC"/>
              </a:rPr>
              <a:t>Ultrasonic wave pulse (frequency&gt;20kH) is generated in a transducer (A). The pulse goes trough the pipe, and then received and measured by another transducer (B). </a:t>
            </a:r>
            <a:endParaRPr lang="en-GB" sz="1100" kern="0" dirty="0">
              <a:solidFill>
                <a:srgbClr val="535353"/>
              </a:solidFill>
              <a:latin typeface="Arial" panose="020B0604020202020204" pitchFamily="34" charset="0"/>
              <a:cs typeface="Arial" panose="020B0604020202020204" pitchFamily="34" charset="0"/>
              <a:sym typeface="Code Pro Bold LC"/>
            </a:endParaRPr>
          </a:p>
        </p:txBody>
      </p:sp>
      <p:sp>
        <p:nvSpPr>
          <p:cNvPr id="26" name="CasellaDiTesto 25">
            <a:extLst>
              <a:ext uri="{FF2B5EF4-FFF2-40B4-BE49-F238E27FC236}">
                <a16:creationId xmlns:a16="http://schemas.microsoft.com/office/drawing/2014/main" id="{EE5F5742-8201-4641-84AB-1B9ECC7C3A90}"/>
              </a:ext>
            </a:extLst>
          </p:cNvPr>
          <p:cNvSpPr txBox="1"/>
          <p:nvPr/>
        </p:nvSpPr>
        <p:spPr>
          <a:xfrm>
            <a:off x="4797932" y="3470934"/>
            <a:ext cx="3877756" cy="146040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t" anchorCtr="0">
            <a:spAutoFit/>
          </a:bodyPr>
          <a:lstStyle/>
          <a:p>
            <a:pPr algn="just" defTabSz="457126" hangingPunct="0">
              <a:lnSpc>
                <a:spcPct val="125000"/>
              </a:lnSpc>
            </a:pPr>
            <a:r>
              <a:rPr lang="en-US" sz="1100" kern="0">
                <a:solidFill>
                  <a:srgbClr val="535353"/>
                </a:solidFill>
                <a:latin typeface="Arial" panose="020B0604020202020204" pitchFamily="34" charset="0"/>
                <a:cs typeface="Arial" panose="020B0604020202020204" pitchFamily="34" charset="0"/>
                <a:sym typeface="Code Pro Bold LC"/>
              </a:rPr>
              <a:t>The time of travel of the acoustic wave from point A to point B (</a:t>
            </a:r>
            <a:r>
              <a:rPr lang="en-US" sz="1100" kern="0" err="1">
                <a:solidFill>
                  <a:srgbClr val="535353"/>
                </a:solidFill>
                <a:latin typeface="Arial" panose="020B0604020202020204" pitchFamily="34" charset="0"/>
                <a:cs typeface="Arial" panose="020B0604020202020204" pitchFamily="34" charset="0"/>
                <a:sym typeface="Code Pro Bold LC"/>
              </a:rPr>
              <a:t>t</a:t>
            </a:r>
            <a:r>
              <a:rPr lang="en-US" sz="1100" kern="0" baseline="-25000" err="1">
                <a:solidFill>
                  <a:srgbClr val="535353"/>
                </a:solidFill>
                <a:latin typeface="Arial" panose="020B0604020202020204" pitchFamily="34" charset="0"/>
                <a:cs typeface="Arial" panose="020B0604020202020204" pitchFamily="34" charset="0"/>
                <a:sym typeface="Code Pro Bold LC"/>
              </a:rPr>
              <a:t>BA</a:t>
            </a:r>
            <a:r>
              <a:rPr lang="en-US" sz="1100" kern="0">
                <a:solidFill>
                  <a:srgbClr val="535353"/>
                </a:solidFill>
                <a:latin typeface="Arial" panose="020B0604020202020204" pitchFamily="34" charset="0"/>
                <a:cs typeface="Arial" panose="020B0604020202020204" pitchFamily="34" charset="0"/>
                <a:sym typeface="Code Pro Bold LC"/>
              </a:rPr>
              <a:t>) is not the same that from the point B to the point A (</a:t>
            </a:r>
            <a:r>
              <a:rPr lang="en-US" sz="1100" kern="0" err="1">
                <a:solidFill>
                  <a:srgbClr val="535353"/>
                </a:solidFill>
                <a:latin typeface="Arial" panose="020B0604020202020204" pitchFamily="34" charset="0"/>
                <a:cs typeface="Arial" panose="020B0604020202020204" pitchFamily="34" charset="0"/>
                <a:sym typeface="Code Pro Bold LC"/>
              </a:rPr>
              <a:t>t</a:t>
            </a:r>
            <a:r>
              <a:rPr lang="en-US" sz="1100" kern="0" baseline="-25000" err="1">
                <a:solidFill>
                  <a:srgbClr val="535353"/>
                </a:solidFill>
                <a:latin typeface="Arial" panose="020B0604020202020204" pitchFamily="34" charset="0"/>
                <a:cs typeface="Arial" panose="020B0604020202020204" pitchFamily="34" charset="0"/>
                <a:sym typeface="Code Pro Bold LC"/>
              </a:rPr>
              <a:t>AB</a:t>
            </a:r>
            <a:r>
              <a:rPr lang="en-US" sz="1100" kern="0">
                <a:solidFill>
                  <a:srgbClr val="535353"/>
                </a:solidFill>
                <a:latin typeface="Arial" panose="020B0604020202020204" pitchFamily="34" charset="0"/>
                <a:cs typeface="Arial" panose="020B0604020202020204" pitchFamily="34" charset="0"/>
                <a:sym typeface="Code Pro Bold LC"/>
              </a:rPr>
              <a:t>), which generate a delay (</a:t>
            </a:r>
            <a:r>
              <a:rPr lang="el-GR" sz="1100" kern="0">
                <a:solidFill>
                  <a:srgbClr val="535353"/>
                </a:solidFill>
                <a:latin typeface="Arial" panose="020B0604020202020204" pitchFamily="34" charset="0"/>
                <a:cs typeface="Arial" panose="020B0604020202020204" pitchFamily="34" charset="0"/>
                <a:sym typeface="Code Pro Bold LC"/>
              </a:rPr>
              <a:t>Δ</a:t>
            </a:r>
            <a:r>
              <a:rPr lang="en-US" sz="1100" kern="0">
                <a:solidFill>
                  <a:srgbClr val="535353"/>
                </a:solidFill>
                <a:latin typeface="Arial" panose="020B0604020202020204" pitchFamily="34" charset="0"/>
                <a:cs typeface="Arial" panose="020B0604020202020204" pitchFamily="34" charset="0"/>
                <a:sym typeface="Code Pro Bold LC"/>
              </a:rPr>
              <a:t>t). This difference is due to the flow stream inside the pipe: the higher is the flow velocity, the greater is the difference. Knowing the distance between the two transducers and the travel time difference, the volume flow rate is calculated.</a:t>
            </a:r>
            <a:endParaRPr lang="en-GB" sz="1100" kern="0">
              <a:solidFill>
                <a:srgbClr val="535353"/>
              </a:solidFill>
              <a:latin typeface="Arial" panose="020B0604020202020204" pitchFamily="34" charset="0"/>
              <a:cs typeface="Arial" panose="020B0604020202020204" pitchFamily="34" charset="0"/>
              <a:sym typeface="Code Pro Bold LC"/>
            </a:endParaRPr>
          </a:p>
        </p:txBody>
      </p:sp>
      <p:grpSp>
        <p:nvGrpSpPr>
          <p:cNvPr id="8" name="Gruppo 7">
            <a:extLst>
              <a:ext uri="{FF2B5EF4-FFF2-40B4-BE49-F238E27FC236}">
                <a16:creationId xmlns:a16="http://schemas.microsoft.com/office/drawing/2014/main" id="{A3564984-59E5-46BE-AE9B-ED24FFECAD11}"/>
              </a:ext>
            </a:extLst>
          </p:cNvPr>
          <p:cNvGrpSpPr/>
          <p:nvPr/>
        </p:nvGrpSpPr>
        <p:grpSpPr>
          <a:xfrm rot="18900000">
            <a:off x="3390796" y="2547619"/>
            <a:ext cx="266700" cy="109062"/>
            <a:chOff x="5419725" y="283369"/>
            <a:chExt cx="266700" cy="204787"/>
          </a:xfrm>
        </p:grpSpPr>
        <p:cxnSp>
          <p:nvCxnSpPr>
            <p:cNvPr id="7" name="Connettore diritto 6">
              <a:extLst>
                <a:ext uri="{FF2B5EF4-FFF2-40B4-BE49-F238E27FC236}">
                  <a16:creationId xmlns:a16="http://schemas.microsoft.com/office/drawing/2014/main" id="{F17BEC92-201A-409F-8B51-CC4F059E120C}"/>
                </a:ext>
              </a:extLst>
            </p:cNvPr>
            <p:cNvCxnSpPr/>
            <p:nvPr/>
          </p:nvCxnSpPr>
          <p:spPr>
            <a:xfrm>
              <a:off x="5419725" y="283369"/>
              <a:ext cx="0" cy="204787"/>
            </a:xfrm>
            <a:prstGeom prst="line">
              <a:avLst/>
            </a:prstGeom>
            <a:noFill/>
            <a:ln w="19050" cap="flat">
              <a:solidFill>
                <a:schemeClr val="accent1"/>
              </a:solidFill>
              <a:prstDash val="solid"/>
              <a:round/>
            </a:ln>
            <a:effectLst/>
            <a:sp3d/>
          </p:spPr>
          <p:style>
            <a:lnRef idx="0">
              <a:scrgbClr r="0" g="0" b="0"/>
            </a:lnRef>
            <a:fillRef idx="0">
              <a:scrgbClr r="0" g="0" b="0"/>
            </a:fillRef>
            <a:effectRef idx="0">
              <a:scrgbClr r="0" g="0" b="0"/>
            </a:effectRef>
            <a:fontRef idx="none"/>
          </p:style>
        </p:cxnSp>
        <p:cxnSp>
          <p:nvCxnSpPr>
            <p:cNvPr id="24" name="Connettore diritto 23">
              <a:extLst>
                <a:ext uri="{FF2B5EF4-FFF2-40B4-BE49-F238E27FC236}">
                  <a16:creationId xmlns:a16="http://schemas.microsoft.com/office/drawing/2014/main" id="{E7546651-1B44-4724-B770-59A5FCDEE027}"/>
                </a:ext>
              </a:extLst>
            </p:cNvPr>
            <p:cNvCxnSpPr/>
            <p:nvPr/>
          </p:nvCxnSpPr>
          <p:spPr>
            <a:xfrm>
              <a:off x="5486400" y="283369"/>
              <a:ext cx="0" cy="204787"/>
            </a:xfrm>
            <a:prstGeom prst="line">
              <a:avLst/>
            </a:prstGeom>
            <a:noFill/>
            <a:ln w="19050" cap="flat">
              <a:solidFill>
                <a:schemeClr val="accent1"/>
              </a:solidFill>
              <a:prstDash val="solid"/>
              <a:round/>
            </a:ln>
            <a:effectLst/>
            <a:sp3d/>
          </p:spPr>
          <p:style>
            <a:lnRef idx="0">
              <a:scrgbClr r="0" g="0" b="0"/>
            </a:lnRef>
            <a:fillRef idx="0">
              <a:scrgbClr r="0" g="0" b="0"/>
            </a:fillRef>
            <a:effectRef idx="0">
              <a:scrgbClr r="0" g="0" b="0"/>
            </a:effectRef>
            <a:fontRef idx="none"/>
          </p:style>
        </p:cxnSp>
        <p:cxnSp>
          <p:nvCxnSpPr>
            <p:cNvPr id="27" name="Connettore diritto 26">
              <a:extLst>
                <a:ext uri="{FF2B5EF4-FFF2-40B4-BE49-F238E27FC236}">
                  <a16:creationId xmlns:a16="http://schemas.microsoft.com/office/drawing/2014/main" id="{E2603B56-BFA7-420E-92A8-29BB03B3D5BC}"/>
                </a:ext>
              </a:extLst>
            </p:cNvPr>
            <p:cNvCxnSpPr/>
            <p:nvPr/>
          </p:nvCxnSpPr>
          <p:spPr>
            <a:xfrm>
              <a:off x="5553075" y="283369"/>
              <a:ext cx="0" cy="204787"/>
            </a:xfrm>
            <a:prstGeom prst="line">
              <a:avLst/>
            </a:prstGeom>
            <a:noFill/>
            <a:ln w="19050" cap="flat">
              <a:solidFill>
                <a:schemeClr val="accent1"/>
              </a:solidFill>
              <a:prstDash val="solid"/>
              <a:round/>
            </a:ln>
            <a:effectLst/>
            <a:sp3d/>
          </p:spPr>
          <p:style>
            <a:lnRef idx="0">
              <a:scrgbClr r="0" g="0" b="0"/>
            </a:lnRef>
            <a:fillRef idx="0">
              <a:scrgbClr r="0" g="0" b="0"/>
            </a:fillRef>
            <a:effectRef idx="0">
              <a:scrgbClr r="0" g="0" b="0"/>
            </a:effectRef>
            <a:fontRef idx="none"/>
          </p:style>
        </p:cxnSp>
        <p:cxnSp>
          <p:nvCxnSpPr>
            <p:cNvPr id="28" name="Connettore diritto 27">
              <a:extLst>
                <a:ext uri="{FF2B5EF4-FFF2-40B4-BE49-F238E27FC236}">
                  <a16:creationId xmlns:a16="http://schemas.microsoft.com/office/drawing/2014/main" id="{0B704EEC-948A-4046-8BB1-F5E3BBD50B2F}"/>
                </a:ext>
              </a:extLst>
            </p:cNvPr>
            <p:cNvCxnSpPr/>
            <p:nvPr/>
          </p:nvCxnSpPr>
          <p:spPr>
            <a:xfrm>
              <a:off x="5619750" y="283369"/>
              <a:ext cx="0" cy="204787"/>
            </a:xfrm>
            <a:prstGeom prst="line">
              <a:avLst/>
            </a:prstGeom>
            <a:noFill/>
            <a:ln w="19050" cap="flat">
              <a:solidFill>
                <a:schemeClr val="accent1"/>
              </a:solidFill>
              <a:prstDash val="solid"/>
              <a:round/>
            </a:ln>
            <a:effectLst/>
            <a:sp3d/>
          </p:spPr>
          <p:style>
            <a:lnRef idx="0">
              <a:scrgbClr r="0" g="0" b="0"/>
            </a:lnRef>
            <a:fillRef idx="0">
              <a:scrgbClr r="0" g="0" b="0"/>
            </a:fillRef>
            <a:effectRef idx="0">
              <a:scrgbClr r="0" g="0" b="0"/>
            </a:effectRef>
            <a:fontRef idx="none"/>
          </p:style>
        </p:cxnSp>
        <p:cxnSp>
          <p:nvCxnSpPr>
            <p:cNvPr id="29" name="Connettore diritto 28">
              <a:extLst>
                <a:ext uri="{FF2B5EF4-FFF2-40B4-BE49-F238E27FC236}">
                  <a16:creationId xmlns:a16="http://schemas.microsoft.com/office/drawing/2014/main" id="{78F97E0D-6B6E-4A4C-85D4-BF547F1E5612}"/>
                </a:ext>
              </a:extLst>
            </p:cNvPr>
            <p:cNvCxnSpPr/>
            <p:nvPr/>
          </p:nvCxnSpPr>
          <p:spPr>
            <a:xfrm>
              <a:off x="5686425" y="283369"/>
              <a:ext cx="0" cy="204787"/>
            </a:xfrm>
            <a:prstGeom prst="line">
              <a:avLst/>
            </a:prstGeom>
            <a:noFill/>
            <a:ln w="19050" cap="flat">
              <a:solidFill>
                <a:schemeClr val="accent1"/>
              </a:solidFill>
              <a:prstDash val="solid"/>
              <a:round/>
            </a:ln>
            <a:effectLst/>
            <a:sp3d/>
          </p:spPr>
          <p:style>
            <a:lnRef idx="0">
              <a:scrgbClr r="0" g="0" b="0"/>
            </a:lnRef>
            <a:fillRef idx="0">
              <a:scrgbClr r="0" g="0" b="0"/>
            </a:fillRef>
            <a:effectRef idx="0">
              <a:scrgbClr r="0" g="0" b="0"/>
            </a:effectRef>
            <a:fontRef idx="none"/>
          </p:style>
        </p:cxnSp>
      </p:grpSp>
      <p:sp>
        <p:nvSpPr>
          <p:cNvPr id="16" name="Rettangolo 15">
            <a:extLst>
              <a:ext uri="{FF2B5EF4-FFF2-40B4-BE49-F238E27FC236}">
                <a16:creationId xmlns:a16="http://schemas.microsoft.com/office/drawing/2014/main" id="{AEEDE154-5E68-400E-84C8-E8CE6B0A03FA}"/>
              </a:ext>
            </a:extLst>
          </p:cNvPr>
          <p:cNvSpPr/>
          <p:nvPr/>
        </p:nvSpPr>
        <p:spPr>
          <a:xfrm>
            <a:off x="836570" y="1724806"/>
            <a:ext cx="1414211" cy="615549"/>
          </a:xfrm>
          <a:prstGeom prst="rect">
            <a:avLst/>
          </a:prstGeom>
          <a:solidFill>
            <a:srgbClr val="FFFFFF"/>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anchor="ctr">
            <a:spAutoFit/>
          </a:bodyPr>
          <a:lstStyle/>
          <a:p>
            <a:pPr defTabSz="1219001" hangingPunct="0"/>
            <a:endParaRPr lang="it-IT" sz="2400" kern="0">
              <a:solidFill>
                <a:srgbClr val="FFFFFF"/>
              </a:solidFill>
              <a:latin typeface="Code Pro Bold LC"/>
              <a:ea typeface="Code Pro Bold LC"/>
              <a:cs typeface="Code Pro Bold LC"/>
              <a:sym typeface="Code Pro Bold LC"/>
            </a:endParaRPr>
          </a:p>
        </p:txBody>
      </p:sp>
      <p:sp>
        <p:nvSpPr>
          <p:cNvPr id="32" name="Rettangolo 31">
            <a:extLst>
              <a:ext uri="{FF2B5EF4-FFF2-40B4-BE49-F238E27FC236}">
                <a16:creationId xmlns:a16="http://schemas.microsoft.com/office/drawing/2014/main" id="{54EAB506-C36D-4BE0-9EBD-DEC98DD9381C}"/>
              </a:ext>
            </a:extLst>
          </p:cNvPr>
          <p:cNvSpPr/>
          <p:nvPr/>
        </p:nvSpPr>
        <p:spPr>
          <a:xfrm>
            <a:off x="6872180" y="1724806"/>
            <a:ext cx="1414211" cy="615549"/>
          </a:xfrm>
          <a:prstGeom prst="rect">
            <a:avLst/>
          </a:prstGeom>
          <a:solidFill>
            <a:srgbClr val="FFFFFF"/>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anchor="ctr">
            <a:spAutoFit/>
          </a:bodyPr>
          <a:lstStyle/>
          <a:p>
            <a:pPr defTabSz="1219001" hangingPunct="0"/>
            <a:endParaRPr lang="it-IT" sz="2400" kern="0">
              <a:solidFill>
                <a:srgbClr val="FFFFFF"/>
              </a:solidFill>
              <a:latin typeface="Code Pro Bold LC"/>
              <a:ea typeface="Code Pro Bold LC"/>
              <a:cs typeface="Code Pro Bold LC"/>
              <a:sym typeface="Code Pro Bold LC"/>
            </a:endParaRPr>
          </a:p>
        </p:txBody>
      </p:sp>
      <p:pic>
        <p:nvPicPr>
          <p:cNvPr id="33" name="Elemento grafico 32" descr="Wi-Fi contorno">
            <a:extLst>
              <a:ext uri="{FF2B5EF4-FFF2-40B4-BE49-F238E27FC236}">
                <a16:creationId xmlns:a16="http://schemas.microsoft.com/office/drawing/2014/main" id="{64E93718-14D9-4ED2-8347-421A01D1CD5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3500000">
            <a:off x="4032866" y="1432035"/>
            <a:ext cx="664501" cy="664501"/>
          </a:xfrm>
          <a:prstGeom prst="rect">
            <a:avLst/>
          </a:prstGeom>
        </p:spPr>
      </p:pic>
      <p:sp>
        <p:nvSpPr>
          <p:cNvPr id="35" name="CasellaDiTesto 34">
            <a:extLst>
              <a:ext uri="{FF2B5EF4-FFF2-40B4-BE49-F238E27FC236}">
                <a16:creationId xmlns:a16="http://schemas.microsoft.com/office/drawing/2014/main" id="{8BE1AABC-A725-4B25-8580-4AEA70175053}"/>
              </a:ext>
            </a:extLst>
          </p:cNvPr>
          <p:cNvSpPr txBox="1"/>
          <p:nvPr/>
        </p:nvSpPr>
        <p:spPr>
          <a:xfrm>
            <a:off x="7144512" y="1818961"/>
            <a:ext cx="1631725" cy="369332"/>
          </a:xfrm>
          <a:prstGeom prst="rect">
            <a:avLst/>
          </a:prstGeom>
          <a:noFill/>
        </p:spPr>
        <p:txBody>
          <a:bodyPr wrap="square" rtlCol="0">
            <a:spAutoFit/>
          </a:bodyPr>
          <a:lstStyle/>
          <a:p>
            <a:pPr defTabSz="457126" hangingPunct="0"/>
            <a:r>
              <a:rPr lang="el-GR" sz="1800" b="1" kern="0">
                <a:solidFill>
                  <a:srgbClr val="535353"/>
                </a:solidFill>
                <a:latin typeface="Arial" panose="020B0604020202020204" pitchFamily="34" charset="0"/>
                <a:cs typeface="Arial" panose="020B0604020202020204" pitchFamily="34" charset="0"/>
                <a:sym typeface="Code Pro Bold LC"/>
              </a:rPr>
              <a:t>Δ</a:t>
            </a:r>
            <a:r>
              <a:rPr lang="it-IT" sz="1800" b="1" kern="0">
                <a:solidFill>
                  <a:srgbClr val="535353"/>
                </a:solidFill>
                <a:latin typeface="Arial" panose="020B0604020202020204" pitchFamily="34" charset="0"/>
                <a:cs typeface="Arial" panose="020B0604020202020204" pitchFamily="34" charset="0"/>
                <a:sym typeface="Code Pro Bold LC"/>
              </a:rPr>
              <a:t>t = </a:t>
            </a:r>
            <a:r>
              <a:rPr lang="it-IT" sz="1800" b="1" kern="0" err="1">
                <a:solidFill>
                  <a:srgbClr val="535353"/>
                </a:solidFill>
                <a:latin typeface="Arial" panose="020B0604020202020204" pitchFamily="34" charset="0"/>
                <a:cs typeface="Arial" panose="020B0604020202020204" pitchFamily="34" charset="0"/>
                <a:sym typeface="Code Pro Bold LC"/>
              </a:rPr>
              <a:t>t</a:t>
            </a:r>
            <a:r>
              <a:rPr lang="it-IT" sz="1800" b="1" kern="0" baseline="-25000" err="1">
                <a:solidFill>
                  <a:srgbClr val="535353"/>
                </a:solidFill>
                <a:latin typeface="Arial" panose="020B0604020202020204" pitchFamily="34" charset="0"/>
                <a:cs typeface="Arial" panose="020B0604020202020204" pitchFamily="34" charset="0"/>
                <a:sym typeface="Code Pro Bold LC"/>
              </a:rPr>
              <a:t>BA</a:t>
            </a:r>
            <a:r>
              <a:rPr lang="it-IT" sz="1800" b="1" kern="0">
                <a:solidFill>
                  <a:srgbClr val="535353"/>
                </a:solidFill>
                <a:latin typeface="Arial" panose="020B0604020202020204" pitchFamily="34" charset="0"/>
                <a:cs typeface="Arial" panose="020B0604020202020204" pitchFamily="34" charset="0"/>
                <a:sym typeface="Code Pro Bold LC"/>
              </a:rPr>
              <a:t> - </a:t>
            </a:r>
            <a:r>
              <a:rPr lang="it-IT" sz="1800" b="1" kern="0" err="1">
                <a:solidFill>
                  <a:srgbClr val="535353"/>
                </a:solidFill>
                <a:latin typeface="Arial" panose="020B0604020202020204" pitchFamily="34" charset="0"/>
                <a:cs typeface="Arial" panose="020B0604020202020204" pitchFamily="34" charset="0"/>
                <a:sym typeface="Code Pro Bold LC"/>
              </a:rPr>
              <a:t>t</a:t>
            </a:r>
            <a:r>
              <a:rPr lang="it-IT" sz="1800" b="1" kern="0" baseline="-25000" err="1">
                <a:solidFill>
                  <a:srgbClr val="535353"/>
                </a:solidFill>
                <a:latin typeface="Arial" panose="020B0604020202020204" pitchFamily="34" charset="0"/>
                <a:cs typeface="Arial" panose="020B0604020202020204" pitchFamily="34" charset="0"/>
                <a:sym typeface="Code Pro Bold LC"/>
              </a:rPr>
              <a:t>AB</a:t>
            </a:r>
            <a:endParaRPr lang="it-IT" sz="1800" b="1" kern="0" baseline="-25000">
              <a:solidFill>
                <a:srgbClr val="535353"/>
              </a:solidFill>
              <a:latin typeface="Arial" panose="020B0604020202020204" pitchFamily="34" charset="0"/>
              <a:cs typeface="Arial" panose="020B0604020202020204" pitchFamily="34" charset="0"/>
              <a:sym typeface="Code Pro Bold LC"/>
            </a:endParaRPr>
          </a:p>
        </p:txBody>
      </p:sp>
    </p:spTree>
    <p:extLst>
      <p:ext uri="{BB962C8B-B14F-4D97-AF65-F5344CB8AC3E}">
        <p14:creationId xmlns:p14="http://schemas.microsoft.com/office/powerpoint/2010/main" val="1088543436"/>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3" presetClass="path" presetSubtype="0" repeatCount="indefinite" accel="50000" decel="50000" fill="hold" grpId="0" nodeType="clickEffect">
                                  <p:stCondLst>
                                    <p:cond delay="0"/>
                                  </p:stCondLst>
                                  <p:endCondLst>
                                    <p:cond evt="onNext" delay="0">
                                      <p:tgtEl>
                                        <p:sldTgt/>
                                      </p:tgtEl>
                                    </p:cond>
                                  </p:endCondLst>
                                  <p:childTnLst>
                                    <p:animMotion origin="layout" path="M -0.10365 -0.00216 L 0.51632 -0.00216 " pathEditMode="relative" rAng="0" ptsTypes="AA">
                                      <p:cBhvr>
                                        <p:cTn id="6" dur="5000" fill="hold"/>
                                        <p:tgtEl>
                                          <p:spTgt spid="19"/>
                                        </p:tgtEl>
                                        <p:attrNameLst>
                                          <p:attrName>ppt_x</p:attrName>
                                          <p:attrName>ppt_y</p:attrName>
                                        </p:attrNameLst>
                                      </p:cBhvr>
                                      <p:rCtr x="30990" y="0"/>
                                    </p:animMotion>
                                  </p:childTnLst>
                                </p:cTn>
                              </p:par>
                              <p:par>
                                <p:cTn id="7" presetID="26" presetClass="emph" presetSubtype="0" repeatCount="indefinite" fill="hold" nodeType="withEffect">
                                  <p:stCondLst>
                                    <p:cond delay="0"/>
                                  </p:stCondLst>
                                  <p:endCondLst>
                                    <p:cond evt="onNext" delay="0">
                                      <p:tgtEl>
                                        <p:sldTgt/>
                                      </p:tgtEl>
                                    </p:cond>
                                  </p:endCondLst>
                                  <p:childTnLst>
                                    <p:animEffect transition="out" filter="fade">
                                      <p:cBhvr>
                                        <p:cTn id="8" dur="3000" tmFilter="0, 0; .2, .5; .8, .5; 1, 0"/>
                                        <p:tgtEl>
                                          <p:spTgt spid="21"/>
                                        </p:tgtEl>
                                      </p:cBhvr>
                                    </p:animEffect>
                                    <p:animScale>
                                      <p:cBhvr>
                                        <p:cTn id="9" dur="1500" autoRev="1" fill="hold"/>
                                        <p:tgtEl>
                                          <p:spTgt spid="21"/>
                                        </p:tgtEl>
                                      </p:cBhvr>
                                      <p:by x="105000" y="105000"/>
                                    </p:animScale>
                                  </p:childTnLst>
                                </p:cTn>
                              </p:par>
                              <p:par>
                                <p:cTn id="10" presetID="42" presetClass="path" presetSubtype="0" repeatCount="indefinite" accel="50000" decel="50000" autoRev="1" fill="hold" nodeType="withEffect">
                                  <p:stCondLst>
                                    <p:cond delay="0"/>
                                  </p:stCondLst>
                                  <p:endCondLst>
                                    <p:cond evt="onNext" delay="0">
                                      <p:tgtEl>
                                        <p:sldTgt/>
                                      </p:tgtEl>
                                    </p:cond>
                                  </p:endCondLst>
                                  <p:childTnLst>
                                    <p:animMotion origin="layout" path="M 3.33333E-6 3.08642E-6 L 0.125 -0.22408 " pathEditMode="relative" rAng="0" ptsTypes="AA">
                                      <p:cBhvr>
                                        <p:cTn id="11" dur="3000" fill="hold"/>
                                        <p:tgtEl>
                                          <p:spTgt spid="8"/>
                                        </p:tgtEl>
                                        <p:attrNameLst>
                                          <p:attrName>ppt_x</p:attrName>
                                          <p:attrName>ppt_y</p:attrName>
                                        </p:attrNameLst>
                                      </p:cBhvr>
                                      <p:rCtr x="6250" y="-11204"/>
                                    </p:animMotion>
                                  </p:childTnLst>
                                </p:cTn>
                              </p:par>
                              <p:par>
                                <p:cTn id="12" presetID="26" presetClass="emph" presetSubtype="0" repeatCount="indefinite" fill="hold" nodeType="withEffect">
                                  <p:stCondLst>
                                    <p:cond delay="1500"/>
                                  </p:stCondLst>
                                  <p:endCondLst>
                                    <p:cond evt="onNext" delay="0">
                                      <p:tgtEl>
                                        <p:sldTgt/>
                                      </p:tgtEl>
                                    </p:cond>
                                  </p:endCondLst>
                                  <p:childTnLst>
                                    <p:animEffect transition="out" filter="fade">
                                      <p:cBhvr>
                                        <p:cTn id="13" dur="3000" tmFilter="0, 0; .2, .5; .8, .5; 1, 0"/>
                                        <p:tgtEl>
                                          <p:spTgt spid="33"/>
                                        </p:tgtEl>
                                      </p:cBhvr>
                                    </p:animEffect>
                                    <p:animScale>
                                      <p:cBhvr>
                                        <p:cTn id="14" dur="1500" autoRev="1" fill="hold"/>
                                        <p:tgtEl>
                                          <p:spTgt spid="33"/>
                                        </p:tgtEl>
                                      </p:cBhvr>
                                      <p:by x="105000" y="105000"/>
                                    </p:animScale>
                                  </p:childTnLst>
                                </p:cTn>
                              </p:par>
                              <p:par>
                                <p:cTn id="15" presetID="10" presetClass="entr" presetSubtype="0" fill="hold" grpId="0" nodeType="withEffect">
                                  <p:stCondLst>
                                    <p:cond delay="3000"/>
                                  </p:stCondLst>
                                  <p:childTnLst>
                                    <p:set>
                                      <p:cBhvr>
                                        <p:cTn id="16" dur="1" fill="hold">
                                          <p:stCondLst>
                                            <p:cond delay="0"/>
                                          </p:stCondLst>
                                        </p:cTn>
                                        <p:tgtEl>
                                          <p:spTgt spid="35"/>
                                        </p:tgtEl>
                                        <p:attrNameLst>
                                          <p:attrName>style.visibility</p:attrName>
                                        </p:attrNameLst>
                                      </p:cBhvr>
                                      <p:to>
                                        <p:strVal val="visible"/>
                                      </p:to>
                                    </p:set>
                                    <p:animEffect transition="in" filter="fade">
                                      <p:cBhvr>
                                        <p:cTn id="17"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35"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668779"/>
            <a:ext cx="8229600" cy="1383649"/>
          </a:xfrm>
        </p:spPr>
        <p:txBody>
          <a:bodyPr/>
          <a:lstStyle/>
          <a:p>
            <a:r>
              <a:rPr lang="en-US" dirty="0"/>
              <a:t>Benefits of Ultrasonic Meters Over Diaphragm Meters</a:t>
            </a:r>
            <a:br>
              <a:rPr lang="en-US" dirty="0"/>
            </a:br>
            <a:endParaRPr lang="en-US" dirty="0"/>
          </a:p>
        </p:txBody>
      </p:sp>
      <p:pic>
        <p:nvPicPr>
          <p:cNvPr id="4" name="Picture 3">
            <a:extLst>
              <a:ext uri="{FF2B5EF4-FFF2-40B4-BE49-F238E27FC236}">
                <a16:creationId xmlns:a16="http://schemas.microsoft.com/office/drawing/2014/main" id="{AAEA50BA-C0E8-4F36-9A60-69CC9DEDED1C}"/>
              </a:ext>
            </a:extLst>
          </p:cNvPr>
          <p:cNvPicPr>
            <a:picLocks noChangeAspect="1"/>
          </p:cNvPicPr>
          <p:nvPr/>
        </p:nvPicPr>
        <p:blipFill rotWithShape="1">
          <a:blip r:embed="rId3" cstate="screen">
            <a:alphaModFix amt="14000"/>
            <a:extLst>
              <a:ext uri="{28A0092B-C50C-407E-A947-70E740481C1C}">
                <a14:useLocalDpi xmlns:a14="http://schemas.microsoft.com/office/drawing/2010/main"/>
              </a:ext>
            </a:extLst>
          </a:blip>
          <a:srcRect t="8847" r="4983" b="3022"/>
          <a:stretch/>
        </p:blipFill>
        <p:spPr>
          <a:xfrm>
            <a:off x="5107302" y="286161"/>
            <a:ext cx="4036698" cy="5143501"/>
          </a:xfrm>
          <a:prstGeom prst="rect">
            <a:avLst/>
          </a:prstGeom>
        </p:spPr>
      </p:pic>
    </p:spTree>
    <p:extLst>
      <p:ext uri="{BB962C8B-B14F-4D97-AF65-F5344CB8AC3E}">
        <p14:creationId xmlns:p14="http://schemas.microsoft.com/office/powerpoint/2010/main" val="157462205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07F200EA-90FA-74F8-10A3-52266A959137}"/>
              </a:ext>
            </a:extLst>
          </p:cNvPr>
          <p:cNvSpPr>
            <a:spLocks noGrp="1"/>
          </p:cNvSpPr>
          <p:nvPr>
            <p:ph idx="1"/>
          </p:nvPr>
        </p:nvSpPr>
        <p:spPr>
          <a:xfrm>
            <a:off x="294198" y="1162751"/>
            <a:ext cx="4096375" cy="3267075"/>
          </a:xfrm>
        </p:spPr>
        <p:txBody>
          <a:bodyPr>
            <a:normAutofit/>
          </a:bodyPr>
          <a:lstStyle/>
          <a:p>
            <a:pPr marL="285750" indent="-285750">
              <a:buFontTx/>
              <a:buChar char="-"/>
            </a:pPr>
            <a:r>
              <a:rPr lang="en-US" dirty="0"/>
              <a:t>Accuracy</a:t>
            </a:r>
          </a:p>
          <a:p>
            <a:pPr marL="0" indent="0">
              <a:buNone/>
            </a:pPr>
            <a:endParaRPr lang="en-US" dirty="0"/>
          </a:p>
          <a:p>
            <a:pPr marL="285750" indent="-285750">
              <a:buFontTx/>
              <a:buChar char="-"/>
            </a:pPr>
            <a:r>
              <a:rPr lang="en-US" dirty="0"/>
              <a:t>Size</a:t>
            </a:r>
          </a:p>
          <a:p>
            <a:pPr marL="0" indent="0">
              <a:buNone/>
            </a:pPr>
            <a:endParaRPr lang="en-US" dirty="0"/>
          </a:p>
          <a:p>
            <a:pPr marL="285750" indent="-285750">
              <a:buFontTx/>
              <a:buChar char="-"/>
            </a:pPr>
            <a:r>
              <a:rPr lang="en-US" dirty="0"/>
              <a:t>Streamline Asset Tracking</a:t>
            </a:r>
          </a:p>
          <a:p>
            <a:pPr marL="285750" indent="-285750">
              <a:buFontTx/>
              <a:buChar char="-"/>
            </a:pPr>
            <a:endParaRPr lang="en-US" dirty="0"/>
          </a:p>
          <a:p>
            <a:pPr marL="285750" indent="-285750">
              <a:buFontTx/>
              <a:buChar char="-"/>
            </a:pPr>
            <a:r>
              <a:rPr lang="en-US" dirty="0"/>
              <a:t>Integrated Radio</a:t>
            </a:r>
          </a:p>
          <a:p>
            <a:pPr marL="399944" lvl="1" indent="-285750">
              <a:buFontTx/>
              <a:buChar char="-"/>
            </a:pPr>
            <a:r>
              <a:rPr lang="en-US" dirty="0"/>
              <a:t>AMR or AMI Programmable</a:t>
            </a:r>
          </a:p>
          <a:p>
            <a:pPr marL="0" indent="0">
              <a:buNone/>
            </a:pPr>
            <a:endParaRPr lang="en-US" dirty="0"/>
          </a:p>
          <a:p>
            <a:pPr marL="285750" indent="-285750">
              <a:buFontTx/>
              <a:buChar char="-"/>
            </a:pPr>
            <a:r>
              <a:rPr lang="en-US" dirty="0"/>
              <a:t>Integrated Additional Functionality</a:t>
            </a:r>
          </a:p>
          <a:p>
            <a:pPr marL="399947" lvl="1" indent="-285750">
              <a:buFontTx/>
              <a:buChar char="-"/>
            </a:pPr>
            <a:endParaRPr lang="en-US" dirty="0"/>
          </a:p>
          <a:p>
            <a:pPr marL="285750" indent="-285750">
              <a:buFontTx/>
              <a:buChar char="-"/>
            </a:pPr>
            <a:endParaRPr lang="en-US" dirty="0"/>
          </a:p>
        </p:txBody>
      </p:sp>
      <p:sp>
        <p:nvSpPr>
          <p:cNvPr id="9" name="Title 8">
            <a:extLst>
              <a:ext uri="{FF2B5EF4-FFF2-40B4-BE49-F238E27FC236}">
                <a16:creationId xmlns:a16="http://schemas.microsoft.com/office/drawing/2014/main" id="{8407BF7E-7071-68F0-D5B5-CF5D4903A4CE}"/>
              </a:ext>
            </a:extLst>
          </p:cNvPr>
          <p:cNvSpPr>
            <a:spLocks noGrp="1"/>
          </p:cNvSpPr>
          <p:nvPr>
            <p:ph type="title"/>
          </p:nvPr>
        </p:nvSpPr>
        <p:spPr/>
        <p:txBody>
          <a:bodyPr anchor="ctr">
            <a:normAutofit/>
          </a:bodyPr>
          <a:lstStyle/>
          <a:p>
            <a:r>
              <a:rPr lang="en-US" dirty="0"/>
              <a:t>Benefits of Ultrasonic Meters over Diaphragm Meters</a:t>
            </a:r>
          </a:p>
        </p:txBody>
      </p:sp>
      <p:pic>
        <p:nvPicPr>
          <p:cNvPr id="3" name="Picture 2">
            <a:extLst>
              <a:ext uri="{FF2B5EF4-FFF2-40B4-BE49-F238E27FC236}">
                <a16:creationId xmlns:a16="http://schemas.microsoft.com/office/drawing/2014/main" id="{9D05E13B-6583-CB3C-9E33-5695EE4059D5}"/>
              </a:ext>
            </a:extLst>
          </p:cNvPr>
          <p:cNvPicPr>
            <a:picLocks noChangeAspect="1"/>
          </p:cNvPicPr>
          <p:nvPr/>
        </p:nvPicPr>
        <p:blipFill>
          <a:blip r:embed="rId4"/>
          <a:stretch>
            <a:fillRect/>
          </a:stretch>
        </p:blipFill>
        <p:spPr>
          <a:xfrm>
            <a:off x="2853913" y="646036"/>
            <a:ext cx="2256534" cy="1775568"/>
          </a:xfrm>
          <a:prstGeom prst="rect">
            <a:avLst/>
          </a:prstGeom>
        </p:spPr>
      </p:pic>
      <p:pic>
        <p:nvPicPr>
          <p:cNvPr id="5" name="Picture 4">
            <a:extLst>
              <a:ext uri="{FF2B5EF4-FFF2-40B4-BE49-F238E27FC236}">
                <a16:creationId xmlns:a16="http://schemas.microsoft.com/office/drawing/2014/main" id="{922516B7-8133-017C-7411-7C2DF6CA3E86}"/>
              </a:ext>
            </a:extLst>
          </p:cNvPr>
          <p:cNvPicPr>
            <a:picLocks noChangeAspect="1"/>
          </p:cNvPicPr>
          <p:nvPr/>
        </p:nvPicPr>
        <p:blipFill>
          <a:blip r:embed="rId5"/>
          <a:stretch>
            <a:fillRect/>
          </a:stretch>
        </p:blipFill>
        <p:spPr>
          <a:xfrm>
            <a:off x="7064728" y="752937"/>
            <a:ext cx="1944084" cy="1544907"/>
          </a:xfrm>
          <a:prstGeom prst="rect">
            <a:avLst/>
          </a:prstGeom>
        </p:spPr>
      </p:pic>
      <p:pic>
        <p:nvPicPr>
          <p:cNvPr id="7" name="Picture 6">
            <a:extLst>
              <a:ext uri="{FF2B5EF4-FFF2-40B4-BE49-F238E27FC236}">
                <a16:creationId xmlns:a16="http://schemas.microsoft.com/office/drawing/2014/main" id="{357D4DBD-E2C3-51BA-1C28-0FC3BE97632D}"/>
              </a:ext>
            </a:extLst>
          </p:cNvPr>
          <p:cNvPicPr>
            <a:picLocks noChangeAspect="1"/>
          </p:cNvPicPr>
          <p:nvPr/>
        </p:nvPicPr>
        <p:blipFill>
          <a:blip r:embed="rId6"/>
          <a:stretch>
            <a:fillRect/>
          </a:stretch>
        </p:blipFill>
        <p:spPr>
          <a:xfrm>
            <a:off x="3422581" y="2702287"/>
            <a:ext cx="3375732" cy="2244254"/>
          </a:xfrm>
          <a:prstGeom prst="rect">
            <a:avLst/>
          </a:prstGeom>
        </p:spPr>
      </p:pic>
      <p:pic>
        <p:nvPicPr>
          <p:cNvPr id="6" name="Picture 5">
            <a:extLst>
              <a:ext uri="{FF2B5EF4-FFF2-40B4-BE49-F238E27FC236}">
                <a16:creationId xmlns:a16="http://schemas.microsoft.com/office/drawing/2014/main" id="{3DFFDC36-7F26-007E-BB1D-78E3718A393F}"/>
              </a:ext>
            </a:extLst>
          </p:cNvPr>
          <p:cNvPicPr>
            <a:picLocks noChangeAspect="1"/>
          </p:cNvPicPr>
          <p:nvPr/>
        </p:nvPicPr>
        <p:blipFill>
          <a:blip r:embed="rId7"/>
          <a:stretch>
            <a:fillRect/>
          </a:stretch>
        </p:blipFill>
        <p:spPr>
          <a:xfrm>
            <a:off x="6740196" y="2850418"/>
            <a:ext cx="2273593" cy="1947993"/>
          </a:xfrm>
          <a:prstGeom prst="rect">
            <a:avLst/>
          </a:prstGeom>
        </p:spPr>
      </p:pic>
      <p:pic>
        <p:nvPicPr>
          <p:cNvPr id="2" name="Picture 1">
            <a:extLst>
              <a:ext uri="{FF2B5EF4-FFF2-40B4-BE49-F238E27FC236}">
                <a16:creationId xmlns:a16="http://schemas.microsoft.com/office/drawing/2014/main" id="{18F5A569-E6EE-A878-C3AA-14C62E5228EA}"/>
              </a:ext>
            </a:extLst>
          </p:cNvPr>
          <p:cNvPicPr>
            <a:picLocks noChangeAspect="1"/>
          </p:cNvPicPr>
          <p:nvPr/>
        </p:nvPicPr>
        <p:blipFill>
          <a:blip r:embed="rId8"/>
          <a:stretch>
            <a:fillRect/>
          </a:stretch>
        </p:blipFill>
        <p:spPr>
          <a:xfrm>
            <a:off x="5202933" y="901068"/>
            <a:ext cx="1856383" cy="1491868"/>
          </a:xfrm>
          <a:prstGeom prst="rect">
            <a:avLst/>
          </a:prstGeom>
        </p:spPr>
      </p:pic>
    </p:spTree>
    <p:extLst>
      <p:ext uri="{BB962C8B-B14F-4D97-AF65-F5344CB8AC3E}">
        <p14:creationId xmlns:p14="http://schemas.microsoft.com/office/powerpoint/2010/main" val="2848363503"/>
      </p:ext>
    </p:extLst>
  </p:cSld>
  <p:clrMapOvr>
    <a:overrideClrMapping bg1="lt1" tx1="dk1" bg2="lt2" tx2="dk2" accent1="accent1" accent2="accent2" accent3="accent3" accent4="accent4" accent5="accent5" accent6="accent6" hlink="hlink" folHlink="folHlink"/>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7F29B5C4-4A91-5B63-7B40-1CD442901E68}"/>
              </a:ext>
            </a:extLst>
          </p:cNvPr>
          <p:cNvSpPr>
            <a:spLocks noGrp="1"/>
          </p:cNvSpPr>
          <p:nvPr>
            <p:ph idx="1"/>
          </p:nvPr>
        </p:nvSpPr>
        <p:spPr/>
        <p:txBody>
          <a:bodyPr/>
          <a:lstStyle/>
          <a:p>
            <a:r>
              <a:rPr lang="en-US" dirty="0"/>
              <a:t>Ultrasonic meters have no moving parts compared to diaphragm meters</a:t>
            </a:r>
          </a:p>
          <a:p>
            <a:r>
              <a:rPr lang="en-US" dirty="0"/>
              <a:t>This results in a flatter, more accurate accuracy curve over flow rates</a:t>
            </a:r>
          </a:p>
          <a:p>
            <a:r>
              <a:rPr lang="en-US" dirty="0"/>
              <a:t>They also have a tighter standard deviation than diaphragm meters</a:t>
            </a:r>
          </a:p>
          <a:p>
            <a:r>
              <a:rPr lang="en-US" dirty="0"/>
              <a:t>Some manufacturers meet Class 1 Accuracy of +/- 1% over operating temperature and +/-0.5% at room temperature</a:t>
            </a:r>
          </a:p>
          <a:p>
            <a:endParaRPr lang="en-US" dirty="0"/>
          </a:p>
        </p:txBody>
      </p:sp>
      <p:pic>
        <p:nvPicPr>
          <p:cNvPr id="2" name="Chart 1" descr="image003">
            <a:extLst>
              <a:ext uri="{FF2B5EF4-FFF2-40B4-BE49-F238E27FC236}">
                <a16:creationId xmlns:a16="http://schemas.microsoft.com/office/drawing/2014/main" id="{468F7BDD-04E4-43C9-9602-B120A8001C05}"/>
              </a:ext>
            </a:extLst>
          </p:cNvPr>
          <p:cNvPicPr>
            <a:picLocks noGrp="1" noChangeAspect="1" noChangeArrowheads="1"/>
          </p:cNvPicPr>
          <p:nvPr>
            <p:ph idx="16"/>
          </p:nvPr>
        </p:nvPicPr>
        <p:blipFill>
          <a:blip r:embed="rId4">
            <a:extLst>
              <a:ext uri="{28A0092B-C50C-407E-A947-70E740481C1C}">
                <a14:useLocalDpi xmlns:a14="http://schemas.microsoft.com/office/drawing/2010/main" val="0"/>
              </a:ext>
            </a:extLst>
          </a:blip>
          <a:srcRect/>
          <a:stretch>
            <a:fillRect/>
          </a:stretch>
        </p:blipFill>
        <p:spPr bwMode="auto">
          <a:xfrm>
            <a:off x="4390572" y="1162751"/>
            <a:ext cx="4029075" cy="2170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a:extLst>
              <a:ext uri="{FF2B5EF4-FFF2-40B4-BE49-F238E27FC236}">
                <a16:creationId xmlns:a16="http://schemas.microsoft.com/office/drawing/2014/main" id="{D8C353C8-6032-FA76-1412-D464ABE01F5B}"/>
              </a:ext>
            </a:extLst>
          </p:cNvPr>
          <p:cNvSpPr>
            <a:spLocks noGrp="1"/>
          </p:cNvSpPr>
          <p:nvPr>
            <p:ph type="title"/>
          </p:nvPr>
        </p:nvSpPr>
        <p:spPr/>
        <p:txBody>
          <a:bodyPr/>
          <a:lstStyle/>
          <a:p>
            <a:r>
              <a:rPr lang="en-US" dirty="0"/>
              <a:t>Accuracy</a:t>
            </a:r>
          </a:p>
        </p:txBody>
      </p:sp>
    </p:spTree>
    <p:extLst>
      <p:ext uri="{BB962C8B-B14F-4D97-AF65-F5344CB8AC3E}">
        <p14:creationId xmlns:p14="http://schemas.microsoft.com/office/powerpoint/2010/main" val="1416490828"/>
      </p:ext>
    </p:extLst>
  </p:cSld>
  <p:clrMapOvr>
    <a:overrideClrMapping bg1="lt1" tx1="dk1" bg2="lt2" tx2="dk2" accent1="accent1" accent2="accent2" accent3="accent3" accent4="accent4" accent5="accent5" accent6="accent6" hlink="hlink" folHlink="folHlink"/>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7F29B5C4-4A91-5B63-7B40-1CD442901E68}"/>
              </a:ext>
            </a:extLst>
          </p:cNvPr>
          <p:cNvSpPr>
            <a:spLocks noGrp="1"/>
          </p:cNvSpPr>
          <p:nvPr>
            <p:ph idx="1"/>
          </p:nvPr>
        </p:nvSpPr>
        <p:spPr>
          <a:xfrm>
            <a:off x="361951" y="1162751"/>
            <a:ext cx="4273659" cy="3267075"/>
          </a:xfrm>
        </p:spPr>
        <p:txBody>
          <a:bodyPr/>
          <a:lstStyle/>
          <a:p>
            <a:r>
              <a:rPr lang="en-US" dirty="0"/>
              <a:t>ANSI B109.6 requires ALT of +/- 2% after “2,000 times the capacity flow rate per hour” of the meter </a:t>
            </a:r>
          </a:p>
          <a:p>
            <a:pPr lvl="1"/>
            <a:r>
              <a:rPr lang="en-US" dirty="0"/>
              <a:t>Note that diaphragm meter spec ANSI B109.1 requires 4,000 times or 1M CF</a:t>
            </a:r>
          </a:p>
          <a:p>
            <a:pPr lvl="2"/>
            <a:r>
              <a:rPr lang="en-US" dirty="0"/>
              <a:t>Data shown at right shows this to 1.2M CF </a:t>
            </a:r>
          </a:p>
          <a:p>
            <a:pPr lvl="2"/>
            <a:r>
              <a:rPr lang="en-US" dirty="0"/>
              <a:t>Do not see long term drift in accuracy which is common with diaphragm meters</a:t>
            </a:r>
          </a:p>
          <a:p>
            <a:r>
              <a:rPr lang="en-US" dirty="0"/>
              <a:t>Benefit is long term accuracy to meet sampling plans</a:t>
            </a:r>
          </a:p>
          <a:p>
            <a:pPr marL="0" indent="0">
              <a:buNone/>
            </a:pPr>
            <a:r>
              <a:rPr lang="en-US" dirty="0"/>
              <a:t> </a:t>
            </a:r>
          </a:p>
        </p:txBody>
      </p:sp>
      <p:pic>
        <p:nvPicPr>
          <p:cNvPr id="7" name="Content Placeholder 6">
            <a:extLst>
              <a:ext uri="{FF2B5EF4-FFF2-40B4-BE49-F238E27FC236}">
                <a16:creationId xmlns:a16="http://schemas.microsoft.com/office/drawing/2014/main" id="{5DB75338-EF3C-F8EF-5525-4C7336FB7429}"/>
              </a:ext>
            </a:extLst>
          </p:cNvPr>
          <p:cNvPicPr>
            <a:picLocks noGrp="1" noChangeAspect="1"/>
          </p:cNvPicPr>
          <p:nvPr>
            <p:ph idx="16"/>
          </p:nvPr>
        </p:nvPicPr>
        <p:blipFill>
          <a:blip r:embed="rId4"/>
          <a:stretch>
            <a:fillRect/>
          </a:stretch>
        </p:blipFill>
        <p:spPr>
          <a:xfrm>
            <a:off x="5396126" y="1162751"/>
            <a:ext cx="3140719" cy="2627332"/>
          </a:xfrm>
        </p:spPr>
      </p:pic>
      <p:sp>
        <p:nvSpPr>
          <p:cNvPr id="5" name="Title 4">
            <a:extLst>
              <a:ext uri="{FF2B5EF4-FFF2-40B4-BE49-F238E27FC236}">
                <a16:creationId xmlns:a16="http://schemas.microsoft.com/office/drawing/2014/main" id="{D8C353C8-6032-FA76-1412-D464ABE01F5B}"/>
              </a:ext>
            </a:extLst>
          </p:cNvPr>
          <p:cNvSpPr>
            <a:spLocks noGrp="1"/>
          </p:cNvSpPr>
          <p:nvPr>
            <p:ph type="title"/>
          </p:nvPr>
        </p:nvSpPr>
        <p:spPr/>
        <p:txBody>
          <a:bodyPr/>
          <a:lstStyle/>
          <a:p>
            <a:r>
              <a:rPr lang="en-US" dirty="0"/>
              <a:t>Accuracy - Accelerated Life Test</a:t>
            </a:r>
          </a:p>
        </p:txBody>
      </p:sp>
    </p:spTree>
    <p:extLst>
      <p:ext uri="{BB962C8B-B14F-4D97-AF65-F5344CB8AC3E}">
        <p14:creationId xmlns:p14="http://schemas.microsoft.com/office/powerpoint/2010/main" val="2059297173"/>
      </p:ext>
    </p:extLst>
  </p:cSld>
  <p:clrMapOvr>
    <a:overrideClrMapping bg1="lt1" tx1="dk1" bg2="lt2" tx2="dk2" accent1="accent1" accent2="accent2" accent3="accent3" accent4="accent4" accent5="accent5" accent6="accent6" hlink="hlink" folHlink="folHlink"/>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7F29B5C4-4A91-5B63-7B40-1CD442901E68}"/>
              </a:ext>
            </a:extLst>
          </p:cNvPr>
          <p:cNvSpPr>
            <a:spLocks noGrp="1"/>
          </p:cNvSpPr>
          <p:nvPr>
            <p:ph idx="1"/>
          </p:nvPr>
        </p:nvSpPr>
        <p:spPr/>
        <p:txBody>
          <a:bodyPr/>
          <a:lstStyle/>
          <a:p>
            <a:r>
              <a:rPr lang="en-US" dirty="0"/>
              <a:t>Move from mechanical to solid state allows for 70% size reduction of residential meter</a:t>
            </a:r>
          </a:p>
          <a:p>
            <a:pPr lvl="1"/>
            <a:r>
              <a:rPr lang="en-US" dirty="0"/>
              <a:t>Weight now 4.35 </a:t>
            </a:r>
            <a:r>
              <a:rPr lang="en-US" dirty="0" err="1"/>
              <a:t>lbs</a:t>
            </a:r>
            <a:endParaRPr lang="en-US" dirty="0"/>
          </a:p>
          <a:p>
            <a:r>
              <a:rPr lang="en-US" dirty="0"/>
              <a:t>Improved ergonomics for meter installers</a:t>
            </a:r>
          </a:p>
          <a:p>
            <a:pPr lvl="1"/>
            <a:r>
              <a:rPr lang="en-US" dirty="0"/>
              <a:t>Less soft tissue injuries</a:t>
            </a:r>
          </a:p>
          <a:p>
            <a:r>
              <a:rPr lang="en-US" dirty="0"/>
              <a:t>Can get 180 meters per pallet vs 46 for diaphragm meter</a:t>
            </a:r>
          </a:p>
          <a:p>
            <a:pPr lvl="1"/>
            <a:r>
              <a:rPr lang="en-US" dirty="0"/>
              <a:t>Reduces warehouse space</a:t>
            </a:r>
          </a:p>
          <a:p>
            <a:pPr lvl="1"/>
            <a:r>
              <a:rPr lang="en-US" dirty="0"/>
              <a:t>Reduces transportation costs</a:t>
            </a:r>
          </a:p>
        </p:txBody>
      </p:sp>
      <p:pic>
        <p:nvPicPr>
          <p:cNvPr id="1026" name="Picture 2" descr="A close-up of a device&#10;&#10;Description automatically generated">
            <a:extLst>
              <a:ext uri="{FF2B5EF4-FFF2-40B4-BE49-F238E27FC236}">
                <a16:creationId xmlns:a16="http://schemas.microsoft.com/office/drawing/2014/main" id="{4F70C24E-2006-6F53-2687-5883AB6C1594}"/>
              </a:ext>
            </a:extLst>
          </p:cNvPr>
          <p:cNvPicPr>
            <a:picLocks noGrp="1" noChangeAspect="1" noChangeArrowheads="1"/>
          </p:cNvPicPr>
          <p:nvPr>
            <p:ph idx="16"/>
          </p:nvPr>
        </p:nvPicPr>
        <p:blipFill>
          <a:blip r:embed="rId4">
            <a:extLst>
              <a:ext uri="{28A0092B-C50C-407E-A947-70E740481C1C}">
                <a14:useLocalDpi xmlns:a14="http://schemas.microsoft.com/office/drawing/2010/main" val="0"/>
              </a:ext>
            </a:extLst>
          </a:blip>
          <a:stretch>
            <a:fillRect/>
          </a:stretch>
        </p:blipFill>
        <p:spPr bwMode="auto">
          <a:xfrm>
            <a:off x="5417652" y="1162050"/>
            <a:ext cx="2334597" cy="3267075"/>
          </a:xfrm>
          <a:prstGeom prst="rect">
            <a:avLst/>
          </a:prstGeom>
          <a:noFill/>
          <a:extLst>
            <a:ext uri="{909E8E84-426E-40DD-AFC4-6F175D3DCCD1}">
              <a14:hiddenFill xmlns:a14="http://schemas.microsoft.com/office/drawing/2010/main">
                <a:solidFill>
                  <a:srgbClr val="FFFFFF"/>
                </a:solidFill>
              </a14:hiddenFill>
            </a:ext>
          </a:extLst>
        </p:spPr>
      </p:pic>
      <p:sp>
        <p:nvSpPr>
          <p:cNvPr id="5" name="Title 4">
            <a:extLst>
              <a:ext uri="{FF2B5EF4-FFF2-40B4-BE49-F238E27FC236}">
                <a16:creationId xmlns:a16="http://schemas.microsoft.com/office/drawing/2014/main" id="{D8C353C8-6032-FA76-1412-D464ABE01F5B}"/>
              </a:ext>
            </a:extLst>
          </p:cNvPr>
          <p:cNvSpPr>
            <a:spLocks noGrp="1"/>
          </p:cNvSpPr>
          <p:nvPr>
            <p:ph type="title"/>
          </p:nvPr>
        </p:nvSpPr>
        <p:spPr/>
        <p:txBody>
          <a:bodyPr/>
          <a:lstStyle/>
          <a:p>
            <a:r>
              <a:rPr lang="en-US" dirty="0"/>
              <a:t>Size</a:t>
            </a:r>
          </a:p>
        </p:txBody>
      </p:sp>
    </p:spTree>
    <p:extLst>
      <p:ext uri="{BB962C8B-B14F-4D97-AF65-F5344CB8AC3E}">
        <p14:creationId xmlns:p14="http://schemas.microsoft.com/office/powerpoint/2010/main" val="3107052672"/>
      </p:ext>
    </p:extLst>
  </p:cSld>
  <p:clrMapOvr>
    <a:overrideClrMapping bg1="lt1" tx1="dk1" bg2="lt2" tx2="dk2" accent1="accent1" accent2="accent2" accent3="accent3" accent4="accent4" accent5="accent5" accent6="accent6" hlink="hlink" folHlink="folHlink"/>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7F29B5C4-4A91-5B63-7B40-1CD442901E68}"/>
              </a:ext>
            </a:extLst>
          </p:cNvPr>
          <p:cNvSpPr>
            <a:spLocks noGrp="1"/>
          </p:cNvSpPr>
          <p:nvPr>
            <p:ph idx="1"/>
          </p:nvPr>
        </p:nvSpPr>
        <p:spPr>
          <a:xfrm>
            <a:off x="361951" y="1044529"/>
            <a:ext cx="4472442" cy="3385297"/>
          </a:xfrm>
        </p:spPr>
        <p:txBody>
          <a:bodyPr/>
          <a:lstStyle/>
          <a:p>
            <a:r>
              <a:rPr lang="en-US" dirty="0"/>
              <a:t>When diaphragm meters are field retrofitted with an AMR/AMI gas module, you end up with 2 assets with a different life span</a:t>
            </a:r>
          </a:p>
          <a:p>
            <a:pPr lvl="1"/>
            <a:r>
              <a:rPr lang="en-US" dirty="0"/>
              <a:t>You may have a new gas module on an older meter and need to replace the meter before the 20 year life of the gas module expires</a:t>
            </a:r>
          </a:p>
          <a:p>
            <a:pPr lvl="1"/>
            <a:r>
              <a:rPr lang="en-US" dirty="0"/>
              <a:t>Or you may have to replace the gas module before the life of the diaphragm meter has expired</a:t>
            </a:r>
          </a:p>
          <a:p>
            <a:pPr lvl="1"/>
            <a:r>
              <a:rPr lang="en-US" dirty="0"/>
              <a:t>This increases complexity of managing changeouts</a:t>
            </a:r>
          </a:p>
          <a:p>
            <a:r>
              <a:rPr lang="en-US" dirty="0"/>
              <a:t>Ultrasonic meters come with built in AMR/AMI gas modules that offer a full 20 year life for all components, including batteries and require no servicing</a:t>
            </a:r>
          </a:p>
          <a:p>
            <a:pPr lvl="1"/>
            <a:r>
              <a:rPr lang="en-US" dirty="0"/>
              <a:t>Replace meter within 20 year life</a:t>
            </a:r>
          </a:p>
          <a:p>
            <a:pPr lvl="1"/>
            <a:endParaRPr lang="en-US" dirty="0"/>
          </a:p>
          <a:p>
            <a:pPr lvl="1"/>
            <a:endParaRPr lang="en-US" dirty="0"/>
          </a:p>
          <a:p>
            <a:pPr lvl="2"/>
            <a:endParaRPr lang="en-US" dirty="0"/>
          </a:p>
          <a:p>
            <a:pPr lvl="1"/>
            <a:endParaRPr lang="en-US" dirty="0"/>
          </a:p>
        </p:txBody>
      </p:sp>
      <p:pic>
        <p:nvPicPr>
          <p:cNvPr id="4" name="Content Placeholder 3">
            <a:extLst>
              <a:ext uri="{FF2B5EF4-FFF2-40B4-BE49-F238E27FC236}">
                <a16:creationId xmlns:a16="http://schemas.microsoft.com/office/drawing/2014/main" id="{3992B5CC-174D-4D0E-BF3C-B731380F9EE0}"/>
              </a:ext>
            </a:extLst>
          </p:cNvPr>
          <p:cNvPicPr>
            <a:picLocks noGrp="1" noChangeAspect="1"/>
          </p:cNvPicPr>
          <p:nvPr>
            <p:ph idx="16"/>
          </p:nvPr>
        </p:nvPicPr>
        <p:blipFill>
          <a:blip r:embed="rId4"/>
          <a:stretch>
            <a:fillRect/>
          </a:stretch>
        </p:blipFill>
        <p:spPr>
          <a:xfrm>
            <a:off x="6628240" y="0"/>
            <a:ext cx="2595273" cy="3267075"/>
          </a:xfrm>
        </p:spPr>
      </p:pic>
      <p:sp>
        <p:nvSpPr>
          <p:cNvPr id="5" name="Title 4">
            <a:extLst>
              <a:ext uri="{FF2B5EF4-FFF2-40B4-BE49-F238E27FC236}">
                <a16:creationId xmlns:a16="http://schemas.microsoft.com/office/drawing/2014/main" id="{D8C353C8-6032-FA76-1412-D464ABE01F5B}"/>
              </a:ext>
            </a:extLst>
          </p:cNvPr>
          <p:cNvSpPr>
            <a:spLocks noGrp="1"/>
          </p:cNvSpPr>
          <p:nvPr>
            <p:ph type="title"/>
          </p:nvPr>
        </p:nvSpPr>
        <p:spPr/>
        <p:txBody>
          <a:bodyPr/>
          <a:lstStyle/>
          <a:p>
            <a:r>
              <a:rPr lang="en-US" dirty="0"/>
              <a:t>Streamline Asset Tracking</a:t>
            </a:r>
          </a:p>
        </p:txBody>
      </p:sp>
      <p:pic>
        <p:nvPicPr>
          <p:cNvPr id="8" name="Picture 7">
            <a:extLst>
              <a:ext uri="{FF2B5EF4-FFF2-40B4-BE49-F238E27FC236}">
                <a16:creationId xmlns:a16="http://schemas.microsoft.com/office/drawing/2014/main" id="{9B80848C-0E5F-6D43-7BA2-4EBAE2F8AE29}"/>
              </a:ext>
            </a:extLst>
          </p:cNvPr>
          <p:cNvPicPr>
            <a:picLocks noChangeAspect="1"/>
          </p:cNvPicPr>
          <p:nvPr/>
        </p:nvPicPr>
        <p:blipFill>
          <a:blip r:embed="rId5"/>
          <a:stretch>
            <a:fillRect/>
          </a:stretch>
        </p:blipFill>
        <p:spPr>
          <a:xfrm>
            <a:off x="4753430" y="2978245"/>
            <a:ext cx="2256534" cy="1775568"/>
          </a:xfrm>
          <a:prstGeom prst="rect">
            <a:avLst/>
          </a:prstGeom>
        </p:spPr>
      </p:pic>
    </p:spTree>
    <p:extLst>
      <p:ext uri="{BB962C8B-B14F-4D97-AF65-F5344CB8AC3E}">
        <p14:creationId xmlns:p14="http://schemas.microsoft.com/office/powerpoint/2010/main" val="1979135715"/>
      </p:ext>
    </p:extLst>
  </p:cSld>
  <p:clrMapOvr>
    <a:overrideClrMapping bg1="lt1" tx1="dk1" bg2="lt2" tx2="dk2" accent1="accent1" accent2="accent2" accent3="accent3" accent4="accent4" accent5="accent5" accent6="accent6" hlink="hlink" folHlink="folHlink"/>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cxnSp>
        <p:nvCxnSpPr>
          <p:cNvPr id="98" name="Straight Connector 97">
            <a:extLst>
              <a:ext uri="{FF2B5EF4-FFF2-40B4-BE49-F238E27FC236}">
                <a16:creationId xmlns:a16="http://schemas.microsoft.com/office/drawing/2014/main" id="{03CD733D-3DE0-4B32-8F0F-7DE023423FCC}"/>
              </a:ext>
            </a:extLst>
          </p:cNvPr>
          <p:cNvCxnSpPr>
            <a:cxnSpLocks/>
          </p:cNvCxnSpPr>
          <p:nvPr/>
        </p:nvCxnSpPr>
        <p:spPr>
          <a:xfrm>
            <a:off x="7673860" y="3076299"/>
            <a:ext cx="452102" cy="126646"/>
          </a:xfrm>
          <a:prstGeom prst="line">
            <a:avLst/>
          </a:prstGeom>
          <a:ln w="19050" cmpd="sng">
            <a:solidFill>
              <a:schemeClr val="bg1"/>
            </a:solidFill>
            <a:prstDash val="dash"/>
          </a:ln>
          <a:effectLst/>
        </p:spPr>
        <p:style>
          <a:lnRef idx="2">
            <a:schemeClr val="accent1"/>
          </a:lnRef>
          <a:fillRef idx="0">
            <a:schemeClr val="accent1"/>
          </a:fillRef>
          <a:effectRef idx="1">
            <a:schemeClr val="accent1"/>
          </a:effectRef>
          <a:fontRef idx="minor">
            <a:schemeClr val="tx1"/>
          </a:fontRef>
        </p:style>
      </p:cxnSp>
      <p:cxnSp>
        <p:nvCxnSpPr>
          <p:cNvPr id="81" name="Straight Connector 80">
            <a:extLst>
              <a:ext uri="{FF2B5EF4-FFF2-40B4-BE49-F238E27FC236}">
                <a16:creationId xmlns:a16="http://schemas.microsoft.com/office/drawing/2014/main" id="{03712C60-3300-4724-A74F-C3CE19A73FB2}"/>
              </a:ext>
            </a:extLst>
          </p:cNvPr>
          <p:cNvCxnSpPr>
            <a:cxnSpLocks/>
          </p:cNvCxnSpPr>
          <p:nvPr/>
        </p:nvCxnSpPr>
        <p:spPr>
          <a:xfrm>
            <a:off x="6671981" y="2188111"/>
            <a:ext cx="775359" cy="769569"/>
          </a:xfrm>
          <a:prstGeom prst="line">
            <a:avLst/>
          </a:prstGeom>
          <a:ln w="19050" cmpd="sng">
            <a:solidFill>
              <a:schemeClr val="bg1"/>
            </a:solidFill>
            <a:prstDash val="dash"/>
          </a:ln>
          <a:effectLst/>
        </p:spPr>
        <p:style>
          <a:lnRef idx="2">
            <a:schemeClr val="accent1"/>
          </a:lnRef>
          <a:fillRef idx="0">
            <a:schemeClr val="accent1"/>
          </a:fillRef>
          <a:effectRef idx="1">
            <a:schemeClr val="accent1"/>
          </a:effectRef>
          <a:fontRef idx="minor">
            <a:schemeClr val="tx1"/>
          </a:fontRef>
        </p:style>
      </p:cxnSp>
      <p:sp>
        <p:nvSpPr>
          <p:cNvPr id="2" name="Title 1">
            <a:extLst>
              <a:ext uri="{FF2B5EF4-FFF2-40B4-BE49-F238E27FC236}">
                <a16:creationId xmlns:a16="http://schemas.microsoft.com/office/drawing/2014/main" id="{407A1426-92A0-4BCA-894C-6BFB38848CEB}"/>
              </a:ext>
            </a:extLst>
          </p:cNvPr>
          <p:cNvSpPr>
            <a:spLocks noGrp="1"/>
          </p:cNvSpPr>
          <p:nvPr>
            <p:ph type="title"/>
          </p:nvPr>
        </p:nvSpPr>
        <p:spPr/>
        <p:txBody>
          <a:bodyPr vert="horz" lIns="91440" tIns="45720" rIns="91440" bIns="45720" rtlCol="0" anchor="ctr">
            <a:spAutoFit/>
          </a:bodyPr>
          <a:lstStyle/>
          <a:p>
            <a:pPr defTabSz="456366"/>
            <a:r>
              <a:rPr lang="en-US" sz="2396" dirty="0">
                <a:solidFill>
                  <a:schemeClr val="accent1"/>
                </a:solidFill>
              </a:rPr>
              <a:t>Integrated Radio - AMR or AMI Programmable</a:t>
            </a:r>
          </a:p>
        </p:txBody>
      </p:sp>
      <p:sp>
        <p:nvSpPr>
          <p:cNvPr id="243" name="Rectangle: Rounded Corners 312">
            <a:extLst>
              <a:ext uri="{FF2B5EF4-FFF2-40B4-BE49-F238E27FC236}">
                <a16:creationId xmlns:a16="http://schemas.microsoft.com/office/drawing/2014/main" id="{44D91E9F-45EF-450D-87C6-4E56098B1A40}"/>
              </a:ext>
            </a:extLst>
          </p:cNvPr>
          <p:cNvSpPr/>
          <p:nvPr/>
        </p:nvSpPr>
        <p:spPr>
          <a:xfrm>
            <a:off x="7264287" y="1091077"/>
            <a:ext cx="1559267" cy="351319"/>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455113" rtl="0" eaLnBrk="1" fontAlgn="auto" latinLnBrk="0" hangingPunct="1">
              <a:lnSpc>
                <a:spcPct val="80000"/>
              </a:lnSpc>
              <a:spcBef>
                <a:spcPts val="0"/>
              </a:spcBef>
              <a:spcAft>
                <a:spcPts val="0"/>
              </a:spcAft>
              <a:buClrTx/>
              <a:buSzTx/>
              <a:buFontTx/>
              <a:buNone/>
              <a:tabLst/>
              <a:defRPr/>
            </a:pPr>
            <a:r>
              <a:rPr kumimoji="0" lang="en-US" sz="1197" b="0" i="0" u="none" strike="noStrike" kern="1200" cap="none" spc="0" normalizeH="0" baseline="0" noProof="0">
                <a:ln>
                  <a:noFill/>
                </a:ln>
                <a:solidFill>
                  <a:srgbClr val="FFFFFF"/>
                </a:solidFill>
                <a:effectLst/>
                <a:uLnTx/>
                <a:uFillTx/>
                <a:latin typeface="Arial"/>
                <a:ea typeface="+mn-ea"/>
                <a:cs typeface="+mn-cs"/>
              </a:rPr>
              <a:t>UIQ Itron Headend</a:t>
            </a:r>
          </a:p>
        </p:txBody>
      </p:sp>
      <p:grpSp>
        <p:nvGrpSpPr>
          <p:cNvPr id="52" name="Group 51">
            <a:extLst>
              <a:ext uri="{FF2B5EF4-FFF2-40B4-BE49-F238E27FC236}">
                <a16:creationId xmlns:a16="http://schemas.microsoft.com/office/drawing/2014/main" id="{CD6FA804-F1D2-47E1-9F8C-3F662745B5F9}"/>
              </a:ext>
            </a:extLst>
          </p:cNvPr>
          <p:cNvGrpSpPr/>
          <p:nvPr/>
        </p:nvGrpSpPr>
        <p:grpSpPr>
          <a:xfrm>
            <a:off x="1827122" y="4235507"/>
            <a:ext cx="1048882" cy="527691"/>
            <a:chOff x="3291554" y="3437334"/>
            <a:chExt cx="1053747" cy="530138"/>
          </a:xfrm>
        </p:grpSpPr>
        <p:pic>
          <p:nvPicPr>
            <p:cNvPr id="53" name="Picture 52" descr="van.png">
              <a:extLst>
                <a:ext uri="{FF2B5EF4-FFF2-40B4-BE49-F238E27FC236}">
                  <a16:creationId xmlns:a16="http://schemas.microsoft.com/office/drawing/2014/main" id="{B2438494-A627-4DC8-BAD4-B45DFF084ECE}"/>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474133" y="3437334"/>
              <a:ext cx="707501" cy="348712"/>
            </a:xfrm>
            <a:prstGeom prst="rect">
              <a:avLst/>
            </a:prstGeom>
          </p:spPr>
        </p:pic>
        <p:sp>
          <p:nvSpPr>
            <p:cNvPr id="54" name="TextBox 53">
              <a:extLst>
                <a:ext uri="{FF2B5EF4-FFF2-40B4-BE49-F238E27FC236}">
                  <a16:creationId xmlns:a16="http://schemas.microsoft.com/office/drawing/2014/main" id="{E0E449C2-06A9-4DCF-8DB0-F9F4DB92A43D}"/>
                </a:ext>
              </a:extLst>
            </p:cNvPr>
            <p:cNvSpPr txBox="1"/>
            <p:nvPr/>
          </p:nvSpPr>
          <p:spPr>
            <a:xfrm>
              <a:off x="3291554" y="3766997"/>
              <a:ext cx="1053747" cy="200475"/>
            </a:xfrm>
            <a:prstGeom prst="rect">
              <a:avLst/>
            </a:prstGeom>
            <a:noFill/>
          </p:spPr>
          <p:txBody>
            <a:bodyPr wrap="square" rtlCol="0">
              <a:spAutoFit/>
            </a:bodyPr>
            <a:lstStyle/>
            <a:p>
              <a:pPr marL="0" marR="0" lvl="0" indent="0" algn="ctr" defTabSz="682673" rtl="0" eaLnBrk="1" fontAlgn="auto" latinLnBrk="0" hangingPunct="1">
                <a:lnSpc>
                  <a:spcPct val="100000"/>
                </a:lnSpc>
                <a:spcBef>
                  <a:spcPts val="0"/>
                </a:spcBef>
                <a:spcAft>
                  <a:spcPts val="0"/>
                </a:spcAft>
                <a:buClrTx/>
                <a:buSzTx/>
                <a:buFontTx/>
                <a:buNone/>
                <a:tabLst/>
                <a:defRPr/>
              </a:pPr>
              <a:r>
                <a:rPr kumimoji="0" lang="en-US" sz="697" b="1" i="0" u="none" strike="noStrike" kern="1200" cap="none" spc="0" normalizeH="0" baseline="0" noProof="0">
                  <a:ln>
                    <a:noFill/>
                  </a:ln>
                  <a:solidFill>
                    <a:srgbClr val="434A52"/>
                  </a:solidFill>
                  <a:effectLst/>
                  <a:uLnTx/>
                  <a:uFillTx/>
                  <a:latin typeface="Arial"/>
                  <a:ea typeface="+mn-ea"/>
                  <a:cs typeface="+mn-cs"/>
                </a:rPr>
                <a:t>Mobile</a:t>
              </a:r>
              <a:r>
                <a:rPr kumimoji="0" lang="en-US" sz="697" b="1" i="0" u="none" strike="noStrike" kern="0" cap="none" spc="0" normalizeH="0" baseline="0" noProof="0">
                  <a:ln>
                    <a:noFill/>
                  </a:ln>
                  <a:solidFill>
                    <a:srgbClr val="434A52"/>
                  </a:solidFill>
                  <a:effectLst/>
                  <a:uLnTx/>
                  <a:uFillTx/>
                  <a:latin typeface="Arial"/>
                  <a:ea typeface="+mn-ea"/>
                  <a:cs typeface="+mn-cs"/>
                </a:rPr>
                <a:t> </a:t>
              </a:r>
              <a:r>
                <a:rPr kumimoji="0" lang="en-US" sz="697" b="1" i="0" u="none" strike="noStrike" kern="1200" cap="none" spc="0" normalizeH="0" baseline="0" noProof="0">
                  <a:ln>
                    <a:noFill/>
                  </a:ln>
                  <a:solidFill>
                    <a:srgbClr val="434A52"/>
                  </a:solidFill>
                  <a:effectLst/>
                  <a:uLnTx/>
                  <a:uFillTx/>
                  <a:latin typeface="Arial"/>
                  <a:ea typeface="+mn-ea"/>
                  <a:cs typeface="+mn-cs"/>
                </a:rPr>
                <a:t>Collector</a:t>
              </a:r>
            </a:p>
          </p:txBody>
        </p:sp>
      </p:grpSp>
      <p:grpSp>
        <p:nvGrpSpPr>
          <p:cNvPr id="63" name="Group 62">
            <a:extLst>
              <a:ext uri="{FF2B5EF4-FFF2-40B4-BE49-F238E27FC236}">
                <a16:creationId xmlns:a16="http://schemas.microsoft.com/office/drawing/2014/main" id="{0D159525-01BF-4691-A815-DFB9BB3BE01C}"/>
              </a:ext>
            </a:extLst>
          </p:cNvPr>
          <p:cNvGrpSpPr/>
          <p:nvPr/>
        </p:nvGrpSpPr>
        <p:grpSpPr>
          <a:xfrm>
            <a:off x="3251323" y="3062106"/>
            <a:ext cx="599013" cy="706339"/>
            <a:chOff x="1462898" y="4080726"/>
            <a:chExt cx="729168" cy="747876"/>
          </a:xfrm>
        </p:grpSpPr>
        <p:sp>
          <p:nvSpPr>
            <p:cNvPr id="64" name="TextBox 63">
              <a:extLst>
                <a:ext uri="{FF2B5EF4-FFF2-40B4-BE49-F238E27FC236}">
                  <a16:creationId xmlns:a16="http://schemas.microsoft.com/office/drawing/2014/main" id="{9EF4B742-CA69-486E-893A-082CE735E2BB}"/>
                </a:ext>
              </a:extLst>
            </p:cNvPr>
            <p:cNvSpPr txBox="1"/>
            <p:nvPr/>
          </p:nvSpPr>
          <p:spPr>
            <a:xfrm>
              <a:off x="1462898" y="4503706"/>
              <a:ext cx="729168" cy="324896"/>
            </a:xfrm>
            <a:prstGeom prst="rect">
              <a:avLst/>
            </a:prstGeom>
            <a:noFill/>
          </p:spPr>
          <p:txBody>
            <a:bodyPr wrap="square" rtlCol="0">
              <a:spAutoFit/>
            </a:bodyPr>
            <a:lstStyle/>
            <a:p>
              <a:pPr marL="0" marR="0" lvl="0" indent="0" algn="ctr" defTabSz="511560" rtl="0" eaLnBrk="1" fontAlgn="auto" latinLnBrk="0" hangingPunct="1">
                <a:lnSpc>
                  <a:spcPct val="100000"/>
                </a:lnSpc>
                <a:spcBef>
                  <a:spcPts val="0"/>
                </a:spcBef>
                <a:spcAft>
                  <a:spcPts val="0"/>
                </a:spcAft>
                <a:buClrTx/>
                <a:buSzTx/>
                <a:buFontTx/>
                <a:buNone/>
                <a:tabLst/>
                <a:defRPr/>
              </a:pPr>
              <a:r>
                <a:rPr kumimoji="0" lang="en-US" sz="697" b="1" i="0" u="none" strike="noStrike" kern="0" cap="none" spc="0" normalizeH="0" baseline="0" noProof="0">
                  <a:ln>
                    <a:noFill/>
                  </a:ln>
                  <a:solidFill>
                    <a:srgbClr val="434A52"/>
                  </a:solidFill>
                  <a:effectLst/>
                  <a:uLnTx/>
                  <a:uFillTx/>
                  <a:latin typeface="Arial"/>
                  <a:ea typeface="+mn-ea"/>
                  <a:cs typeface="+mn-cs"/>
                </a:rPr>
                <a:t>500G</a:t>
              </a:r>
            </a:p>
            <a:p>
              <a:pPr marL="0" marR="0" lvl="0" indent="0" algn="ctr" defTabSz="511560" rtl="0" eaLnBrk="1" fontAlgn="auto" latinLnBrk="0" hangingPunct="1">
                <a:lnSpc>
                  <a:spcPct val="100000"/>
                </a:lnSpc>
                <a:spcBef>
                  <a:spcPts val="0"/>
                </a:spcBef>
                <a:spcAft>
                  <a:spcPts val="0"/>
                </a:spcAft>
                <a:buClrTx/>
                <a:buSzTx/>
                <a:buFontTx/>
                <a:buNone/>
                <a:tabLst/>
                <a:defRPr/>
              </a:pPr>
              <a:r>
                <a:rPr kumimoji="0" lang="en-US" sz="697" b="1" i="0" u="none" strike="noStrike" kern="0" cap="none" spc="0" normalizeH="0" baseline="0" noProof="0">
                  <a:ln>
                    <a:noFill/>
                  </a:ln>
                  <a:solidFill>
                    <a:srgbClr val="434A52"/>
                  </a:solidFill>
                  <a:effectLst/>
                  <a:uLnTx/>
                  <a:uFillTx/>
                  <a:latin typeface="Arial"/>
                  <a:ea typeface="+mn-ea"/>
                  <a:cs typeface="+mn-cs"/>
                </a:rPr>
                <a:t>Cellular</a:t>
              </a:r>
            </a:p>
          </p:txBody>
        </p:sp>
        <p:pic>
          <p:nvPicPr>
            <p:cNvPr id="65" name="Picture 64" descr="Gas Meter Round.png">
              <a:extLst>
                <a:ext uri="{FF2B5EF4-FFF2-40B4-BE49-F238E27FC236}">
                  <a16:creationId xmlns:a16="http://schemas.microsoft.com/office/drawing/2014/main" id="{DD6F3DFC-ACD5-4C8F-9275-644A5524C0C3}"/>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643081" y="4080726"/>
              <a:ext cx="338119" cy="437973"/>
            </a:xfrm>
            <a:prstGeom prst="rect">
              <a:avLst/>
            </a:prstGeom>
          </p:spPr>
        </p:pic>
      </p:grpSp>
      <p:pic>
        <p:nvPicPr>
          <p:cNvPr id="67" name="Picture 66">
            <a:extLst>
              <a:ext uri="{FF2B5EF4-FFF2-40B4-BE49-F238E27FC236}">
                <a16:creationId xmlns:a16="http://schemas.microsoft.com/office/drawing/2014/main" id="{365D13AE-3FC8-4F56-935D-ADC361E526E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389757" y="3038579"/>
            <a:ext cx="506724" cy="350421"/>
          </a:xfrm>
          <a:prstGeom prst="rect">
            <a:avLst/>
          </a:prstGeom>
        </p:spPr>
      </p:pic>
      <p:cxnSp>
        <p:nvCxnSpPr>
          <p:cNvPr id="68" name="Straight Connector 67">
            <a:extLst>
              <a:ext uri="{FF2B5EF4-FFF2-40B4-BE49-F238E27FC236}">
                <a16:creationId xmlns:a16="http://schemas.microsoft.com/office/drawing/2014/main" id="{88034BA6-E044-4F05-B508-C6B9D0485C0B}"/>
              </a:ext>
            </a:extLst>
          </p:cNvPr>
          <p:cNvCxnSpPr>
            <a:cxnSpLocks/>
            <a:endCxn id="112" idx="0"/>
          </p:cNvCxnSpPr>
          <p:nvPr/>
        </p:nvCxnSpPr>
        <p:spPr>
          <a:xfrm>
            <a:off x="6469517" y="2515608"/>
            <a:ext cx="41705" cy="292293"/>
          </a:xfrm>
          <a:prstGeom prst="line">
            <a:avLst/>
          </a:prstGeom>
          <a:ln w="19050" cmpd="sng">
            <a:solidFill>
              <a:schemeClr val="bg1"/>
            </a:solidFill>
            <a:prstDash val="dash"/>
          </a:ln>
          <a:effectLst/>
        </p:spPr>
        <p:style>
          <a:lnRef idx="2">
            <a:schemeClr val="accent1"/>
          </a:lnRef>
          <a:fillRef idx="0">
            <a:schemeClr val="accent1"/>
          </a:fillRef>
          <a:effectRef idx="1">
            <a:schemeClr val="accent1"/>
          </a:effectRef>
          <a:fontRef idx="minor">
            <a:schemeClr val="tx1"/>
          </a:fontRef>
        </p:style>
      </p:cxnSp>
      <p:cxnSp>
        <p:nvCxnSpPr>
          <p:cNvPr id="69" name="Straight Connector 68">
            <a:extLst>
              <a:ext uri="{FF2B5EF4-FFF2-40B4-BE49-F238E27FC236}">
                <a16:creationId xmlns:a16="http://schemas.microsoft.com/office/drawing/2014/main" id="{3479DED5-AA7A-4503-AD35-07FCC1A3F11E}"/>
              </a:ext>
            </a:extLst>
          </p:cNvPr>
          <p:cNvCxnSpPr>
            <a:cxnSpLocks/>
            <a:stCxn id="65" idx="0"/>
          </p:cNvCxnSpPr>
          <p:nvPr/>
        </p:nvCxnSpPr>
        <p:spPr>
          <a:xfrm flipV="1">
            <a:off x="3538227" y="1768436"/>
            <a:ext cx="405160" cy="1293670"/>
          </a:xfrm>
          <a:prstGeom prst="line">
            <a:avLst/>
          </a:prstGeom>
          <a:ln w="19050" cmpd="sng">
            <a:solidFill>
              <a:schemeClr val="bg1"/>
            </a:solidFill>
            <a:prstDash val="dash"/>
          </a:ln>
          <a:effectLst/>
        </p:spPr>
        <p:style>
          <a:lnRef idx="2">
            <a:schemeClr val="accent1"/>
          </a:lnRef>
          <a:fillRef idx="0">
            <a:schemeClr val="accent1"/>
          </a:fillRef>
          <a:effectRef idx="1">
            <a:schemeClr val="accent1"/>
          </a:effectRef>
          <a:fontRef idx="minor">
            <a:schemeClr val="tx1"/>
          </a:fontRef>
        </p:style>
      </p:cxnSp>
      <p:cxnSp>
        <p:nvCxnSpPr>
          <p:cNvPr id="33" name="Straight Arrow Connector 32">
            <a:extLst>
              <a:ext uri="{FF2B5EF4-FFF2-40B4-BE49-F238E27FC236}">
                <a16:creationId xmlns:a16="http://schemas.microsoft.com/office/drawing/2014/main" id="{9EC22DB1-BCF2-4751-8FB4-FA63297A9525}"/>
              </a:ext>
            </a:extLst>
          </p:cNvPr>
          <p:cNvCxnSpPr>
            <a:cxnSpLocks/>
          </p:cNvCxnSpPr>
          <p:nvPr/>
        </p:nvCxnSpPr>
        <p:spPr>
          <a:xfrm>
            <a:off x="2876004" y="4503784"/>
            <a:ext cx="5381212" cy="23692"/>
          </a:xfrm>
          <a:prstGeom prst="straightConnector1">
            <a:avLst/>
          </a:prstGeom>
          <a:ln w="57150">
            <a:solidFill>
              <a:srgbClr val="FFFFFF"/>
            </a:solidFill>
            <a:prstDash val="sysDot"/>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129" name="Straight Connector 128">
            <a:extLst>
              <a:ext uri="{FF2B5EF4-FFF2-40B4-BE49-F238E27FC236}">
                <a16:creationId xmlns:a16="http://schemas.microsoft.com/office/drawing/2014/main" id="{6BCF01AA-3F6A-44F2-A844-8D674B12EFBC}"/>
              </a:ext>
            </a:extLst>
          </p:cNvPr>
          <p:cNvCxnSpPr>
            <a:cxnSpLocks/>
          </p:cNvCxnSpPr>
          <p:nvPr/>
        </p:nvCxnSpPr>
        <p:spPr>
          <a:xfrm flipH="1" flipV="1">
            <a:off x="4877754" y="1196283"/>
            <a:ext cx="2328925" cy="39617"/>
          </a:xfrm>
          <a:prstGeom prst="line">
            <a:avLst/>
          </a:prstGeom>
          <a:ln w="19050" cmpd="sng">
            <a:solidFill>
              <a:schemeClr val="bg1"/>
            </a:solidFill>
            <a:prstDash val="dash"/>
          </a:ln>
          <a:effectLst/>
        </p:spPr>
        <p:style>
          <a:lnRef idx="2">
            <a:schemeClr val="accent1"/>
          </a:lnRef>
          <a:fillRef idx="0">
            <a:schemeClr val="accent1"/>
          </a:fillRef>
          <a:effectRef idx="1">
            <a:schemeClr val="accent1"/>
          </a:effectRef>
          <a:fontRef idx="minor">
            <a:schemeClr val="tx1"/>
          </a:fontRef>
        </p:style>
      </p:cxnSp>
      <p:sp>
        <p:nvSpPr>
          <p:cNvPr id="49" name="Rectangle: Rounded Corners 312">
            <a:extLst>
              <a:ext uri="{FF2B5EF4-FFF2-40B4-BE49-F238E27FC236}">
                <a16:creationId xmlns:a16="http://schemas.microsoft.com/office/drawing/2014/main" id="{8CFA0DB6-1D68-4E19-966D-47D6120B4427}"/>
              </a:ext>
            </a:extLst>
          </p:cNvPr>
          <p:cNvSpPr/>
          <p:nvPr/>
        </p:nvSpPr>
        <p:spPr>
          <a:xfrm>
            <a:off x="7280570" y="694626"/>
            <a:ext cx="1559267" cy="351319"/>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455113" rtl="0" eaLnBrk="1" fontAlgn="auto" latinLnBrk="0" hangingPunct="1">
              <a:lnSpc>
                <a:spcPct val="80000"/>
              </a:lnSpc>
              <a:spcBef>
                <a:spcPts val="0"/>
              </a:spcBef>
              <a:spcAft>
                <a:spcPts val="0"/>
              </a:spcAft>
              <a:buClrTx/>
              <a:buSzTx/>
              <a:buFontTx/>
              <a:buNone/>
              <a:tabLst/>
              <a:defRPr/>
            </a:pPr>
            <a:r>
              <a:rPr kumimoji="0" lang="en-US" sz="1197" b="0" i="0" u="none" strike="noStrike" kern="1200" cap="none" spc="0" normalizeH="0" baseline="0" noProof="0">
                <a:ln>
                  <a:noFill/>
                </a:ln>
                <a:solidFill>
                  <a:srgbClr val="FFFFFF"/>
                </a:solidFill>
                <a:effectLst/>
                <a:uLnTx/>
                <a:uFillTx/>
                <a:latin typeface="Arial"/>
                <a:ea typeface="+mn-ea"/>
                <a:cs typeface="+mn-cs"/>
              </a:rPr>
              <a:t>CIS/MDMS</a:t>
            </a:r>
          </a:p>
        </p:txBody>
      </p:sp>
      <p:sp>
        <p:nvSpPr>
          <p:cNvPr id="85" name="Rectangle: Rounded Corners 312">
            <a:extLst>
              <a:ext uri="{FF2B5EF4-FFF2-40B4-BE49-F238E27FC236}">
                <a16:creationId xmlns:a16="http://schemas.microsoft.com/office/drawing/2014/main" id="{CC5B035B-32E5-418D-A6DB-B3FAF70AC172}"/>
              </a:ext>
            </a:extLst>
          </p:cNvPr>
          <p:cNvSpPr/>
          <p:nvPr/>
        </p:nvSpPr>
        <p:spPr>
          <a:xfrm>
            <a:off x="273428" y="4273644"/>
            <a:ext cx="1559267" cy="399462"/>
          </a:xfrm>
          <a:prstGeom prst="roundRect">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455113" rtl="0" eaLnBrk="1" fontAlgn="auto" latinLnBrk="0" hangingPunct="1">
              <a:lnSpc>
                <a:spcPct val="80000"/>
              </a:lnSpc>
              <a:spcBef>
                <a:spcPts val="0"/>
              </a:spcBef>
              <a:spcAft>
                <a:spcPts val="0"/>
              </a:spcAft>
              <a:buClrTx/>
              <a:buSzTx/>
              <a:buFontTx/>
              <a:buNone/>
              <a:tabLst/>
              <a:defRPr/>
            </a:pPr>
            <a:r>
              <a:rPr kumimoji="0" lang="en-US" sz="1197" b="0" i="0" u="none" strike="noStrike" kern="1200" cap="none" spc="0" normalizeH="0" baseline="0" noProof="0">
                <a:ln>
                  <a:noFill/>
                </a:ln>
                <a:solidFill>
                  <a:srgbClr val="FFFFFF"/>
                </a:solidFill>
                <a:effectLst/>
                <a:uLnTx/>
                <a:uFillTx/>
                <a:latin typeface="Arial"/>
                <a:ea typeface="+mn-ea"/>
                <a:cs typeface="+mn-cs"/>
              </a:rPr>
              <a:t>Mobile Collection Applications</a:t>
            </a:r>
          </a:p>
        </p:txBody>
      </p:sp>
      <p:sp>
        <p:nvSpPr>
          <p:cNvPr id="91" name="Rectangle: Rounded Corners 312">
            <a:extLst>
              <a:ext uri="{FF2B5EF4-FFF2-40B4-BE49-F238E27FC236}">
                <a16:creationId xmlns:a16="http://schemas.microsoft.com/office/drawing/2014/main" id="{E331FD35-51E9-44F6-8FED-C60F55588257}"/>
              </a:ext>
            </a:extLst>
          </p:cNvPr>
          <p:cNvSpPr/>
          <p:nvPr/>
        </p:nvSpPr>
        <p:spPr>
          <a:xfrm>
            <a:off x="7288710" y="246836"/>
            <a:ext cx="1559267" cy="392689"/>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455113" rtl="0" eaLnBrk="1" fontAlgn="auto" latinLnBrk="0" hangingPunct="1">
              <a:lnSpc>
                <a:spcPct val="80000"/>
              </a:lnSpc>
              <a:spcBef>
                <a:spcPts val="0"/>
              </a:spcBef>
              <a:spcAft>
                <a:spcPts val="0"/>
              </a:spcAft>
              <a:buClrTx/>
              <a:buSzTx/>
              <a:buFontTx/>
              <a:buNone/>
              <a:tabLst/>
              <a:defRPr/>
            </a:pPr>
            <a:r>
              <a:rPr kumimoji="0" lang="en-US" sz="1197" b="0" i="0" u="none" strike="noStrike" kern="1200" cap="none" spc="0" normalizeH="0" baseline="0" noProof="0">
                <a:ln>
                  <a:noFill/>
                </a:ln>
                <a:solidFill>
                  <a:srgbClr val="FFFFFF"/>
                </a:solidFill>
                <a:effectLst/>
                <a:uLnTx/>
                <a:uFillTx/>
                <a:latin typeface="Arial"/>
                <a:ea typeface="+mn-ea"/>
                <a:cs typeface="+mn-cs"/>
              </a:rPr>
              <a:t>Other Utility Applications</a:t>
            </a:r>
          </a:p>
        </p:txBody>
      </p:sp>
      <p:cxnSp>
        <p:nvCxnSpPr>
          <p:cNvPr id="134" name="Straight Connector 133">
            <a:extLst>
              <a:ext uri="{FF2B5EF4-FFF2-40B4-BE49-F238E27FC236}">
                <a16:creationId xmlns:a16="http://schemas.microsoft.com/office/drawing/2014/main" id="{036600C2-D081-4244-8B39-05F8AF425C2F}"/>
              </a:ext>
            </a:extLst>
          </p:cNvPr>
          <p:cNvCxnSpPr>
            <a:cxnSpLocks/>
          </p:cNvCxnSpPr>
          <p:nvPr/>
        </p:nvCxnSpPr>
        <p:spPr>
          <a:xfrm>
            <a:off x="4571184" y="1368304"/>
            <a:ext cx="1748617" cy="492244"/>
          </a:xfrm>
          <a:prstGeom prst="line">
            <a:avLst/>
          </a:prstGeom>
          <a:ln w="19050" cmpd="sng">
            <a:solidFill>
              <a:schemeClr val="bg1"/>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19" name="Straight Connector 118">
            <a:extLst>
              <a:ext uri="{FF2B5EF4-FFF2-40B4-BE49-F238E27FC236}">
                <a16:creationId xmlns:a16="http://schemas.microsoft.com/office/drawing/2014/main" id="{E6C53654-ACD7-4518-BD09-4855E561F3E9}"/>
              </a:ext>
            </a:extLst>
          </p:cNvPr>
          <p:cNvCxnSpPr>
            <a:cxnSpLocks/>
            <a:endCxn id="142" idx="0"/>
          </p:cNvCxnSpPr>
          <p:nvPr/>
        </p:nvCxnSpPr>
        <p:spPr>
          <a:xfrm flipH="1">
            <a:off x="1582491" y="3374797"/>
            <a:ext cx="385575" cy="267859"/>
          </a:xfrm>
          <a:prstGeom prst="line">
            <a:avLst/>
          </a:prstGeom>
          <a:ln w="19050" cmpd="sng">
            <a:solidFill>
              <a:schemeClr val="bg1"/>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32" name="Straight Connector 131">
            <a:extLst>
              <a:ext uri="{FF2B5EF4-FFF2-40B4-BE49-F238E27FC236}">
                <a16:creationId xmlns:a16="http://schemas.microsoft.com/office/drawing/2014/main" id="{90A3FD1F-4869-46D2-B347-91321AF4BA7F}"/>
              </a:ext>
            </a:extLst>
          </p:cNvPr>
          <p:cNvCxnSpPr>
            <a:cxnSpLocks/>
          </p:cNvCxnSpPr>
          <p:nvPr/>
        </p:nvCxnSpPr>
        <p:spPr>
          <a:xfrm>
            <a:off x="1770064" y="2223793"/>
            <a:ext cx="500093" cy="756740"/>
          </a:xfrm>
          <a:prstGeom prst="line">
            <a:avLst/>
          </a:prstGeom>
          <a:ln w="19050" cmpd="sng">
            <a:solidFill>
              <a:schemeClr val="bg1"/>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33" name="Straight Connector 132">
            <a:extLst>
              <a:ext uri="{FF2B5EF4-FFF2-40B4-BE49-F238E27FC236}">
                <a16:creationId xmlns:a16="http://schemas.microsoft.com/office/drawing/2014/main" id="{E24F799C-2584-4EDE-BFFE-A5E2430A86F3}"/>
              </a:ext>
            </a:extLst>
          </p:cNvPr>
          <p:cNvCxnSpPr>
            <a:cxnSpLocks/>
          </p:cNvCxnSpPr>
          <p:nvPr/>
        </p:nvCxnSpPr>
        <p:spPr>
          <a:xfrm flipH="1">
            <a:off x="1980740" y="1273219"/>
            <a:ext cx="1641760" cy="466849"/>
          </a:xfrm>
          <a:prstGeom prst="line">
            <a:avLst/>
          </a:prstGeom>
          <a:ln w="19050" cmpd="sng">
            <a:solidFill>
              <a:schemeClr val="bg1"/>
            </a:solidFill>
            <a:prstDash val="dash"/>
          </a:ln>
          <a:effectLst/>
        </p:spPr>
        <p:style>
          <a:lnRef idx="2">
            <a:schemeClr val="accent1"/>
          </a:lnRef>
          <a:fillRef idx="0">
            <a:schemeClr val="accent1"/>
          </a:fillRef>
          <a:effectRef idx="1">
            <a:schemeClr val="accent1"/>
          </a:effectRef>
          <a:fontRef idx="minor">
            <a:schemeClr val="tx1"/>
          </a:fontRef>
        </p:style>
      </p:cxnSp>
      <p:grpSp>
        <p:nvGrpSpPr>
          <p:cNvPr id="140" name="Group 139">
            <a:extLst>
              <a:ext uri="{FF2B5EF4-FFF2-40B4-BE49-F238E27FC236}">
                <a16:creationId xmlns:a16="http://schemas.microsoft.com/office/drawing/2014/main" id="{16A67ED5-3D97-45DF-B65F-32340766F380}"/>
              </a:ext>
            </a:extLst>
          </p:cNvPr>
          <p:cNvGrpSpPr/>
          <p:nvPr/>
        </p:nvGrpSpPr>
        <p:grpSpPr>
          <a:xfrm>
            <a:off x="1175247" y="3642657"/>
            <a:ext cx="765113" cy="426048"/>
            <a:chOff x="267717" y="1859852"/>
            <a:chExt cx="767951" cy="427626"/>
          </a:xfrm>
        </p:grpSpPr>
        <p:sp>
          <p:nvSpPr>
            <p:cNvPr id="141" name="TextBox 140">
              <a:extLst>
                <a:ext uri="{FF2B5EF4-FFF2-40B4-BE49-F238E27FC236}">
                  <a16:creationId xmlns:a16="http://schemas.microsoft.com/office/drawing/2014/main" id="{2C4A43ED-FC9A-4A14-A736-C262793DF604}"/>
                </a:ext>
              </a:extLst>
            </p:cNvPr>
            <p:cNvSpPr txBox="1"/>
            <p:nvPr/>
          </p:nvSpPr>
          <p:spPr>
            <a:xfrm>
              <a:off x="267717" y="2087003"/>
              <a:ext cx="767951" cy="200475"/>
            </a:xfrm>
            <a:prstGeom prst="rect">
              <a:avLst/>
            </a:prstGeom>
            <a:noFill/>
          </p:spPr>
          <p:txBody>
            <a:bodyPr wrap="square" rtlCol="0">
              <a:spAutoFit/>
            </a:bodyPr>
            <a:lstStyle/>
            <a:p>
              <a:pPr marL="0" marR="0" lvl="0" indent="0" algn="ctr" defTabSz="340715" rtl="0" eaLnBrk="1" fontAlgn="auto" latinLnBrk="0" hangingPunct="1">
                <a:lnSpc>
                  <a:spcPct val="100000"/>
                </a:lnSpc>
                <a:spcBef>
                  <a:spcPts val="0"/>
                </a:spcBef>
                <a:spcAft>
                  <a:spcPts val="0"/>
                </a:spcAft>
                <a:buClrTx/>
                <a:buSzTx/>
                <a:buFontTx/>
                <a:buNone/>
                <a:tabLst/>
                <a:defRPr/>
              </a:pPr>
              <a:r>
                <a:rPr kumimoji="0" lang="en-US" sz="698" b="1" i="0" u="none" strike="noStrike" kern="1200" cap="none" spc="0" normalizeH="0" baseline="0" noProof="0">
                  <a:ln>
                    <a:noFill/>
                  </a:ln>
                  <a:solidFill>
                    <a:srgbClr val="434A52"/>
                  </a:solidFill>
                  <a:effectLst/>
                  <a:uLnTx/>
                  <a:uFillTx/>
                  <a:latin typeface="Arial"/>
                  <a:ea typeface="+mn-ea"/>
                  <a:cs typeface="+mn-cs"/>
                </a:rPr>
                <a:t>Intelis</a:t>
              </a:r>
            </a:p>
          </p:txBody>
        </p:sp>
        <p:pic>
          <p:nvPicPr>
            <p:cNvPr id="142" name="Picture 141">
              <a:extLst>
                <a:ext uri="{FF2B5EF4-FFF2-40B4-BE49-F238E27FC236}">
                  <a16:creationId xmlns:a16="http://schemas.microsoft.com/office/drawing/2014/main" id="{84E1380C-CEE8-470E-A106-4ABDB9568E2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97071" y="1859852"/>
              <a:ext cx="358803" cy="248128"/>
            </a:xfrm>
            <a:prstGeom prst="rect">
              <a:avLst/>
            </a:prstGeom>
          </p:spPr>
        </p:pic>
      </p:grpSp>
      <p:cxnSp>
        <p:nvCxnSpPr>
          <p:cNvPr id="153" name="Straight Connector 152">
            <a:extLst>
              <a:ext uri="{FF2B5EF4-FFF2-40B4-BE49-F238E27FC236}">
                <a16:creationId xmlns:a16="http://schemas.microsoft.com/office/drawing/2014/main" id="{E54A6673-D15E-45F2-A4EB-CBF3171AF4F2}"/>
              </a:ext>
            </a:extLst>
          </p:cNvPr>
          <p:cNvCxnSpPr>
            <a:cxnSpLocks/>
          </p:cNvCxnSpPr>
          <p:nvPr/>
        </p:nvCxnSpPr>
        <p:spPr>
          <a:xfrm>
            <a:off x="2431731" y="3374797"/>
            <a:ext cx="370209" cy="287203"/>
          </a:xfrm>
          <a:prstGeom prst="line">
            <a:avLst/>
          </a:prstGeom>
          <a:ln w="19050" cmpd="sng">
            <a:solidFill>
              <a:schemeClr val="bg1"/>
            </a:solidFill>
            <a:prstDash val="dash"/>
          </a:ln>
          <a:effectLst/>
        </p:spPr>
        <p:style>
          <a:lnRef idx="2">
            <a:schemeClr val="accent1"/>
          </a:lnRef>
          <a:fillRef idx="0">
            <a:schemeClr val="accent1"/>
          </a:fillRef>
          <a:effectRef idx="1">
            <a:schemeClr val="accent1"/>
          </a:effectRef>
          <a:fontRef idx="minor">
            <a:schemeClr val="tx1"/>
          </a:fontRef>
        </p:style>
      </p:cxnSp>
      <p:grpSp>
        <p:nvGrpSpPr>
          <p:cNvPr id="154" name="Group 153">
            <a:extLst>
              <a:ext uri="{FF2B5EF4-FFF2-40B4-BE49-F238E27FC236}">
                <a16:creationId xmlns:a16="http://schemas.microsoft.com/office/drawing/2014/main" id="{41A64328-58C4-48F4-B030-862951945B7E}"/>
              </a:ext>
            </a:extLst>
          </p:cNvPr>
          <p:cNvGrpSpPr/>
          <p:nvPr/>
        </p:nvGrpSpPr>
        <p:grpSpPr>
          <a:xfrm>
            <a:off x="632045" y="3425014"/>
            <a:ext cx="957711" cy="621517"/>
            <a:chOff x="1229237" y="4080726"/>
            <a:chExt cx="1165803" cy="658064"/>
          </a:xfrm>
        </p:grpSpPr>
        <p:sp>
          <p:nvSpPr>
            <p:cNvPr id="158" name="TextBox 157">
              <a:extLst>
                <a:ext uri="{FF2B5EF4-FFF2-40B4-BE49-F238E27FC236}">
                  <a16:creationId xmlns:a16="http://schemas.microsoft.com/office/drawing/2014/main" id="{ABB3160D-525C-4D5D-8221-C745CB4A33BD}"/>
                </a:ext>
              </a:extLst>
            </p:cNvPr>
            <p:cNvSpPr txBox="1"/>
            <p:nvPr/>
          </p:nvSpPr>
          <p:spPr>
            <a:xfrm>
              <a:off x="1229237" y="4527310"/>
              <a:ext cx="1165803" cy="211480"/>
            </a:xfrm>
            <a:prstGeom prst="rect">
              <a:avLst/>
            </a:prstGeom>
            <a:noFill/>
          </p:spPr>
          <p:txBody>
            <a:bodyPr wrap="square" rtlCol="0">
              <a:spAutoFit/>
            </a:bodyPr>
            <a:lstStyle/>
            <a:p>
              <a:pPr marL="0" marR="0" lvl="0" indent="0" algn="ctr" defTabSz="511547" rtl="0" eaLnBrk="1" fontAlgn="auto" latinLnBrk="0" hangingPunct="1">
                <a:lnSpc>
                  <a:spcPct val="100000"/>
                </a:lnSpc>
                <a:spcBef>
                  <a:spcPts val="0"/>
                </a:spcBef>
                <a:spcAft>
                  <a:spcPts val="0"/>
                </a:spcAft>
                <a:buClrTx/>
                <a:buSzTx/>
                <a:buFontTx/>
                <a:buNone/>
                <a:tabLst/>
                <a:defRPr/>
              </a:pPr>
              <a:r>
                <a:rPr kumimoji="0" lang="en-US" sz="698" b="1" i="0" u="none" strike="noStrike" kern="0" cap="none" spc="0" normalizeH="0" baseline="0" noProof="0" dirty="0">
                  <a:ln>
                    <a:noFill/>
                  </a:ln>
                  <a:solidFill>
                    <a:srgbClr val="434A52"/>
                  </a:solidFill>
                  <a:effectLst/>
                  <a:uLnTx/>
                  <a:uFillTx/>
                  <a:latin typeface="Arial"/>
                  <a:ea typeface="+mn-ea"/>
                  <a:cs typeface="+mn-cs"/>
                </a:rPr>
                <a:t>500G</a:t>
              </a:r>
            </a:p>
          </p:txBody>
        </p:sp>
        <p:pic>
          <p:nvPicPr>
            <p:cNvPr id="159" name="Picture 158" descr="Gas Meter Round.png">
              <a:extLst>
                <a:ext uri="{FF2B5EF4-FFF2-40B4-BE49-F238E27FC236}">
                  <a16:creationId xmlns:a16="http://schemas.microsoft.com/office/drawing/2014/main" id="{895D3D85-B626-428C-AD91-9FA8881165D9}"/>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643081" y="4080726"/>
              <a:ext cx="338119" cy="437973"/>
            </a:xfrm>
            <a:prstGeom prst="rect">
              <a:avLst/>
            </a:prstGeom>
          </p:spPr>
        </p:pic>
      </p:grpSp>
      <p:grpSp>
        <p:nvGrpSpPr>
          <p:cNvPr id="160" name="Group 159">
            <a:extLst>
              <a:ext uri="{FF2B5EF4-FFF2-40B4-BE49-F238E27FC236}">
                <a16:creationId xmlns:a16="http://schemas.microsoft.com/office/drawing/2014/main" id="{3DD89423-5CB8-44E7-9C88-A9604E9E70DA}"/>
              </a:ext>
            </a:extLst>
          </p:cNvPr>
          <p:cNvGrpSpPr/>
          <p:nvPr/>
        </p:nvGrpSpPr>
        <p:grpSpPr>
          <a:xfrm>
            <a:off x="470236" y="2880121"/>
            <a:ext cx="765113" cy="426048"/>
            <a:chOff x="267717" y="1859852"/>
            <a:chExt cx="767951" cy="427626"/>
          </a:xfrm>
        </p:grpSpPr>
        <p:sp>
          <p:nvSpPr>
            <p:cNvPr id="161" name="TextBox 160">
              <a:extLst>
                <a:ext uri="{FF2B5EF4-FFF2-40B4-BE49-F238E27FC236}">
                  <a16:creationId xmlns:a16="http://schemas.microsoft.com/office/drawing/2014/main" id="{1ADD4F88-8353-4A48-8578-36F0E005CC37}"/>
                </a:ext>
              </a:extLst>
            </p:cNvPr>
            <p:cNvSpPr txBox="1"/>
            <p:nvPr/>
          </p:nvSpPr>
          <p:spPr>
            <a:xfrm>
              <a:off x="267717" y="2087003"/>
              <a:ext cx="767951" cy="200475"/>
            </a:xfrm>
            <a:prstGeom prst="rect">
              <a:avLst/>
            </a:prstGeom>
            <a:noFill/>
          </p:spPr>
          <p:txBody>
            <a:bodyPr wrap="square" rtlCol="0">
              <a:spAutoFit/>
            </a:bodyPr>
            <a:lstStyle/>
            <a:p>
              <a:pPr marL="0" marR="0" lvl="0" indent="0" algn="ctr" defTabSz="340715" rtl="0" eaLnBrk="1" fontAlgn="auto" latinLnBrk="0" hangingPunct="1">
                <a:lnSpc>
                  <a:spcPct val="100000"/>
                </a:lnSpc>
                <a:spcBef>
                  <a:spcPts val="0"/>
                </a:spcBef>
                <a:spcAft>
                  <a:spcPts val="0"/>
                </a:spcAft>
                <a:buClrTx/>
                <a:buSzTx/>
                <a:buFontTx/>
                <a:buNone/>
                <a:tabLst/>
                <a:defRPr/>
              </a:pPr>
              <a:r>
                <a:rPr kumimoji="0" lang="en-US" sz="698" b="1" i="0" u="none" strike="noStrike" kern="1200" cap="none" spc="0" normalizeH="0" baseline="0" noProof="0">
                  <a:ln>
                    <a:noFill/>
                  </a:ln>
                  <a:solidFill>
                    <a:srgbClr val="434A52"/>
                  </a:solidFill>
                  <a:effectLst/>
                  <a:uLnTx/>
                  <a:uFillTx/>
                  <a:latin typeface="Arial"/>
                  <a:ea typeface="+mn-ea"/>
                  <a:cs typeface="+mn-cs"/>
                </a:rPr>
                <a:t>Intelis</a:t>
              </a:r>
            </a:p>
          </p:txBody>
        </p:sp>
        <p:pic>
          <p:nvPicPr>
            <p:cNvPr id="162" name="Picture 161">
              <a:extLst>
                <a:ext uri="{FF2B5EF4-FFF2-40B4-BE49-F238E27FC236}">
                  <a16:creationId xmlns:a16="http://schemas.microsoft.com/office/drawing/2014/main" id="{1C8A711D-0C96-44D3-80CD-A5520177716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97071" y="1859852"/>
              <a:ext cx="358803" cy="248128"/>
            </a:xfrm>
            <a:prstGeom prst="rect">
              <a:avLst/>
            </a:prstGeom>
          </p:spPr>
        </p:pic>
      </p:grpSp>
      <p:cxnSp>
        <p:nvCxnSpPr>
          <p:cNvPr id="163" name="Straight Connector 162">
            <a:extLst>
              <a:ext uri="{FF2B5EF4-FFF2-40B4-BE49-F238E27FC236}">
                <a16:creationId xmlns:a16="http://schemas.microsoft.com/office/drawing/2014/main" id="{425FCB1A-70DC-42ED-8063-CEB707F7563D}"/>
              </a:ext>
            </a:extLst>
          </p:cNvPr>
          <p:cNvCxnSpPr>
            <a:cxnSpLocks/>
          </p:cNvCxnSpPr>
          <p:nvPr/>
        </p:nvCxnSpPr>
        <p:spPr>
          <a:xfrm flipH="1">
            <a:off x="892382" y="2191358"/>
            <a:ext cx="610604" cy="602350"/>
          </a:xfrm>
          <a:prstGeom prst="line">
            <a:avLst/>
          </a:prstGeom>
          <a:ln w="19050" cmpd="sng">
            <a:solidFill>
              <a:schemeClr val="bg1"/>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71" name="Straight Connector 170">
            <a:extLst>
              <a:ext uri="{FF2B5EF4-FFF2-40B4-BE49-F238E27FC236}">
                <a16:creationId xmlns:a16="http://schemas.microsoft.com/office/drawing/2014/main" id="{A4F532CC-FA2D-472A-A0B9-82D879BE10BB}"/>
              </a:ext>
            </a:extLst>
          </p:cNvPr>
          <p:cNvCxnSpPr>
            <a:cxnSpLocks/>
          </p:cNvCxnSpPr>
          <p:nvPr/>
        </p:nvCxnSpPr>
        <p:spPr>
          <a:xfrm flipH="1">
            <a:off x="359187" y="3179028"/>
            <a:ext cx="219551" cy="178651"/>
          </a:xfrm>
          <a:prstGeom prst="line">
            <a:avLst/>
          </a:prstGeom>
          <a:ln w="19050" cmpd="sng">
            <a:solidFill>
              <a:schemeClr val="bg1"/>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72" name="Straight Connector 171">
            <a:extLst>
              <a:ext uri="{FF2B5EF4-FFF2-40B4-BE49-F238E27FC236}">
                <a16:creationId xmlns:a16="http://schemas.microsoft.com/office/drawing/2014/main" id="{E5E3123A-4989-4AEA-A5A7-497C83E454A1}"/>
              </a:ext>
            </a:extLst>
          </p:cNvPr>
          <p:cNvCxnSpPr>
            <a:cxnSpLocks/>
            <a:endCxn id="159" idx="0"/>
          </p:cNvCxnSpPr>
          <p:nvPr/>
        </p:nvCxnSpPr>
        <p:spPr>
          <a:xfrm>
            <a:off x="1052087" y="3206206"/>
            <a:ext cx="58816" cy="218804"/>
          </a:xfrm>
          <a:prstGeom prst="line">
            <a:avLst/>
          </a:prstGeom>
          <a:ln w="19050" cmpd="sng">
            <a:solidFill>
              <a:schemeClr val="bg1"/>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80" name="Straight Connector 179">
            <a:extLst>
              <a:ext uri="{FF2B5EF4-FFF2-40B4-BE49-F238E27FC236}">
                <a16:creationId xmlns:a16="http://schemas.microsoft.com/office/drawing/2014/main" id="{A962DB9F-95EC-43D7-87B8-2B7A88FB4D86}"/>
              </a:ext>
            </a:extLst>
          </p:cNvPr>
          <p:cNvCxnSpPr>
            <a:cxnSpLocks/>
          </p:cNvCxnSpPr>
          <p:nvPr/>
        </p:nvCxnSpPr>
        <p:spPr>
          <a:xfrm>
            <a:off x="2217996" y="3629774"/>
            <a:ext cx="10822" cy="161411"/>
          </a:xfrm>
          <a:prstGeom prst="line">
            <a:avLst/>
          </a:prstGeom>
          <a:ln w="19050" cmpd="sng">
            <a:solidFill>
              <a:schemeClr val="bg1"/>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07" name="Straight Connector 106">
            <a:extLst>
              <a:ext uri="{FF2B5EF4-FFF2-40B4-BE49-F238E27FC236}">
                <a16:creationId xmlns:a16="http://schemas.microsoft.com/office/drawing/2014/main" id="{77CBFC8D-D4A4-4F04-AC9A-1EA22D3437FE}"/>
              </a:ext>
            </a:extLst>
          </p:cNvPr>
          <p:cNvCxnSpPr>
            <a:cxnSpLocks/>
          </p:cNvCxnSpPr>
          <p:nvPr/>
        </p:nvCxnSpPr>
        <p:spPr>
          <a:xfrm flipH="1" flipV="1">
            <a:off x="5858079" y="3579448"/>
            <a:ext cx="1922" cy="400499"/>
          </a:xfrm>
          <a:prstGeom prst="line">
            <a:avLst/>
          </a:prstGeom>
          <a:ln w="19050" cmpd="sng">
            <a:solidFill>
              <a:schemeClr val="bg1"/>
            </a:solidFill>
            <a:prstDash val="dash"/>
          </a:ln>
          <a:effectLst/>
        </p:spPr>
        <p:style>
          <a:lnRef idx="2">
            <a:schemeClr val="accent1"/>
          </a:lnRef>
          <a:fillRef idx="0">
            <a:schemeClr val="accent1"/>
          </a:fillRef>
          <a:effectRef idx="1">
            <a:schemeClr val="accent1"/>
          </a:effectRef>
          <a:fontRef idx="minor">
            <a:schemeClr val="tx1"/>
          </a:fontRef>
        </p:style>
      </p:cxnSp>
      <p:sp>
        <p:nvSpPr>
          <p:cNvPr id="109" name="Rectangle: Rounded Corners 108">
            <a:extLst>
              <a:ext uri="{FF2B5EF4-FFF2-40B4-BE49-F238E27FC236}">
                <a16:creationId xmlns:a16="http://schemas.microsoft.com/office/drawing/2014/main" id="{FDD28E08-84B6-4DEB-BD04-E5146798AE5D}"/>
              </a:ext>
            </a:extLst>
          </p:cNvPr>
          <p:cNvSpPr/>
          <p:nvPr/>
        </p:nvSpPr>
        <p:spPr>
          <a:xfrm>
            <a:off x="5533399" y="2519668"/>
            <a:ext cx="2629344" cy="239694"/>
          </a:xfrm>
          <a:prstGeom prst="roundRect">
            <a:avLst/>
          </a:prstGeom>
          <a:solidFill>
            <a:srgbClr val="FFFFF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3917"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srgbClr val="D02124"/>
                </a:solidFill>
                <a:effectLst/>
                <a:uLnTx/>
                <a:uFillTx/>
                <a:latin typeface="Arial"/>
                <a:ea typeface="+mn-ea"/>
                <a:cs typeface="+mn-cs"/>
              </a:rPr>
              <a:t>Combo / Existing Mesh Areas</a:t>
            </a:r>
          </a:p>
        </p:txBody>
      </p:sp>
      <p:pic>
        <p:nvPicPr>
          <p:cNvPr id="112" name="Picture 111" descr="meter.png">
            <a:extLst>
              <a:ext uri="{FF2B5EF4-FFF2-40B4-BE49-F238E27FC236}">
                <a16:creationId xmlns:a16="http://schemas.microsoft.com/office/drawing/2014/main" id="{37C7AD88-6ED0-4E4B-8730-4B674F6E4F8E}"/>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348449" y="2807901"/>
            <a:ext cx="325545" cy="325545"/>
          </a:xfrm>
          <a:prstGeom prst="rect">
            <a:avLst/>
          </a:prstGeom>
        </p:spPr>
      </p:pic>
      <p:cxnSp>
        <p:nvCxnSpPr>
          <p:cNvPr id="111" name="Straight Connector 110">
            <a:extLst>
              <a:ext uri="{FF2B5EF4-FFF2-40B4-BE49-F238E27FC236}">
                <a16:creationId xmlns:a16="http://schemas.microsoft.com/office/drawing/2014/main" id="{1C970640-A424-46FC-B0A7-74C8205ACB80}"/>
              </a:ext>
            </a:extLst>
          </p:cNvPr>
          <p:cNvCxnSpPr>
            <a:cxnSpLocks/>
            <a:stCxn id="67" idx="0"/>
          </p:cNvCxnSpPr>
          <p:nvPr/>
        </p:nvCxnSpPr>
        <p:spPr>
          <a:xfrm flipH="1" flipV="1">
            <a:off x="4345807" y="1768437"/>
            <a:ext cx="297312" cy="1270142"/>
          </a:xfrm>
          <a:prstGeom prst="line">
            <a:avLst/>
          </a:prstGeom>
          <a:ln w="19050" cmpd="sng">
            <a:solidFill>
              <a:schemeClr val="bg1"/>
            </a:solidFill>
            <a:prstDash val="dash"/>
          </a:ln>
          <a:effectLst/>
        </p:spPr>
        <p:style>
          <a:lnRef idx="2">
            <a:schemeClr val="accent1"/>
          </a:lnRef>
          <a:fillRef idx="0">
            <a:schemeClr val="accent1"/>
          </a:fillRef>
          <a:effectRef idx="1">
            <a:schemeClr val="accent1"/>
          </a:effectRef>
          <a:fontRef idx="minor">
            <a:schemeClr val="tx1"/>
          </a:fontRef>
        </p:style>
      </p:cxnSp>
      <p:sp>
        <p:nvSpPr>
          <p:cNvPr id="113" name="TextBox 112">
            <a:extLst>
              <a:ext uri="{FF2B5EF4-FFF2-40B4-BE49-F238E27FC236}">
                <a16:creationId xmlns:a16="http://schemas.microsoft.com/office/drawing/2014/main" id="{FC11C8AB-609B-419B-92FE-B50A4007A441}"/>
              </a:ext>
            </a:extLst>
          </p:cNvPr>
          <p:cNvSpPr txBox="1"/>
          <p:nvPr/>
        </p:nvSpPr>
        <p:spPr>
          <a:xfrm>
            <a:off x="4315849" y="3478756"/>
            <a:ext cx="599013" cy="306851"/>
          </a:xfrm>
          <a:prstGeom prst="rect">
            <a:avLst/>
          </a:prstGeom>
          <a:noFill/>
        </p:spPr>
        <p:txBody>
          <a:bodyPr wrap="square" rtlCol="0">
            <a:spAutoFit/>
          </a:bodyPr>
          <a:lstStyle/>
          <a:p>
            <a:pPr marL="0" marR="0" lvl="0" indent="0" algn="ctr" defTabSz="511560" rtl="0" eaLnBrk="1" fontAlgn="auto" latinLnBrk="0" hangingPunct="1">
              <a:lnSpc>
                <a:spcPct val="100000"/>
              </a:lnSpc>
              <a:spcBef>
                <a:spcPts val="0"/>
              </a:spcBef>
              <a:spcAft>
                <a:spcPts val="0"/>
              </a:spcAft>
              <a:buClrTx/>
              <a:buSzTx/>
              <a:buFontTx/>
              <a:buNone/>
              <a:tabLst/>
              <a:defRPr/>
            </a:pPr>
            <a:r>
              <a:rPr kumimoji="0" lang="en-US" sz="697" b="1" i="0" u="none" strike="noStrike" kern="0" cap="none" spc="0" normalizeH="0" baseline="0" noProof="0">
                <a:ln>
                  <a:noFill/>
                </a:ln>
                <a:solidFill>
                  <a:srgbClr val="434A52"/>
                </a:solidFill>
                <a:effectLst/>
                <a:uLnTx/>
                <a:uFillTx/>
                <a:latin typeface="Arial"/>
                <a:ea typeface="+mn-ea"/>
                <a:cs typeface="+mn-cs"/>
              </a:rPr>
              <a:t>Intelis</a:t>
            </a:r>
          </a:p>
          <a:p>
            <a:pPr marL="0" marR="0" lvl="0" indent="0" algn="ctr" defTabSz="511560" rtl="0" eaLnBrk="1" fontAlgn="auto" latinLnBrk="0" hangingPunct="1">
              <a:lnSpc>
                <a:spcPct val="100000"/>
              </a:lnSpc>
              <a:spcBef>
                <a:spcPts val="0"/>
              </a:spcBef>
              <a:spcAft>
                <a:spcPts val="0"/>
              </a:spcAft>
              <a:buClrTx/>
              <a:buSzTx/>
              <a:buFontTx/>
              <a:buNone/>
              <a:tabLst/>
              <a:defRPr/>
            </a:pPr>
            <a:r>
              <a:rPr kumimoji="0" lang="en-US" sz="697" b="1" i="0" u="none" strike="noStrike" kern="0" cap="none" spc="0" normalizeH="0" baseline="0" noProof="0">
                <a:ln>
                  <a:noFill/>
                </a:ln>
                <a:solidFill>
                  <a:srgbClr val="434A52"/>
                </a:solidFill>
                <a:effectLst/>
                <a:uLnTx/>
                <a:uFillTx/>
                <a:latin typeface="Arial"/>
                <a:ea typeface="+mn-ea"/>
                <a:cs typeface="+mn-cs"/>
              </a:rPr>
              <a:t>Cellular</a:t>
            </a:r>
          </a:p>
        </p:txBody>
      </p:sp>
      <p:cxnSp>
        <p:nvCxnSpPr>
          <p:cNvPr id="114" name="Straight Connector 113">
            <a:extLst>
              <a:ext uri="{FF2B5EF4-FFF2-40B4-BE49-F238E27FC236}">
                <a16:creationId xmlns:a16="http://schemas.microsoft.com/office/drawing/2014/main" id="{74345DFE-67A0-443B-B5C5-3B6A7F7F645D}"/>
              </a:ext>
            </a:extLst>
          </p:cNvPr>
          <p:cNvCxnSpPr>
            <a:cxnSpLocks/>
          </p:cNvCxnSpPr>
          <p:nvPr/>
        </p:nvCxnSpPr>
        <p:spPr>
          <a:xfrm flipH="1">
            <a:off x="5922093" y="3084669"/>
            <a:ext cx="385575" cy="267859"/>
          </a:xfrm>
          <a:prstGeom prst="line">
            <a:avLst/>
          </a:prstGeom>
          <a:ln w="19050" cmpd="sng">
            <a:solidFill>
              <a:schemeClr val="bg1"/>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16" name="Straight Connector 115">
            <a:extLst>
              <a:ext uri="{FF2B5EF4-FFF2-40B4-BE49-F238E27FC236}">
                <a16:creationId xmlns:a16="http://schemas.microsoft.com/office/drawing/2014/main" id="{D33B5841-A836-4E87-8BC9-B74E73F97977}"/>
              </a:ext>
            </a:extLst>
          </p:cNvPr>
          <p:cNvCxnSpPr>
            <a:cxnSpLocks/>
          </p:cNvCxnSpPr>
          <p:nvPr/>
        </p:nvCxnSpPr>
        <p:spPr>
          <a:xfrm>
            <a:off x="6771333" y="3084669"/>
            <a:ext cx="370209" cy="287203"/>
          </a:xfrm>
          <a:prstGeom prst="line">
            <a:avLst/>
          </a:prstGeom>
          <a:ln w="19050" cmpd="sng">
            <a:solidFill>
              <a:schemeClr val="bg1"/>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20" name="Straight Connector 119">
            <a:extLst>
              <a:ext uri="{FF2B5EF4-FFF2-40B4-BE49-F238E27FC236}">
                <a16:creationId xmlns:a16="http://schemas.microsoft.com/office/drawing/2014/main" id="{58A5C10A-2C90-4244-A015-EC8C864E88A3}"/>
              </a:ext>
            </a:extLst>
          </p:cNvPr>
          <p:cNvCxnSpPr>
            <a:cxnSpLocks/>
            <a:stCxn id="112" idx="2"/>
          </p:cNvCxnSpPr>
          <p:nvPr/>
        </p:nvCxnSpPr>
        <p:spPr>
          <a:xfrm>
            <a:off x="6511222" y="3133446"/>
            <a:ext cx="18512" cy="356501"/>
          </a:xfrm>
          <a:prstGeom prst="line">
            <a:avLst/>
          </a:prstGeom>
          <a:ln w="19050" cmpd="sng">
            <a:solidFill>
              <a:schemeClr val="bg1"/>
            </a:solidFill>
            <a:prstDash val="dash"/>
          </a:ln>
          <a:effectLst/>
        </p:spPr>
        <p:style>
          <a:lnRef idx="2">
            <a:schemeClr val="accent1"/>
          </a:lnRef>
          <a:fillRef idx="0">
            <a:schemeClr val="accent1"/>
          </a:fillRef>
          <a:effectRef idx="1">
            <a:schemeClr val="accent1"/>
          </a:effectRef>
          <a:fontRef idx="minor">
            <a:schemeClr val="tx1"/>
          </a:fontRef>
        </p:style>
      </p:cxnSp>
      <p:pic>
        <p:nvPicPr>
          <p:cNvPr id="121" name="Picture 120" descr="meter.png">
            <a:extLst>
              <a:ext uri="{FF2B5EF4-FFF2-40B4-BE49-F238E27FC236}">
                <a16:creationId xmlns:a16="http://schemas.microsoft.com/office/drawing/2014/main" id="{0DEB9626-C8DD-4CC1-A32C-7257D3E0F42B}"/>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5699377" y="3296017"/>
            <a:ext cx="325545" cy="325545"/>
          </a:xfrm>
          <a:prstGeom prst="rect">
            <a:avLst/>
          </a:prstGeom>
        </p:spPr>
      </p:pic>
      <p:cxnSp>
        <p:nvCxnSpPr>
          <p:cNvPr id="127" name="Straight Connector 126">
            <a:extLst>
              <a:ext uri="{FF2B5EF4-FFF2-40B4-BE49-F238E27FC236}">
                <a16:creationId xmlns:a16="http://schemas.microsoft.com/office/drawing/2014/main" id="{03087426-1369-49B7-9322-701004D6EAA8}"/>
              </a:ext>
            </a:extLst>
          </p:cNvPr>
          <p:cNvCxnSpPr>
            <a:cxnSpLocks/>
          </p:cNvCxnSpPr>
          <p:nvPr/>
        </p:nvCxnSpPr>
        <p:spPr>
          <a:xfrm>
            <a:off x="6538375" y="3656809"/>
            <a:ext cx="5972" cy="280658"/>
          </a:xfrm>
          <a:prstGeom prst="line">
            <a:avLst/>
          </a:prstGeom>
          <a:ln w="19050" cmpd="sng">
            <a:solidFill>
              <a:schemeClr val="bg1"/>
            </a:solidFill>
            <a:prstDash val="dash"/>
          </a:ln>
          <a:effectLst/>
        </p:spPr>
        <p:style>
          <a:lnRef idx="2">
            <a:schemeClr val="accent1"/>
          </a:lnRef>
          <a:fillRef idx="0">
            <a:schemeClr val="accent1"/>
          </a:fillRef>
          <a:effectRef idx="1">
            <a:schemeClr val="accent1"/>
          </a:effectRef>
          <a:fontRef idx="minor">
            <a:schemeClr val="tx1"/>
          </a:fontRef>
        </p:style>
      </p:cxnSp>
      <p:pic>
        <p:nvPicPr>
          <p:cNvPr id="122" name="Picture 121" descr="meter.png">
            <a:extLst>
              <a:ext uri="{FF2B5EF4-FFF2-40B4-BE49-F238E27FC236}">
                <a16:creationId xmlns:a16="http://schemas.microsoft.com/office/drawing/2014/main" id="{46D61562-93D1-4607-8A1A-887D124A977E}"/>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340420" y="3371465"/>
            <a:ext cx="325545" cy="325545"/>
          </a:xfrm>
          <a:prstGeom prst="rect">
            <a:avLst/>
          </a:prstGeom>
        </p:spPr>
      </p:pic>
      <p:pic>
        <p:nvPicPr>
          <p:cNvPr id="128" name="Picture 142">
            <a:extLst>
              <a:ext uri="{FF2B5EF4-FFF2-40B4-BE49-F238E27FC236}">
                <a16:creationId xmlns:a16="http://schemas.microsoft.com/office/drawing/2014/main" id="{3DE409E9-32BE-4FD9-8E2A-4CB8D57B598C}"/>
              </a:ext>
            </a:extLst>
          </p:cNvPr>
          <p:cNvPicPr>
            <a:picLocks noChangeAspect="1"/>
          </p:cNvPicPr>
          <p:nvPr/>
        </p:nvPicPr>
        <p:blipFill>
          <a:blip r:embed="rId8" cstate="screen">
            <a:grayscl/>
            <a:extLst>
              <a:ext uri="{28A0092B-C50C-407E-A947-70E740481C1C}">
                <a14:useLocalDpi xmlns:a14="http://schemas.microsoft.com/office/drawing/2010/main"/>
              </a:ext>
            </a:extLst>
          </a:blip>
          <a:srcRect/>
          <a:stretch>
            <a:fillRect/>
          </a:stretch>
        </p:blipFill>
        <p:spPr bwMode="auto">
          <a:xfrm>
            <a:off x="6289866" y="1888498"/>
            <a:ext cx="382115" cy="59922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nvGrpSpPr>
          <p:cNvPr id="17" name="Group 16">
            <a:extLst>
              <a:ext uri="{FF2B5EF4-FFF2-40B4-BE49-F238E27FC236}">
                <a16:creationId xmlns:a16="http://schemas.microsoft.com/office/drawing/2014/main" id="{64AE9130-2D8B-4E31-B2BE-F58DAFD6DB46}"/>
              </a:ext>
            </a:extLst>
          </p:cNvPr>
          <p:cNvGrpSpPr/>
          <p:nvPr/>
        </p:nvGrpSpPr>
        <p:grpSpPr>
          <a:xfrm>
            <a:off x="5272326" y="1044387"/>
            <a:ext cx="885953" cy="399712"/>
            <a:chOff x="5034301" y="1090196"/>
            <a:chExt cx="885953" cy="399712"/>
          </a:xfrm>
        </p:grpSpPr>
        <p:pic>
          <p:nvPicPr>
            <p:cNvPr id="45" name="Picture 64" descr="larg-wan-cloud.png">
              <a:extLst>
                <a:ext uri="{FF2B5EF4-FFF2-40B4-BE49-F238E27FC236}">
                  <a16:creationId xmlns:a16="http://schemas.microsoft.com/office/drawing/2014/main" id="{B2F111B5-6BDE-4132-BE94-BF58208DFA4B}"/>
                </a:ext>
              </a:extLst>
            </p:cNvPr>
            <p:cNvPicPr>
              <a:picLocks noChangeAspect="1"/>
            </p:cNvPicPr>
            <p:nvPr/>
          </p:nvPicPr>
          <p:blipFill>
            <a:blip r:embed="rId9" cstate="print">
              <a:extLst>
                <a:ext uri="{28A0092B-C50C-407E-A947-70E740481C1C}">
                  <a14:useLocalDpi xmlns:a14="http://schemas.microsoft.com/office/drawing/2010/main"/>
                </a:ext>
              </a:extLst>
            </a:blip>
            <a:srcRect/>
            <a:stretch>
              <a:fillRect/>
            </a:stretch>
          </p:blipFill>
          <p:spPr bwMode="auto">
            <a:xfrm>
              <a:off x="5034301" y="1090196"/>
              <a:ext cx="885953" cy="399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6" name="TextBox 45">
              <a:extLst>
                <a:ext uri="{FF2B5EF4-FFF2-40B4-BE49-F238E27FC236}">
                  <a16:creationId xmlns:a16="http://schemas.microsoft.com/office/drawing/2014/main" id="{65173803-93EC-4C54-9D90-04BD8B04FEB1}"/>
                </a:ext>
              </a:extLst>
            </p:cNvPr>
            <p:cNvSpPr txBox="1"/>
            <p:nvPr/>
          </p:nvSpPr>
          <p:spPr>
            <a:xfrm>
              <a:off x="5200533" y="1133922"/>
              <a:ext cx="581672" cy="299485"/>
            </a:xfrm>
            <a:prstGeom prst="rect">
              <a:avLst/>
            </a:prstGeom>
            <a:noFill/>
          </p:spPr>
          <p:txBody>
            <a:bodyPr wrap="none" rtlCol="0">
              <a:spAutoFit/>
            </a:bodyPr>
            <a:lstStyle/>
            <a:p>
              <a:pPr marL="0" marR="0" lvl="0" indent="0" algn="l" defTabSz="683917" rtl="0" eaLnBrk="1" fontAlgn="auto" latinLnBrk="0" hangingPunct="1">
                <a:lnSpc>
                  <a:spcPct val="100000"/>
                </a:lnSpc>
                <a:spcBef>
                  <a:spcPts val="0"/>
                </a:spcBef>
                <a:spcAft>
                  <a:spcPts val="0"/>
                </a:spcAft>
                <a:buClrTx/>
                <a:buSzTx/>
                <a:buFontTx/>
                <a:buNone/>
                <a:tabLst/>
                <a:defRPr/>
              </a:pPr>
              <a:r>
                <a:rPr kumimoji="0" lang="en-US" sz="1347" b="0" i="0" u="none" strike="noStrike" kern="1200" cap="none" spc="0" normalizeH="0" baseline="0" noProof="0" dirty="0">
                  <a:ln>
                    <a:noFill/>
                  </a:ln>
                  <a:solidFill>
                    <a:srgbClr val="141619"/>
                  </a:solidFill>
                  <a:effectLst/>
                  <a:uLnTx/>
                  <a:uFillTx/>
                  <a:latin typeface="Arial"/>
                  <a:ea typeface="+mn-ea"/>
                  <a:cs typeface="+mn-cs"/>
                </a:rPr>
                <a:t>WAN</a:t>
              </a:r>
            </a:p>
          </p:txBody>
        </p:sp>
      </p:grpSp>
      <p:grpSp>
        <p:nvGrpSpPr>
          <p:cNvPr id="432" name="Group 431">
            <a:extLst>
              <a:ext uri="{FF2B5EF4-FFF2-40B4-BE49-F238E27FC236}">
                <a16:creationId xmlns:a16="http://schemas.microsoft.com/office/drawing/2014/main" id="{C4703C17-D153-41A0-AD38-8EE4B1146C90}"/>
              </a:ext>
            </a:extLst>
          </p:cNvPr>
          <p:cNvGrpSpPr/>
          <p:nvPr/>
        </p:nvGrpSpPr>
        <p:grpSpPr>
          <a:xfrm>
            <a:off x="3710401" y="923216"/>
            <a:ext cx="1009708" cy="848896"/>
            <a:chOff x="6000445" y="3069662"/>
            <a:chExt cx="1088455" cy="861539"/>
          </a:xfrm>
        </p:grpSpPr>
        <p:sp>
          <p:nvSpPr>
            <p:cNvPr id="433" name="TextBox 432">
              <a:extLst>
                <a:ext uri="{FF2B5EF4-FFF2-40B4-BE49-F238E27FC236}">
                  <a16:creationId xmlns:a16="http://schemas.microsoft.com/office/drawing/2014/main" id="{63DFEBE4-8E49-4DDE-945B-B6A11365D817}"/>
                </a:ext>
              </a:extLst>
            </p:cNvPr>
            <p:cNvSpPr txBox="1"/>
            <p:nvPr/>
          </p:nvSpPr>
          <p:spPr>
            <a:xfrm>
              <a:off x="6000445" y="3619752"/>
              <a:ext cx="1088455" cy="311449"/>
            </a:xfrm>
            <a:prstGeom prst="rect">
              <a:avLst/>
            </a:prstGeom>
            <a:noFill/>
          </p:spPr>
          <p:txBody>
            <a:bodyPr wrap="square" rtlCol="0">
              <a:spAutoFit/>
            </a:bodyPr>
            <a:lstStyle/>
            <a:p>
              <a:pPr marL="0" marR="0" lvl="0" indent="0" algn="ctr" defTabSz="680832" rtl="0" eaLnBrk="1" fontAlgn="auto" latinLnBrk="0" hangingPunct="1">
                <a:lnSpc>
                  <a:spcPct val="100000"/>
                </a:lnSpc>
                <a:spcBef>
                  <a:spcPts val="0"/>
                </a:spcBef>
                <a:spcAft>
                  <a:spcPts val="0"/>
                </a:spcAft>
                <a:buClrTx/>
                <a:buSzTx/>
                <a:buFontTx/>
                <a:buNone/>
                <a:tabLst/>
                <a:defRPr/>
              </a:pPr>
              <a:r>
                <a:rPr kumimoji="0" lang="en-US" sz="697" b="1" i="0" u="none" strike="noStrike" kern="0" cap="none" spc="0" normalizeH="0" baseline="0" noProof="0" dirty="0">
                  <a:ln>
                    <a:noFill/>
                  </a:ln>
                  <a:solidFill>
                    <a:srgbClr val="434A52"/>
                  </a:solidFill>
                  <a:effectLst/>
                  <a:uLnTx/>
                  <a:uFillTx/>
                  <a:latin typeface="Arial"/>
                  <a:ea typeface="+mn-ea"/>
                  <a:cs typeface="+mn-cs"/>
                </a:rPr>
                <a:t>LTE Wireless Network</a:t>
              </a:r>
            </a:p>
          </p:txBody>
        </p:sp>
        <p:pic>
          <p:nvPicPr>
            <p:cNvPr id="434" name="Picture 433">
              <a:extLst>
                <a:ext uri="{FF2B5EF4-FFF2-40B4-BE49-F238E27FC236}">
                  <a16:creationId xmlns:a16="http://schemas.microsoft.com/office/drawing/2014/main" id="{29A721E8-EC05-4AE5-9E33-D9743483235A}"/>
                </a:ext>
              </a:extLst>
            </p:cNvPr>
            <p:cNvPicPr>
              <a:picLocks noChangeAspect="1"/>
            </p:cNvPicPr>
            <p:nvPr/>
          </p:nvPicPr>
          <p:blipFill>
            <a:blip r:embed="rId10"/>
            <a:stretch>
              <a:fillRect/>
            </a:stretch>
          </p:blipFill>
          <p:spPr>
            <a:xfrm>
              <a:off x="6236619" y="3069662"/>
              <a:ext cx="595282" cy="595282"/>
            </a:xfrm>
            <a:prstGeom prst="rect">
              <a:avLst/>
            </a:prstGeom>
          </p:spPr>
        </p:pic>
      </p:grpSp>
      <p:cxnSp>
        <p:nvCxnSpPr>
          <p:cNvPr id="96" name="Straight Connector 95">
            <a:extLst>
              <a:ext uri="{FF2B5EF4-FFF2-40B4-BE49-F238E27FC236}">
                <a16:creationId xmlns:a16="http://schemas.microsoft.com/office/drawing/2014/main" id="{BE3B2B99-6E8D-44F3-9270-AB77DEE8C222}"/>
              </a:ext>
            </a:extLst>
          </p:cNvPr>
          <p:cNvCxnSpPr>
            <a:cxnSpLocks/>
          </p:cNvCxnSpPr>
          <p:nvPr/>
        </p:nvCxnSpPr>
        <p:spPr>
          <a:xfrm flipH="1" flipV="1">
            <a:off x="7698895" y="3202945"/>
            <a:ext cx="105980" cy="402240"/>
          </a:xfrm>
          <a:prstGeom prst="line">
            <a:avLst/>
          </a:prstGeom>
          <a:ln w="19050" cmpd="sng">
            <a:solidFill>
              <a:schemeClr val="bg1"/>
            </a:solidFill>
            <a:prstDash val="dash"/>
          </a:ln>
          <a:effectLst/>
        </p:spPr>
        <p:style>
          <a:lnRef idx="2">
            <a:schemeClr val="accent1"/>
          </a:lnRef>
          <a:fillRef idx="0">
            <a:schemeClr val="accent1"/>
          </a:fillRef>
          <a:effectRef idx="1">
            <a:schemeClr val="accent1"/>
          </a:effectRef>
          <a:fontRef idx="minor">
            <a:schemeClr val="tx1"/>
          </a:fontRef>
        </p:style>
      </p:cxnSp>
      <p:grpSp>
        <p:nvGrpSpPr>
          <p:cNvPr id="99" name="Group 98">
            <a:extLst>
              <a:ext uri="{FF2B5EF4-FFF2-40B4-BE49-F238E27FC236}">
                <a16:creationId xmlns:a16="http://schemas.microsoft.com/office/drawing/2014/main" id="{C7DDC55F-A483-440E-A19E-585B371FF01B}"/>
              </a:ext>
            </a:extLst>
          </p:cNvPr>
          <p:cNvGrpSpPr/>
          <p:nvPr/>
        </p:nvGrpSpPr>
        <p:grpSpPr>
          <a:xfrm>
            <a:off x="7947751" y="3817006"/>
            <a:ext cx="957711" cy="621517"/>
            <a:chOff x="1229237" y="4080726"/>
            <a:chExt cx="1165803" cy="658064"/>
          </a:xfrm>
        </p:grpSpPr>
        <p:sp>
          <p:nvSpPr>
            <p:cNvPr id="100" name="TextBox 99">
              <a:extLst>
                <a:ext uri="{FF2B5EF4-FFF2-40B4-BE49-F238E27FC236}">
                  <a16:creationId xmlns:a16="http://schemas.microsoft.com/office/drawing/2014/main" id="{17E78C6E-39C7-4F41-BA29-13702DB28325}"/>
                </a:ext>
              </a:extLst>
            </p:cNvPr>
            <p:cNvSpPr txBox="1"/>
            <p:nvPr/>
          </p:nvSpPr>
          <p:spPr>
            <a:xfrm>
              <a:off x="1229237" y="4527310"/>
              <a:ext cx="1165803" cy="211480"/>
            </a:xfrm>
            <a:prstGeom prst="rect">
              <a:avLst/>
            </a:prstGeom>
            <a:noFill/>
          </p:spPr>
          <p:txBody>
            <a:bodyPr wrap="square" rtlCol="0">
              <a:spAutoFit/>
            </a:bodyPr>
            <a:lstStyle/>
            <a:p>
              <a:pPr marL="0" marR="0" lvl="0" indent="0" algn="ctr" defTabSz="511547" rtl="0" eaLnBrk="1" fontAlgn="auto" latinLnBrk="0" hangingPunct="1">
                <a:lnSpc>
                  <a:spcPct val="100000"/>
                </a:lnSpc>
                <a:spcBef>
                  <a:spcPts val="0"/>
                </a:spcBef>
                <a:spcAft>
                  <a:spcPts val="0"/>
                </a:spcAft>
                <a:buClrTx/>
                <a:buSzTx/>
                <a:buFontTx/>
                <a:buNone/>
                <a:tabLst/>
                <a:defRPr/>
              </a:pPr>
              <a:r>
                <a:rPr kumimoji="0" lang="en-US" sz="698" b="1" i="0" u="none" strike="noStrike" kern="0" cap="none" spc="0" normalizeH="0" baseline="0" noProof="0">
                  <a:ln>
                    <a:noFill/>
                  </a:ln>
                  <a:solidFill>
                    <a:srgbClr val="434A52"/>
                  </a:solidFill>
                  <a:effectLst/>
                  <a:uLnTx/>
                  <a:uFillTx/>
                  <a:latin typeface="Arial"/>
                  <a:ea typeface="+mn-ea"/>
                  <a:cs typeface="+mn-cs"/>
                </a:rPr>
                <a:t>500G</a:t>
              </a:r>
            </a:p>
          </p:txBody>
        </p:sp>
        <p:pic>
          <p:nvPicPr>
            <p:cNvPr id="101" name="Picture 100" descr="Gas Meter Round.png">
              <a:extLst>
                <a:ext uri="{FF2B5EF4-FFF2-40B4-BE49-F238E27FC236}">
                  <a16:creationId xmlns:a16="http://schemas.microsoft.com/office/drawing/2014/main" id="{04D8AAE0-E4F2-42DC-B840-EFF7453177F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643081" y="4080726"/>
              <a:ext cx="338119" cy="437973"/>
            </a:xfrm>
            <a:prstGeom prst="rect">
              <a:avLst/>
            </a:prstGeom>
          </p:spPr>
        </p:pic>
      </p:grpSp>
      <p:cxnSp>
        <p:nvCxnSpPr>
          <p:cNvPr id="102" name="Straight Connector 101">
            <a:extLst>
              <a:ext uri="{FF2B5EF4-FFF2-40B4-BE49-F238E27FC236}">
                <a16:creationId xmlns:a16="http://schemas.microsoft.com/office/drawing/2014/main" id="{7D693A71-1309-42E7-A283-53DDE17D16A8}"/>
              </a:ext>
            </a:extLst>
          </p:cNvPr>
          <p:cNvCxnSpPr>
            <a:cxnSpLocks/>
          </p:cNvCxnSpPr>
          <p:nvPr/>
        </p:nvCxnSpPr>
        <p:spPr>
          <a:xfrm>
            <a:off x="8324029" y="3365717"/>
            <a:ext cx="38199" cy="371835"/>
          </a:xfrm>
          <a:prstGeom prst="line">
            <a:avLst/>
          </a:prstGeom>
          <a:ln w="19050" cmpd="sng">
            <a:solidFill>
              <a:schemeClr val="bg1"/>
            </a:solidFill>
            <a:prstDash val="dash"/>
          </a:ln>
          <a:effectLst/>
        </p:spPr>
        <p:style>
          <a:lnRef idx="2">
            <a:schemeClr val="accent1"/>
          </a:lnRef>
          <a:fillRef idx="0">
            <a:schemeClr val="accent1"/>
          </a:fillRef>
          <a:effectRef idx="1">
            <a:schemeClr val="accent1"/>
          </a:effectRef>
          <a:fontRef idx="minor">
            <a:schemeClr val="tx1"/>
          </a:fontRef>
        </p:style>
      </p:cxnSp>
      <p:pic>
        <p:nvPicPr>
          <p:cNvPr id="92" name="Picture 91" descr="street lights.png">
            <a:extLst>
              <a:ext uri="{FF2B5EF4-FFF2-40B4-BE49-F238E27FC236}">
                <a16:creationId xmlns:a16="http://schemas.microsoft.com/office/drawing/2014/main" id="{95A16242-474F-4C4F-8256-1392861004C4}"/>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7419522" y="2847617"/>
            <a:ext cx="337164" cy="301848"/>
          </a:xfrm>
          <a:prstGeom prst="rect">
            <a:avLst/>
          </a:prstGeom>
        </p:spPr>
      </p:pic>
      <p:pic>
        <p:nvPicPr>
          <p:cNvPr id="103" name="Picture 102" descr="street lights.png">
            <a:extLst>
              <a:ext uri="{FF2B5EF4-FFF2-40B4-BE49-F238E27FC236}">
                <a16:creationId xmlns:a16="http://schemas.microsoft.com/office/drawing/2014/main" id="{FF7EFE57-6C7C-42E0-BD67-9F3A6B6521E5}"/>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8061204" y="3022450"/>
            <a:ext cx="408040" cy="365300"/>
          </a:xfrm>
          <a:prstGeom prst="rect">
            <a:avLst/>
          </a:prstGeom>
        </p:spPr>
      </p:pic>
      <p:sp>
        <p:nvSpPr>
          <p:cNvPr id="165" name="Rectangle: Rounded Corners 164">
            <a:extLst>
              <a:ext uri="{FF2B5EF4-FFF2-40B4-BE49-F238E27FC236}">
                <a16:creationId xmlns:a16="http://schemas.microsoft.com/office/drawing/2014/main" id="{C3A8411D-CB48-42E5-9591-465CE210F759}"/>
              </a:ext>
            </a:extLst>
          </p:cNvPr>
          <p:cNvSpPr/>
          <p:nvPr/>
        </p:nvSpPr>
        <p:spPr>
          <a:xfrm>
            <a:off x="704593" y="2394604"/>
            <a:ext cx="4191888" cy="413649"/>
          </a:xfrm>
          <a:prstGeom prst="roundRect">
            <a:avLst/>
          </a:prstGeom>
          <a:solidFill>
            <a:srgbClr val="FFFFF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39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D02124"/>
                </a:solidFill>
                <a:effectLst/>
                <a:uLnTx/>
                <a:uFillTx/>
                <a:latin typeface="Arial"/>
                <a:ea typeface="+mn-ea"/>
                <a:cs typeface="+mn-cs"/>
              </a:rPr>
              <a:t>Gas/Water Only Areas</a:t>
            </a:r>
          </a:p>
        </p:txBody>
      </p:sp>
      <p:grpSp>
        <p:nvGrpSpPr>
          <p:cNvPr id="10" name="Group 9">
            <a:extLst>
              <a:ext uri="{FF2B5EF4-FFF2-40B4-BE49-F238E27FC236}">
                <a16:creationId xmlns:a16="http://schemas.microsoft.com/office/drawing/2014/main" id="{CBC4B1EF-FA5B-5D49-BCFC-80A834F51F71}"/>
              </a:ext>
            </a:extLst>
          </p:cNvPr>
          <p:cNvGrpSpPr/>
          <p:nvPr/>
        </p:nvGrpSpPr>
        <p:grpSpPr>
          <a:xfrm>
            <a:off x="6069665" y="3924748"/>
            <a:ext cx="957711" cy="621517"/>
            <a:chOff x="1229237" y="4080726"/>
            <a:chExt cx="1165803" cy="658064"/>
          </a:xfrm>
        </p:grpSpPr>
        <p:sp>
          <p:nvSpPr>
            <p:cNvPr id="11" name="TextBox 10">
              <a:extLst>
                <a:ext uri="{FF2B5EF4-FFF2-40B4-BE49-F238E27FC236}">
                  <a16:creationId xmlns:a16="http://schemas.microsoft.com/office/drawing/2014/main" id="{5789CDE8-BB42-3DCB-FC6B-DA42FDDCEC15}"/>
                </a:ext>
              </a:extLst>
            </p:cNvPr>
            <p:cNvSpPr txBox="1"/>
            <p:nvPr/>
          </p:nvSpPr>
          <p:spPr>
            <a:xfrm>
              <a:off x="1229237" y="4527310"/>
              <a:ext cx="1165803" cy="211480"/>
            </a:xfrm>
            <a:prstGeom prst="rect">
              <a:avLst/>
            </a:prstGeom>
            <a:noFill/>
          </p:spPr>
          <p:txBody>
            <a:bodyPr wrap="square" rtlCol="0">
              <a:spAutoFit/>
            </a:bodyPr>
            <a:lstStyle/>
            <a:p>
              <a:pPr marL="0" marR="0" lvl="0" indent="0" algn="ctr" defTabSz="511547" rtl="0" eaLnBrk="1" fontAlgn="auto" latinLnBrk="0" hangingPunct="1">
                <a:lnSpc>
                  <a:spcPct val="100000"/>
                </a:lnSpc>
                <a:spcBef>
                  <a:spcPts val="0"/>
                </a:spcBef>
                <a:spcAft>
                  <a:spcPts val="0"/>
                </a:spcAft>
                <a:buClrTx/>
                <a:buSzTx/>
                <a:buFontTx/>
                <a:buNone/>
                <a:tabLst/>
                <a:defRPr/>
              </a:pPr>
              <a:r>
                <a:rPr kumimoji="0" lang="en-US" sz="698" b="1" i="0" u="none" strike="noStrike" kern="0" cap="none" spc="0" normalizeH="0" baseline="0" noProof="0">
                  <a:ln>
                    <a:noFill/>
                  </a:ln>
                  <a:solidFill>
                    <a:srgbClr val="434A52"/>
                  </a:solidFill>
                  <a:effectLst/>
                  <a:uLnTx/>
                  <a:uFillTx/>
                  <a:latin typeface="Arial"/>
                  <a:ea typeface="+mn-ea"/>
                  <a:cs typeface="+mn-cs"/>
                </a:rPr>
                <a:t>500G</a:t>
              </a:r>
            </a:p>
          </p:txBody>
        </p:sp>
        <p:pic>
          <p:nvPicPr>
            <p:cNvPr id="12" name="Picture 11" descr="Gas Meter Round.png">
              <a:extLst>
                <a:ext uri="{FF2B5EF4-FFF2-40B4-BE49-F238E27FC236}">
                  <a16:creationId xmlns:a16="http://schemas.microsoft.com/office/drawing/2014/main" id="{314A0C46-B526-C800-5A15-3CD9F416EAA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643081" y="4080726"/>
              <a:ext cx="338119" cy="437973"/>
            </a:xfrm>
            <a:prstGeom prst="rect">
              <a:avLst/>
            </a:prstGeom>
          </p:spPr>
        </p:pic>
      </p:grpSp>
      <p:grpSp>
        <p:nvGrpSpPr>
          <p:cNvPr id="13" name="Group 12">
            <a:extLst>
              <a:ext uri="{FF2B5EF4-FFF2-40B4-BE49-F238E27FC236}">
                <a16:creationId xmlns:a16="http://schemas.microsoft.com/office/drawing/2014/main" id="{96183B4C-6C50-1777-06D9-119F7674EC61}"/>
              </a:ext>
            </a:extLst>
          </p:cNvPr>
          <p:cNvGrpSpPr/>
          <p:nvPr/>
        </p:nvGrpSpPr>
        <p:grpSpPr>
          <a:xfrm>
            <a:off x="1768939" y="3658965"/>
            <a:ext cx="957711" cy="621517"/>
            <a:chOff x="1229237" y="4080726"/>
            <a:chExt cx="1165803" cy="658064"/>
          </a:xfrm>
        </p:grpSpPr>
        <p:sp>
          <p:nvSpPr>
            <p:cNvPr id="14" name="TextBox 13">
              <a:extLst>
                <a:ext uri="{FF2B5EF4-FFF2-40B4-BE49-F238E27FC236}">
                  <a16:creationId xmlns:a16="http://schemas.microsoft.com/office/drawing/2014/main" id="{9D4F1C46-1515-894C-DC8B-6C943FD60BD8}"/>
                </a:ext>
              </a:extLst>
            </p:cNvPr>
            <p:cNvSpPr txBox="1"/>
            <p:nvPr/>
          </p:nvSpPr>
          <p:spPr>
            <a:xfrm>
              <a:off x="1229237" y="4527310"/>
              <a:ext cx="1165803" cy="211480"/>
            </a:xfrm>
            <a:prstGeom prst="rect">
              <a:avLst/>
            </a:prstGeom>
            <a:noFill/>
          </p:spPr>
          <p:txBody>
            <a:bodyPr wrap="square" rtlCol="0">
              <a:spAutoFit/>
            </a:bodyPr>
            <a:lstStyle/>
            <a:p>
              <a:pPr marL="0" marR="0" lvl="0" indent="0" algn="ctr" defTabSz="511547" rtl="0" eaLnBrk="1" fontAlgn="auto" latinLnBrk="0" hangingPunct="1">
                <a:lnSpc>
                  <a:spcPct val="100000"/>
                </a:lnSpc>
                <a:spcBef>
                  <a:spcPts val="0"/>
                </a:spcBef>
                <a:spcAft>
                  <a:spcPts val="0"/>
                </a:spcAft>
                <a:buClrTx/>
                <a:buSzTx/>
                <a:buFontTx/>
                <a:buNone/>
                <a:tabLst/>
                <a:defRPr/>
              </a:pPr>
              <a:r>
                <a:rPr kumimoji="0" lang="en-US" sz="698" b="1" i="0" u="none" strike="noStrike" kern="0" cap="none" spc="0" normalizeH="0" baseline="0" noProof="0">
                  <a:ln>
                    <a:noFill/>
                  </a:ln>
                  <a:solidFill>
                    <a:srgbClr val="434A52"/>
                  </a:solidFill>
                  <a:effectLst/>
                  <a:uLnTx/>
                  <a:uFillTx/>
                  <a:latin typeface="Arial"/>
                  <a:ea typeface="+mn-ea"/>
                  <a:cs typeface="+mn-cs"/>
                </a:rPr>
                <a:t>500G</a:t>
              </a:r>
            </a:p>
          </p:txBody>
        </p:sp>
        <p:pic>
          <p:nvPicPr>
            <p:cNvPr id="15" name="Picture 14" descr="Gas Meter Round.png">
              <a:extLst>
                <a:ext uri="{FF2B5EF4-FFF2-40B4-BE49-F238E27FC236}">
                  <a16:creationId xmlns:a16="http://schemas.microsoft.com/office/drawing/2014/main" id="{CA97B841-72BF-E6DF-4692-06290CA6711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643081" y="4080726"/>
              <a:ext cx="338119" cy="437973"/>
            </a:xfrm>
            <a:prstGeom prst="rect">
              <a:avLst/>
            </a:prstGeom>
          </p:spPr>
        </p:pic>
      </p:grpSp>
      <p:pic>
        <p:nvPicPr>
          <p:cNvPr id="20" name="Picture 19">
            <a:extLst>
              <a:ext uri="{FF2B5EF4-FFF2-40B4-BE49-F238E27FC236}">
                <a16:creationId xmlns:a16="http://schemas.microsoft.com/office/drawing/2014/main" id="{E896FEA5-8186-5EA8-98F0-80A589DF940A}"/>
              </a:ext>
            </a:extLst>
          </p:cNvPr>
          <p:cNvPicPr>
            <a:picLocks noChangeAspect="1"/>
          </p:cNvPicPr>
          <p:nvPr/>
        </p:nvPicPr>
        <p:blipFill>
          <a:blip r:embed="rId12"/>
          <a:stretch>
            <a:fillRect/>
          </a:stretch>
        </p:blipFill>
        <p:spPr>
          <a:xfrm>
            <a:off x="1352943" y="1475907"/>
            <a:ext cx="606888" cy="809184"/>
          </a:xfrm>
          <a:prstGeom prst="rect">
            <a:avLst/>
          </a:prstGeom>
        </p:spPr>
      </p:pic>
      <p:sp>
        <p:nvSpPr>
          <p:cNvPr id="131" name="TextBox 130">
            <a:extLst>
              <a:ext uri="{FF2B5EF4-FFF2-40B4-BE49-F238E27FC236}">
                <a16:creationId xmlns:a16="http://schemas.microsoft.com/office/drawing/2014/main" id="{FC1B399D-10E9-4923-9481-8D291CC68FB9}"/>
              </a:ext>
            </a:extLst>
          </p:cNvPr>
          <p:cNvSpPr txBox="1"/>
          <p:nvPr/>
        </p:nvSpPr>
        <p:spPr>
          <a:xfrm>
            <a:off x="1716368" y="1963312"/>
            <a:ext cx="743844" cy="307135"/>
          </a:xfrm>
          <a:prstGeom prst="rect">
            <a:avLst/>
          </a:prstGeom>
          <a:noFill/>
        </p:spPr>
        <p:txBody>
          <a:bodyPr wrap="square" rtlCol="0">
            <a:spAutoFit/>
          </a:bodyPr>
          <a:lstStyle/>
          <a:p>
            <a:pPr marL="0" marR="0" lvl="0" indent="0" algn="ctr" defTabSz="455511" rtl="0" eaLnBrk="1" fontAlgn="auto" latinLnBrk="0" hangingPunct="1">
              <a:lnSpc>
                <a:spcPct val="100000"/>
              </a:lnSpc>
              <a:spcBef>
                <a:spcPts val="0"/>
              </a:spcBef>
              <a:spcAft>
                <a:spcPts val="0"/>
              </a:spcAft>
              <a:buClrTx/>
              <a:buSzTx/>
              <a:buFontTx/>
              <a:buNone/>
              <a:tabLst/>
              <a:defRPr/>
            </a:pPr>
            <a:r>
              <a:rPr kumimoji="0" lang="en-US" sz="698" b="1" i="0" u="none" strike="noStrike" kern="1200" cap="none" spc="0" normalizeH="0" baseline="0" noProof="0">
                <a:ln>
                  <a:noFill/>
                </a:ln>
                <a:solidFill>
                  <a:srgbClr val="141619"/>
                </a:solidFill>
                <a:effectLst/>
                <a:uLnTx/>
                <a:uFillTx/>
                <a:latin typeface="Arial"/>
                <a:ea typeface="+mn-ea"/>
                <a:cs typeface="+mn-cs"/>
              </a:rPr>
              <a:t>Solar </a:t>
            </a:r>
          </a:p>
          <a:p>
            <a:pPr marL="0" marR="0" lvl="0" indent="0" algn="ctr" defTabSz="455511" rtl="0" eaLnBrk="1" fontAlgn="auto" latinLnBrk="0" hangingPunct="1">
              <a:lnSpc>
                <a:spcPct val="100000"/>
              </a:lnSpc>
              <a:spcBef>
                <a:spcPts val="0"/>
              </a:spcBef>
              <a:spcAft>
                <a:spcPts val="0"/>
              </a:spcAft>
              <a:buClrTx/>
              <a:buSzTx/>
              <a:buFontTx/>
              <a:buNone/>
              <a:tabLst/>
              <a:defRPr/>
            </a:pPr>
            <a:r>
              <a:rPr kumimoji="0" lang="en-US" sz="698" b="1" i="0" u="none" strike="noStrike" kern="1200" cap="none" spc="0" normalizeH="0" baseline="0" noProof="0">
                <a:ln>
                  <a:noFill/>
                </a:ln>
                <a:solidFill>
                  <a:srgbClr val="141619"/>
                </a:solidFill>
                <a:effectLst/>
                <a:uLnTx/>
                <a:uFillTx/>
                <a:latin typeface="Arial"/>
                <a:ea typeface="+mn-ea"/>
                <a:cs typeface="+mn-cs"/>
              </a:rPr>
              <a:t>Battery AP</a:t>
            </a:r>
          </a:p>
        </p:txBody>
      </p:sp>
      <p:grpSp>
        <p:nvGrpSpPr>
          <p:cNvPr id="16" name="Group 15">
            <a:extLst>
              <a:ext uri="{FF2B5EF4-FFF2-40B4-BE49-F238E27FC236}">
                <a16:creationId xmlns:a16="http://schemas.microsoft.com/office/drawing/2014/main" id="{197E6B71-2802-C29B-5681-7A5A3944357B}"/>
              </a:ext>
            </a:extLst>
          </p:cNvPr>
          <p:cNvGrpSpPr/>
          <p:nvPr/>
        </p:nvGrpSpPr>
        <p:grpSpPr>
          <a:xfrm>
            <a:off x="-138499" y="3432016"/>
            <a:ext cx="957711" cy="621517"/>
            <a:chOff x="1229237" y="4080726"/>
            <a:chExt cx="1165803" cy="658064"/>
          </a:xfrm>
        </p:grpSpPr>
        <p:sp>
          <p:nvSpPr>
            <p:cNvPr id="18" name="TextBox 17">
              <a:extLst>
                <a:ext uri="{FF2B5EF4-FFF2-40B4-BE49-F238E27FC236}">
                  <a16:creationId xmlns:a16="http://schemas.microsoft.com/office/drawing/2014/main" id="{C12F70E4-F431-D93B-60E7-FE089923BED1}"/>
                </a:ext>
              </a:extLst>
            </p:cNvPr>
            <p:cNvSpPr txBox="1"/>
            <p:nvPr/>
          </p:nvSpPr>
          <p:spPr>
            <a:xfrm>
              <a:off x="1229237" y="4527310"/>
              <a:ext cx="1165803" cy="211480"/>
            </a:xfrm>
            <a:prstGeom prst="rect">
              <a:avLst/>
            </a:prstGeom>
            <a:noFill/>
          </p:spPr>
          <p:txBody>
            <a:bodyPr wrap="square" rtlCol="0">
              <a:spAutoFit/>
            </a:bodyPr>
            <a:lstStyle/>
            <a:p>
              <a:pPr marL="0" marR="0" lvl="0" indent="0" algn="ctr" defTabSz="511547" rtl="0" eaLnBrk="1" fontAlgn="auto" latinLnBrk="0" hangingPunct="1">
                <a:lnSpc>
                  <a:spcPct val="100000"/>
                </a:lnSpc>
                <a:spcBef>
                  <a:spcPts val="0"/>
                </a:spcBef>
                <a:spcAft>
                  <a:spcPts val="0"/>
                </a:spcAft>
                <a:buClrTx/>
                <a:buSzTx/>
                <a:buFontTx/>
                <a:buNone/>
                <a:tabLst/>
                <a:defRPr/>
              </a:pPr>
              <a:r>
                <a:rPr kumimoji="0" lang="en-US" sz="698" b="1" i="0" u="none" strike="noStrike" kern="0" cap="none" spc="0" normalizeH="0" baseline="0" noProof="0" dirty="0">
                  <a:ln>
                    <a:noFill/>
                  </a:ln>
                  <a:solidFill>
                    <a:srgbClr val="434A52"/>
                  </a:solidFill>
                  <a:effectLst/>
                  <a:uLnTx/>
                  <a:uFillTx/>
                  <a:latin typeface="Arial"/>
                  <a:ea typeface="+mn-ea"/>
                  <a:cs typeface="+mn-cs"/>
                </a:rPr>
                <a:t>500G</a:t>
              </a:r>
            </a:p>
          </p:txBody>
        </p:sp>
        <p:pic>
          <p:nvPicPr>
            <p:cNvPr id="19" name="Picture 18" descr="Gas Meter Round.png">
              <a:extLst>
                <a:ext uri="{FF2B5EF4-FFF2-40B4-BE49-F238E27FC236}">
                  <a16:creationId xmlns:a16="http://schemas.microsoft.com/office/drawing/2014/main" id="{DC092B1B-814D-EECA-7C3E-983777C9E43A}"/>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643081" y="4080726"/>
              <a:ext cx="338119" cy="437973"/>
            </a:xfrm>
            <a:prstGeom prst="rect">
              <a:avLst/>
            </a:prstGeom>
          </p:spPr>
        </p:pic>
      </p:grpSp>
      <p:grpSp>
        <p:nvGrpSpPr>
          <p:cNvPr id="36" name="Group 35">
            <a:extLst>
              <a:ext uri="{FF2B5EF4-FFF2-40B4-BE49-F238E27FC236}">
                <a16:creationId xmlns:a16="http://schemas.microsoft.com/office/drawing/2014/main" id="{939B7727-7CDD-7CF6-CAF1-2FC436ABBAAA}"/>
              </a:ext>
            </a:extLst>
          </p:cNvPr>
          <p:cNvGrpSpPr/>
          <p:nvPr/>
        </p:nvGrpSpPr>
        <p:grpSpPr>
          <a:xfrm>
            <a:off x="1770258" y="3016705"/>
            <a:ext cx="957711" cy="621517"/>
            <a:chOff x="1229237" y="4080726"/>
            <a:chExt cx="1165803" cy="658064"/>
          </a:xfrm>
        </p:grpSpPr>
        <p:sp>
          <p:nvSpPr>
            <p:cNvPr id="37" name="TextBox 36">
              <a:extLst>
                <a:ext uri="{FF2B5EF4-FFF2-40B4-BE49-F238E27FC236}">
                  <a16:creationId xmlns:a16="http://schemas.microsoft.com/office/drawing/2014/main" id="{BC440761-4734-4022-8F7B-711BE85BE857}"/>
                </a:ext>
              </a:extLst>
            </p:cNvPr>
            <p:cNvSpPr txBox="1"/>
            <p:nvPr/>
          </p:nvSpPr>
          <p:spPr>
            <a:xfrm>
              <a:off x="1229237" y="4527310"/>
              <a:ext cx="1165803" cy="211480"/>
            </a:xfrm>
            <a:prstGeom prst="rect">
              <a:avLst/>
            </a:prstGeom>
            <a:noFill/>
          </p:spPr>
          <p:txBody>
            <a:bodyPr wrap="square" rtlCol="0">
              <a:spAutoFit/>
            </a:bodyPr>
            <a:lstStyle/>
            <a:p>
              <a:pPr marL="0" marR="0" lvl="0" indent="0" algn="ctr" defTabSz="511547" rtl="0" eaLnBrk="1" fontAlgn="auto" latinLnBrk="0" hangingPunct="1">
                <a:lnSpc>
                  <a:spcPct val="100000"/>
                </a:lnSpc>
                <a:spcBef>
                  <a:spcPts val="0"/>
                </a:spcBef>
                <a:spcAft>
                  <a:spcPts val="0"/>
                </a:spcAft>
                <a:buClrTx/>
                <a:buSzTx/>
                <a:buFontTx/>
                <a:buNone/>
                <a:tabLst/>
                <a:defRPr/>
              </a:pPr>
              <a:r>
                <a:rPr kumimoji="0" lang="en-US" sz="698" b="1" i="0" u="none" strike="noStrike" kern="0" cap="none" spc="0" normalizeH="0" baseline="0" noProof="0" dirty="0">
                  <a:ln>
                    <a:noFill/>
                  </a:ln>
                  <a:solidFill>
                    <a:srgbClr val="434A52"/>
                  </a:solidFill>
                  <a:effectLst/>
                  <a:uLnTx/>
                  <a:uFillTx/>
                  <a:latin typeface="Arial"/>
                  <a:ea typeface="+mn-ea"/>
                  <a:cs typeface="+mn-cs"/>
                </a:rPr>
                <a:t>500G</a:t>
              </a:r>
            </a:p>
          </p:txBody>
        </p:sp>
        <p:pic>
          <p:nvPicPr>
            <p:cNvPr id="38" name="Picture 37" descr="Gas Meter Round.png">
              <a:extLst>
                <a:ext uri="{FF2B5EF4-FFF2-40B4-BE49-F238E27FC236}">
                  <a16:creationId xmlns:a16="http://schemas.microsoft.com/office/drawing/2014/main" id="{D3331AF5-4A80-4C9F-7B50-F262087296B5}"/>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643081" y="4080726"/>
              <a:ext cx="338119" cy="437973"/>
            </a:xfrm>
            <a:prstGeom prst="rect">
              <a:avLst/>
            </a:prstGeom>
          </p:spPr>
        </p:pic>
      </p:grpSp>
      <p:grpSp>
        <p:nvGrpSpPr>
          <p:cNvPr id="39" name="Group 38">
            <a:extLst>
              <a:ext uri="{FF2B5EF4-FFF2-40B4-BE49-F238E27FC236}">
                <a16:creationId xmlns:a16="http://schemas.microsoft.com/office/drawing/2014/main" id="{23535A2C-87AC-00BC-B452-42BBB71B592B}"/>
              </a:ext>
            </a:extLst>
          </p:cNvPr>
          <p:cNvGrpSpPr/>
          <p:nvPr/>
        </p:nvGrpSpPr>
        <p:grpSpPr>
          <a:xfrm>
            <a:off x="6734838" y="3410170"/>
            <a:ext cx="957711" cy="621517"/>
            <a:chOff x="1229237" y="4080726"/>
            <a:chExt cx="1165803" cy="658064"/>
          </a:xfrm>
        </p:grpSpPr>
        <p:sp>
          <p:nvSpPr>
            <p:cNvPr id="40" name="TextBox 39">
              <a:extLst>
                <a:ext uri="{FF2B5EF4-FFF2-40B4-BE49-F238E27FC236}">
                  <a16:creationId xmlns:a16="http://schemas.microsoft.com/office/drawing/2014/main" id="{2992AF18-445E-AA6B-812D-C7D6C63BD387}"/>
                </a:ext>
              </a:extLst>
            </p:cNvPr>
            <p:cNvSpPr txBox="1"/>
            <p:nvPr/>
          </p:nvSpPr>
          <p:spPr>
            <a:xfrm>
              <a:off x="1229237" y="4527310"/>
              <a:ext cx="1165803" cy="211480"/>
            </a:xfrm>
            <a:prstGeom prst="rect">
              <a:avLst/>
            </a:prstGeom>
            <a:noFill/>
          </p:spPr>
          <p:txBody>
            <a:bodyPr wrap="square" rtlCol="0">
              <a:spAutoFit/>
            </a:bodyPr>
            <a:lstStyle/>
            <a:p>
              <a:pPr marL="0" marR="0" lvl="0" indent="0" algn="ctr" defTabSz="511547" rtl="0" eaLnBrk="1" fontAlgn="auto" latinLnBrk="0" hangingPunct="1">
                <a:lnSpc>
                  <a:spcPct val="100000"/>
                </a:lnSpc>
                <a:spcBef>
                  <a:spcPts val="0"/>
                </a:spcBef>
                <a:spcAft>
                  <a:spcPts val="0"/>
                </a:spcAft>
                <a:buClrTx/>
                <a:buSzTx/>
                <a:buFontTx/>
                <a:buNone/>
                <a:tabLst/>
                <a:defRPr/>
              </a:pPr>
              <a:r>
                <a:rPr kumimoji="0" lang="en-US" sz="698" b="1" i="0" u="none" strike="noStrike" kern="0" cap="none" spc="0" normalizeH="0" baseline="0" noProof="0" dirty="0">
                  <a:ln>
                    <a:noFill/>
                  </a:ln>
                  <a:solidFill>
                    <a:srgbClr val="434A52"/>
                  </a:solidFill>
                  <a:effectLst/>
                  <a:uLnTx/>
                  <a:uFillTx/>
                  <a:latin typeface="Arial"/>
                  <a:ea typeface="+mn-ea"/>
                  <a:cs typeface="+mn-cs"/>
                </a:rPr>
                <a:t>500G</a:t>
              </a:r>
            </a:p>
          </p:txBody>
        </p:sp>
        <p:pic>
          <p:nvPicPr>
            <p:cNvPr id="41" name="Picture 40" descr="Gas Meter Round.png">
              <a:extLst>
                <a:ext uri="{FF2B5EF4-FFF2-40B4-BE49-F238E27FC236}">
                  <a16:creationId xmlns:a16="http://schemas.microsoft.com/office/drawing/2014/main" id="{7F4694FA-4308-732C-A3E4-A8D5100DE15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643081" y="4080726"/>
              <a:ext cx="338119" cy="437973"/>
            </a:xfrm>
            <a:prstGeom prst="rect">
              <a:avLst/>
            </a:prstGeom>
          </p:spPr>
        </p:pic>
      </p:grpSp>
      <p:grpSp>
        <p:nvGrpSpPr>
          <p:cNvPr id="42" name="Group 41">
            <a:extLst>
              <a:ext uri="{FF2B5EF4-FFF2-40B4-BE49-F238E27FC236}">
                <a16:creationId xmlns:a16="http://schemas.microsoft.com/office/drawing/2014/main" id="{91023AF7-5452-E7D6-1F8E-2EEC220F4084}"/>
              </a:ext>
            </a:extLst>
          </p:cNvPr>
          <p:cNvGrpSpPr/>
          <p:nvPr/>
        </p:nvGrpSpPr>
        <p:grpSpPr>
          <a:xfrm>
            <a:off x="2441846" y="3725690"/>
            <a:ext cx="765113" cy="426048"/>
            <a:chOff x="267717" y="1859852"/>
            <a:chExt cx="767951" cy="427626"/>
          </a:xfrm>
        </p:grpSpPr>
        <p:sp>
          <p:nvSpPr>
            <p:cNvPr id="43" name="TextBox 42">
              <a:extLst>
                <a:ext uri="{FF2B5EF4-FFF2-40B4-BE49-F238E27FC236}">
                  <a16:creationId xmlns:a16="http://schemas.microsoft.com/office/drawing/2014/main" id="{C672DDD4-0B0F-D5B3-BC5D-4441D8CBB6AA}"/>
                </a:ext>
              </a:extLst>
            </p:cNvPr>
            <p:cNvSpPr txBox="1"/>
            <p:nvPr/>
          </p:nvSpPr>
          <p:spPr>
            <a:xfrm>
              <a:off x="267717" y="2087003"/>
              <a:ext cx="767951" cy="200475"/>
            </a:xfrm>
            <a:prstGeom prst="rect">
              <a:avLst/>
            </a:prstGeom>
            <a:noFill/>
          </p:spPr>
          <p:txBody>
            <a:bodyPr wrap="square" rtlCol="0">
              <a:spAutoFit/>
            </a:bodyPr>
            <a:lstStyle/>
            <a:p>
              <a:pPr marL="0" marR="0" lvl="0" indent="0" algn="ctr" defTabSz="340715" rtl="0" eaLnBrk="1" fontAlgn="auto" latinLnBrk="0" hangingPunct="1">
                <a:lnSpc>
                  <a:spcPct val="100000"/>
                </a:lnSpc>
                <a:spcBef>
                  <a:spcPts val="0"/>
                </a:spcBef>
                <a:spcAft>
                  <a:spcPts val="0"/>
                </a:spcAft>
                <a:buClrTx/>
                <a:buSzTx/>
                <a:buFontTx/>
                <a:buNone/>
                <a:tabLst/>
                <a:defRPr/>
              </a:pPr>
              <a:r>
                <a:rPr kumimoji="0" lang="en-US" sz="698" b="1" i="0" u="none" strike="noStrike" kern="1200" cap="none" spc="0" normalizeH="0" baseline="0" noProof="0">
                  <a:ln>
                    <a:noFill/>
                  </a:ln>
                  <a:solidFill>
                    <a:srgbClr val="434A52"/>
                  </a:solidFill>
                  <a:effectLst/>
                  <a:uLnTx/>
                  <a:uFillTx/>
                  <a:latin typeface="Arial"/>
                  <a:ea typeface="+mn-ea"/>
                  <a:cs typeface="+mn-cs"/>
                </a:rPr>
                <a:t>Intelis</a:t>
              </a:r>
            </a:p>
          </p:txBody>
        </p:sp>
        <p:pic>
          <p:nvPicPr>
            <p:cNvPr id="44" name="Picture 43">
              <a:extLst>
                <a:ext uri="{FF2B5EF4-FFF2-40B4-BE49-F238E27FC236}">
                  <a16:creationId xmlns:a16="http://schemas.microsoft.com/office/drawing/2014/main" id="{1B35897D-F6BD-9BB9-9A7F-FF4922FCA87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97071" y="1859852"/>
              <a:ext cx="358803" cy="248128"/>
            </a:xfrm>
            <a:prstGeom prst="rect">
              <a:avLst/>
            </a:prstGeom>
          </p:spPr>
        </p:pic>
      </p:grpSp>
      <p:grpSp>
        <p:nvGrpSpPr>
          <p:cNvPr id="47" name="Group 46">
            <a:extLst>
              <a:ext uri="{FF2B5EF4-FFF2-40B4-BE49-F238E27FC236}">
                <a16:creationId xmlns:a16="http://schemas.microsoft.com/office/drawing/2014/main" id="{4159C406-9D38-BF77-ACB7-49F0DFCE6F82}"/>
              </a:ext>
            </a:extLst>
          </p:cNvPr>
          <p:cNvGrpSpPr/>
          <p:nvPr/>
        </p:nvGrpSpPr>
        <p:grpSpPr>
          <a:xfrm>
            <a:off x="5475522" y="4051870"/>
            <a:ext cx="765113" cy="426048"/>
            <a:chOff x="267717" y="1859852"/>
            <a:chExt cx="767951" cy="427626"/>
          </a:xfrm>
        </p:grpSpPr>
        <p:sp>
          <p:nvSpPr>
            <p:cNvPr id="48" name="TextBox 47">
              <a:extLst>
                <a:ext uri="{FF2B5EF4-FFF2-40B4-BE49-F238E27FC236}">
                  <a16:creationId xmlns:a16="http://schemas.microsoft.com/office/drawing/2014/main" id="{3C760551-B034-93DD-4382-45B1468839B9}"/>
                </a:ext>
              </a:extLst>
            </p:cNvPr>
            <p:cNvSpPr txBox="1"/>
            <p:nvPr/>
          </p:nvSpPr>
          <p:spPr>
            <a:xfrm>
              <a:off x="267717" y="2087003"/>
              <a:ext cx="767951" cy="200475"/>
            </a:xfrm>
            <a:prstGeom prst="rect">
              <a:avLst/>
            </a:prstGeom>
            <a:noFill/>
          </p:spPr>
          <p:txBody>
            <a:bodyPr wrap="square" rtlCol="0">
              <a:spAutoFit/>
            </a:bodyPr>
            <a:lstStyle/>
            <a:p>
              <a:pPr marL="0" marR="0" lvl="0" indent="0" algn="ctr" defTabSz="340715" rtl="0" eaLnBrk="1" fontAlgn="auto" latinLnBrk="0" hangingPunct="1">
                <a:lnSpc>
                  <a:spcPct val="100000"/>
                </a:lnSpc>
                <a:spcBef>
                  <a:spcPts val="0"/>
                </a:spcBef>
                <a:spcAft>
                  <a:spcPts val="0"/>
                </a:spcAft>
                <a:buClrTx/>
                <a:buSzTx/>
                <a:buFontTx/>
                <a:buNone/>
                <a:tabLst/>
                <a:defRPr/>
              </a:pPr>
              <a:r>
                <a:rPr kumimoji="0" lang="en-US" sz="698" b="1" i="0" u="none" strike="noStrike" kern="1200" cap="none" spc="0" normalizeH="0" baseline="0" noProof="0">
                  <a:ln>
                    <a:noFill/>
                  </a:ln>
                  <a:solidFill>
                    <a:srgbClr val="434A52"/>
                  </a:solidFill>
                  <a:effectLst/>
                  <a:uLnTx/>
                  <a:uFillTx/>
                  <a:latin typeface="Arial"/>
                  <a:ea typeface="+mn-ea"/>
                  <a:cs typeface="+mn-cs"/>
                </a:rPr>
                <a:t>Intelis</a:t>
              </a:r>
            </a:p>
          </p:txBody>
        </p:sp>
        <p:pic>
          <p:nvPicPr>
            <p:cNvPr id="50" name="Picture 49">
              <a:extLst>
                <a:ext uri="{FF2B5EF4-FFF2-40B4-BE49-F238E27FC236}">
                  <a16:creationId xmlns:a16="http://schemas.microsoft.com/office/drawing/2014/main" id="{616D23C2-E4C7-E2B6-758A-F0E8B0A05D0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97071" y="1859852"/>
              <a:ext cx="358803" cy="248128"/>
            </a:xfrm>
            <a:prstGeom prst="rect">
              <a:avLst/>
            </a:prstGeom>
          </p:spPr>
        </p:pic>
      </p:grpSp>
      <p:grpSp>
        <p:nvGrpSpPr>
          <p:cNvPr id="51" name="Group 50">
            <a:extLst>
              <a:ext uri="{FF2B5EF4-FFF2-40B4-BE49-F238E27FC236}">
                <a16:creationId xmlns:a16="http://schemas.microsoft.com/office/drawing/2014/main" id="{89FF4A87-8669-8CA2-A5E8-6CF9C9A623D2}"/>
              </a:ext>
            </a:extLst>
          </p:cNvPr>
          <p:cNvGrpSpPr/>
          <p:nvPr/>
        </p:nvGrpSpPr>
        <p:grpSpPr>
          <a:xfrm>
            <a:off x="7455747" y="3657961"/>
            <a:ext cx="765113" cy="426048"/>
            <a:chOff x="267717" y="1859852"/>
            <a:chExt cx="767951" cy="427626"/>
          </a:xfrm>
        </p:grpSpPr>
        <p:sp>
          <p:nvSpPr>
            <p:cNvPr id="55" name="TextBox 54">
              <a:extLst>
                <a:ext uri="{FF2B5EF4-FFF2-40B4-BE49-F238E27FC236}">
                  <a16:creationId xmlns:a16="http://schemas.microsoft.com/office/drawing/2014/main" id="{B60E923A-B83C-8E27-C3D1-11DC9E903F35}"/>
                </a:ext>
              </a:extLst>
            </p:cNvPr>
            <p:cNvSpPr txBox="1"/>
            <p:nvPr/>
          </p:nvSpPr>
          <p:spPr>
            <a:xfrm>
              <a:off x="267717" y="2087003"/>
              <a:ext cx="767951" cy="200475"/>
            </a:xfrm>
            <a:prstGeom prst="rect">
              <a:avLst/>
            </a:prstGeom>
            <a:noFill/>
          </p:spPr>
          <p:txBody>
            <a:bodyPr wrap="square" rtlCol="0">
              <a:spAutoFit/>
            </a:bodyPr>
            <a:lstStyle/>
            <a:p>
              <a:pPr marL="0" marR="0" lvl="0" indent="0" algn="ctr" defTabSz="340715" rtl="0" eaLnBrk="1" fontAlgn="auto" latinLnBrk="0" hangingPunct="1">
                <a:lnSpc>
                  <a:spcPct val="100000"/>
                </a:lnSpc>
                <a:spcBef>
                  <a:spcPts val="0"/>
                </a:spcBef>
                <a:spcAft>
                  <a:spcPts val="0"/>
                </a:spcAft>
                <a:buClrTx/>
                <a:buSzTx/>
                <a:buFontTx/>
                <a:buNone/>
                <a:tabLst/>
                <a:defRPr/>
              </a:pPr>
              <a:r>
                <a:rPr kumimoji="0" lang="en-US" sz="698" b="1" i="0" u="none" strike="noStrike" kern="1200" cap="none" spc="0" normalizeH="0" baseline="0" noProof="0">
                  <a:ln>
                    <a:noFill/>
                  </a:ln>
                  <a:solidFill>
                    <a:srgbClr val="434A52"/>
                  </a:solidFill>
                  <a:effectLst/>
                  <a:uLnTx/>
                  <a:uFillTx/>
                  <a:latin typeface="Arial"/>
                  <a:ea typeface="+mn-ea"/>
                  <a:cs typeface="+mn-cs"/>
                </a:rPr>
                <a:t>Intelis</a:t>
              </a:r>
            </a:p>
          </p:txBody>
        </p:sp>
        <p:pic>
          <p:nvPicPr>
            <p:cNvPr id="56" name="Picture 55">
              <a:extLst>
                <a:ext uri="{FF2B5EF4-FFF2-40B4-BE49-F238E27FC236}">
                  <a16:creationId xmlns:a16="http://schemas.microsoft.com/office/drawing/2014/main" id="{0CE9C018-4A5C-50BB-7C51-183340C6F96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97071" y="1859852"/>
              <a:ext cx="358803" cy="248128"/>
            </a:xfrm>
            <a:prstGeom prst="rect">
              <a:avLst/>
            </a:prstGeom>
          </p:spPr>
        </p:pic>
      </p:grpSp>
    </p:spTree>
    <p:extLst>
      <p:ext uri="{BB962C8B-B14F-4D97-AF65-F5344CB8AC3E}">
        <p14:creationId xmlns:p14="http://schemas.microsoft.com/office/powerpoint/2010/main" val="236626168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43"/>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1"/>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0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09"/>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12"/>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14"/>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16"/>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20"/>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21"/>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27"/>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22"/>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28"/>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7"/>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96"/>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99"/>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02"/>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92"/>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103"/>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0"/>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134"/>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129"/>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432"/>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nodeType="clickEffect">
                                  <p:stCondLst>
                                    <p:cond delay="0"/>
                                  </p:stCondLst>
                                  <p:childTnLst>
                                    <p:set>
                                      <p:cBhvr>
                                        <p:cTn id="60" dur="1" fill="hold">
                                          <p:stCondLst>
                                            <p:cond delay="0"/>
                                          </p:stCondLst>
                                        </p:cTn>
                                        <p:tgtEl>
                                          <p:spTgt spid="63"/>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67"/>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69"/>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119"/>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132"/>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133"/>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140"/>
                                        </p:tgtEl>
                                        <p:attrNameLst>
                                          <p:attrName>style.visibility</p:attrName>
                                        </p:attrNameLst>
                                      </p:cBhvr>
                                      <p:to>
                                        <p:strVal val="visible"/>
                                      </p:to>
                                    </p:set>
                                  </p:childTnLst>
                                </p:cTn>
                              </p:par>
                              <p:par>
                                <p:cTn id="73" presetID="1" presetClass="entr" presetSubtype="0" fill="hold" nodeType="withEffect">
                                  <p:stCondLst>
                                    <p:cond delay="0"/>
                                  </p:stCondLst>
                                  <p:childTnLst>
                                    <p:set>
                                      <p:cBhvr>
                                        <p:cTn id="74" dur="1" fill="hold">
                                          <p:stCondLst>
                                            <p:cond delay="0"/>
                                          </p:stCondLst>
                                        </p:cTn>
                                        <p:tgtEl>
                                          <p:spTgt spid="153"/>
                                        </p:tgtEl>
                                        <p:attrNameLst>
                                          <p:attrName>style.visibility</p:attrName>
                                        </p:attrNameLst>
                                      </p:cBhvr>
                                      <p:to>
                                        <p:strVal val="visible"/>
                                      </p:to>
                                    </p:set>
                                  </p:childTnLst>
                                </p:cTn>
                              </p:par>
                              <p:par>
                                <p:cTn id="75" presetID="1" presetClass="entr" presetSubtype="0" fill="hold" nodeType="withEffect">
                                  <p:stCondLst>
                                    <p:cond delay="0"/>
                                  </p:stCondLst>
                                  <p:childTnLst>
                                    <p:set>
                                      <p:cBhvr>
                                        <p:cTn id="76" dur="1" fill="hold">
                                          <p:stCondLst>
                                            <p:cond delay="0"/>
                                          </p:stCondLst>
                                        </p:cTn>
                                        <p:tgtEl>
                                          <p:spTgt spid="154"/>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160"/>
                                        </p:tgtEl>
                                        <p:attrNameLst>
                                          <p:attrName>style.visibility</p:attrName>
                                        </p:attrNameLst>
                                      </p:cBhvr>
                                      <p:to>
                                        <p:strVal val="visible"/>
                                      </p:to>
                                    </p:set>
                                  </p:childTnLst>
                                </p:cTn>
                              </p:par>
                              <p:par>
                                <p:cTn id="79" presetID="1" presetClass="entr" presetSubtype="0" fill="hold" nodeType="withEffect">
                                  <p:stCondLst>
                                    <p:cond delay="0"/>
                                  </p:stCondLst>
                                  <p:childTnLst>
                                    <p:set>
                                      <p:cBhvr>
                                        <p:cTn id="80" dur="1" fill="hold">
                                          <p:stCondLst>
                                            <p:cond delay="0"/>
                                          </p:stCondLst>
                                        </p:cTn>
                                        <p:tgtEl>
                                          <p:spTgt spid="163"/>
                                        </p:tgtEl>
                                        <p:attrNameLst>
                                          <p:attrName>style.visibility</p:attrName>
                                        </p:attrNameLst>
                                      </p:cBhvr>
                                      <p:to>
                                        <p:strVal val="visible"/>
                                      </p:to>
                                    </p:set>
                                  </p:childTnLst>
                                </p:cTn>
                              </p:par>
                              <p:par>
                                <p:cTn id="81" presetID="1" presetClass="entr" presetSubtype="0" fill="hold" nodeType="withEffect">
                                  <p:stCondLst>
                                    <p:cond delay="0"/>
                                  </p:stCondLst>
                                  <p:childTnLst>
                                    <p:set>
                                      <p:cBhvr>
                                        <p:cTn id="82" dur="1" fill="hold">
                                          <p:stCondLst>
                                            <p:cond delay="0"/>
                                          </p:stCondLst>
                                        </p:cTn>
                                        <p:tgtEl>
                                          <p:spTgt spid="171"/>
                                        </p:tgtEl>
                                        <p:attrNameLst>
                                          <p:attrName>style.visibility</p:attrName>
                                        </p:attrNameLst>
                                      </p:cBhvr>
                                      <p:to>
                                        <p:strVal val="visible"/>
                                      </p:to>
                                    </p:set>
                                  </p:childTnLst>
                                </p:cTn>
                              </p:par>
                              <p:par>
                                <p:cTn id="83" presetID="1" presetClass="entr" presetSubtype="0" fill="hold" nodeType="withEffect">
                                  <p:stCondLst>
                                    <p:cond delay="0"/>
                                  </p:stCondLst>
                                  <p:childTnLst>
                                    <p:set>
                                      <p:cBhvr>
                                        <p:cTn id="84" dur="1" fill="hold">
                                          <p:stCondLst>
                                            <p:cond delay="0"/>
                                          </p:stCondLst>
                                        </p:cTn>
                                        <p:tgtEl>
                                          <p:spTgt spid="172"/>
                                        </p:tgtEl>
                                        <p:attrNameLst>
                                          <p:attrName>style.visibility</p:attrName>
                                        </p:attrNameLst>
                                      </p:cBhvr>
                                      <p:to>
                                        <p:strVal val="visible"/>
                                      </p:to>
                                    </p:set>
                                  </p:childTnLst>
                                </p:cTn>
                              </p:par>
                              <p:par>
                                <p:cTn id="85" presetID="1" presetClass="entr" presetSubtype="0" fill="hold" nodeType="withEffect">
                                  <p:stCondLst>
                                    <p:cond delay="0"/>
                                  </p:stCondLst>
                                  <p:childTnLst>
                                    <p:set>
                                      <p:cBhvr>
                                        <p:cTn id="86" dur="1" fill="hold">
                                          <p:stCondLst>
                                            <p:cond delay="0"/>
                                          </p:stCondLst>
                                        </p:cTn>
                                        <p:tgtEl>
                                          <p:spTgt spid="180"/>
                                        </p:tgtEl>
                                        <p:attrNameLst>
                                          <p:attrName>style.visibility</p:attrName>
                                        </p:attrNameLst>
                                      </p:cBhvr>
                                      <p:to>
                                        <p:strVal val="visible"/>
                                      </p:to>
                                    </p:set>
                                  </p:childTnLst>
                                </p:cTn>
                              </p:par>
                              <p:par>
                                <p:cTn id="87" presetID="1" presetClass="entr" presetSubtype="0" fill="hold" nodeType="withEffect">
                                  <p:stCondLst>
                                    <p:cond delay="0"/>
                                  </p:stCondLst>
                                  <p:childTnLst>
                                    <p:set>
                                      <p:cBhvr>
                                        <p:cTn id="88" dur="1" fill="hold">
                                          <p:stCondLst>
                                            <p:cond delay="0"/>
                                          </p:stCondLst>
                                        </p:cTn>
                                        <p:tgtEl>
                                          <p:spTgt spid="111"/>
                                        </p:tgtEl>
                                        <p:attrNameLst>
                                          <p:attrName>style.visibility</p:attrName>
                                        </p:attrNameLst>
                                      </p:cBhvr>
                                      <p:to>
                                        <p:strVal val="visible"/>
                                      </p:to>
                                    </p:set>
                                  </p:childTnLst>
                                </p:cTn>
                              </p:par>
                              <p:par>
                                <p:cTn id="89" presetID="1" presetClass="entr" presetSubtype="0" fill="hold" grpId="0" nodeType="withEffect">
                                  <p:stCondLst>
                                    <p:cond delay="0"/>
                                  </p:stCondLst>
                                  <p:childTnLst>
                                    <p:set>
                                      <p:cBhvr>
                                        <p:cTn id="90" dur="1" fill="hold">
                                          <p:stCondLst>
                                            <p:cond delay="0"/>
                                          </p:stCondLst>
                                        </p:cTn>
                                        <p:tgtEl>
                                          <p:spTgt spid="113"/>
                                        </p:tgtEl>
                                        <p:attrNameLst>
                                          <p:attrName>style.visibility</p:attrName>
                                        </p:attrNameLst>
                                      </p:cBhvr>
                                      <p:to>
                                        <p:strVal val="visible"/>
                                      </p:to>
                                    </p:set>
                                  </p:childTnLst>
                                </p:cTn>
                              </p:par>
                              <p:par>
                                <p:cTn id="91" presetID="1" presetClass="entr" presetSubtype="0" fill="hold" grpId="0" nodeType="withEffect">
                                  <p:stCondLst>
                                    <p:cond delay="0"/>
                                  </p:stCondLst>
                                  <p:childTnLst>
                                    <p:set>
                                      <p:cBhvr>
                                        <p:cTn id="92" dur="1" fill="hold">
                                          <p:stCondLst>
                                            <p:cond delay="0"/>
                                          </p:stCondLst>
                                        </p:cTn>
                                        <p:tgtEl>
                                          <p:spTgt spid="165"/>
                                        </p:tgtEl>
                                        <p:attrNameLst>
                                          <p:attrName>style.visibility</p:attrName>
                                        </p:attrNameLst>
                                      </p:cBhvr>
                                      <p:to>
                                        <p:strVal val="visible"/>
                                      </p:to>
                                    </p:set>
                                  </p:childTnLst>
                                </p:cTn>
                              </p:par>
                              <p:par>
                                <p:cTn id="93" presetID="1" presetClass="entr" presetSubtype="0" fill="hold" nodeType="withEffect">
                                  <p:stCondLst>
                                    <p:cond delay="0"/>
                                  </p:stCondLst>
                                  <p:childTnLst>
                                    <p:set>
                                      <p:cBhvr>
                                        <p:cTn id="94" dur="1" fill="hold">
                                          <p:stCondLst>
                                            <p:cond delay="0"/>
                                          </p:stCondLst>
                                        </p:cTn>
                                        <p:tgtEl>
                                          <p:spTgt spid="20"/>
                                        </p:tgtEl>
                                        <p:attrNameLst>
                                          <p:attrName>style.visibility</p:attrName>
                                        </p:attrNameLst>
                                      </p:cBhvr>
                                      <p:to>
                                        <p:strVal val="visible"/>
                                      </p:to>
                                    </p:set>
                                  </p:childTnLst>
                                </p:cTn>
                              </p:par>
                              <p:par>
                                <p:cTn id="95" presetID="1" presetClass="entr" presetSubtype="0" fill="hold" grpId="0" nodeType="withEffect">
                                  <p:stCondLst>
                                    <p:cond delay="0"/>
                                  </p:stCondLst>
                                  <p:childTnLst>
                                    <p:set>
                                      <p:cBhvr>
                                        <p:cTn id="96" dur="1" fill="hold">
                                          <p:stCondLst>
                                            <p:cond delay="0"/>
                                          </p:stCondLst>
                                        </p:cTn>
                                        <p:tgtEl>
                                          <p:spTgt spid="131"/>
                                        </p:tgtEl>
                                        <p:attrNameLst>
                                          <p:attrName>style.visibility</p:attrName>
                                        </p:attrNameLst>
                                      </p:cBhvr>
                                      <p:to>
                                        <p:strVal val="visible"/>
                                      </p:to>
                                    </p:set>
                                  </p:childTnLst>
                                </p:cTn>
                              </p:par>
                              <p:par>
                                <p:cTn id="97" presetID="1" presetClass="entr" presetSubtype="0" fill="hold" nodeType="withEffect">
                                  <p:stCondLst>
                                    <p:cond delay="0"/>
                                  </p:stCondLst>
                                  <p:childTnLst>
                                    <p:set>
                                      <p:cBhvr>
                                        <p:cTn id="98" dur="1" fill="hold">
                                          <p:stCondLst>
                                            <p:cond delay="0"/>
                                          </p:stCondLst>
                                        </p:cTn>
                                        <p:tgtEl>
                                          <p:spTgt spid="13"/>
                                        </p:tgtEl>
                                        <p:attrNameLst>
                                          <p:attrName>style.visibility</p:attrName>
                                        </p:attrNameLst>
                                      </p:cBhvr>
                                      <p:to>
                                        <p:strVal val="visible"/>
                                      </p:to>
                                    </p:set>
                                  </p:childTnLst>
                                </p:cTn>
                              </p:par>
                            </p:childTnLst>
                          </p:cTn>
                        </p:par>
                      </p:childTnLst>
                    </p:cTn>
                  </p:par>
                  <p:par>
                    <p:cTn id="99" fill="hold">
                      <p:stCondLst>
                        <p:cond delay="indefinite"/>
                      </p:stCondLst>
                      <p:childTnLst>
                        <p:par>
                          <p:cTn id="100" fill="hold">
                            <p:stCondLst>
                              <p:cond delay="0"/>
                            </p:stCondLst>
                            <p:childTnLst>
                              <p:par>
                                <p:cTn id="101" presetID="1" presetClass="entr" presetSubtype="0" fill="hold" nodeType="clickEffect">
                                  <p:stCondLst>
                                    <p:cond delay="0"/>
                                  </p:stCondLst>
                                  <p:childTnLst>
                                    <p:set>
                                      <p:cBhvr>
                                        <p:cTn id="102" dur="1" fill="hold">
                                          <p:stCondLst>
                                            <p:cond delay="0"/>
                                          </p:stCondLst>
                                        </p:cTn>
                                        <p:tgtEl>
                                          <p:spTgt spid="52"/>
                                        </p:tgtEl>
                                        <p:attrNameLst>
                                          <p:attrName>style.visibility</p:attrName>
                                        </p:attrNameLst>
                                      </p:cBhvr>
                                      <p:to>
                                        <p:strVal val="visible"/>
                                      </p:to>
                                    </p:set>
                                  </p:childTnLst>
                                </p:cTn>
                              </p:par>
                              <p:par>
                                <p:cTn id="103" presetID="1" presetClass="entr" presetSubtype="0" fill="hold" nodeType="withEffect">
                                  <p:stCondLst>
                                    <p:cond delay="0"/>
                                  </p:stCondLst>
                                  <p:childTnLst>
                                    <p:set>
                                      <p:cBhvr>
                                        <p:cTn id="104" dur="1" fill="hold">
                                          <p:stCondLst>
                                            <p:cond delay="0"/>
                                          </p:stCondLst>
                                        </p:cTn>
                                        <p:tgtEl>
                                          <p:spTgt spid="33"/>
                                        </p:tgtEl>
                                        <p:attrNameLst>
                                          <p:attrName>style.visibility</p:attrName>
                                        </p:attrNameLst>
                                      </p:cBhvr>
                                      <p:to>
                                        <p:strVal val="visible"/>
                                      </p:to>
                                    </p:set>
                                  </p:childTnLst>
                                </p:cTn>
                              </p:par>
                              <p:par>
                                <p:cTn id="105" presetID="1" presetClass="entr" presetSubtype="0" fill="hold" grpId="0" nodeType="withEffect">
                                  <p:stCondLst>
                                    <p:cond delay="0"/>
                                  </p:stCondLst>
                                  <p:childTnLst>
                                    <p:set>
                                      <p:cBhvr>
                                        <p:cTn id="106" dur="1" fill="hold">
                                          <p:stCondLst>
                                            <p:cond delay="0"/>
                                          </p:stCondLst>
                                        </p:cTn>
                                        <p:tgtEl>
                                          <p:spTgt spid="85"/>
                                        </p:tgtEl>
                                        <p:attrNameLst>
                                          <p:attrName>style.visibility</p:attrName>
                                        </p:attrNameLst>
                                      </p:cBhvr>
                                      <p:to>
                                        <p:strVal val="visible"/>
                                      </p:to>
                                    </p:set>
                                  </p:childTnLst>
                                </p:cTn>
                              </p:par>
                              <p:par>
                                <p:cTn id="107" presetID="1" presetClass="entr" presetSubtype="0" fill="hold" nodeType="withEffect">
                                  <p:stCondLst>
                                    <p:cond delay="0"/>
                                  </p:stCondLst>
                                  <p:childTnLst>
                                    <p:set>
                                      <p:cBhvr>
                                        <p:cTn id="108" dur="1" fill="hold">
                                          <p:stCondLst>
                                            <p:cond delay="0"/>
                                          </p:stCondLst>
                                        </p:cTn>
                                        <p:tgtEl>
                                          <p:spTgt spid="16"/>
                                        </p:tgtEl>
                                        <p:attrNameLst>
                                          <p:attrName>style.visibility</p:attrName>
                                        </p:attrNameLst>
                                      </p:cBhvr>
                                      <p:to>
                                        <p:strVal val="visible"/>
                                      </p:to>
                                    </p:set>
                                  </p:childTnLst>
                                </p:cTn>
                              </p:par>
                              <p:par>
                                <p:cTn id="109" presetID="1" presetClass="entr" presetSubtype="0" fill="hold" nodeType="withEffect">
                                  <p:stCondLst>
                                    <p:cond delay="0"/>
                                  </p:stCondLst>
                                  <p:childTnLst>
                                    <p:set>
                                      <p:cBhvr>
                                        <p:cTn id="110" dur="1" fill="hold">
                                          <p:stCondLst>
                                            <p:cond delay="0"/>
                                          </p:stCondLst>
                                        </p:cTn>
                                        <p:tgtEl>
                                          <p:spTgt spid="36"/>
                                        </p:tgtEl>
                                        <p:attrNameLst>
                                          <p:attrName>style.visibility</p:attrName>
                                        </p:attrNameLst>
                                      </p:cBhvr>
                                      <p:to>
                                        <p:strVal val="visible"/>
                                      </p:to>
                                    </p:set>
                                  </p:childTnLst>
                                </p:cTn>
                              </p:par>
                              <p:par>
                                <p:cTn id="111" presetID="1" presetClass="entr" presetSubtype="0" fill="hold" nodeType="withEffect">
                                  <p:stCondLst>
                                    <p:cond delay="0"/>
                                  </p:stCondLst>
                                  <p:childTnLst>
                                    <p:set>
                                      <p:cBhvr>
                                        <p:cTn id="112" dur="1" fill="hold">
                                          <p:stCondLst>
                                            <p:cond delay="0"/>
                                          </p:stCondLst>
                                        </p:cTn>
                                        <p:tgtEl>
                                          <p:spTgt spid="39"/>
                                        </p:tgtEl>
                                        <p:attrNameLst>
                                          <p:attrName>style.visibility</p:attrName>
                                        </p:attrNameLst>
                                      </p:cBhvr>
                                      <p:to>
                                        <p:strVal val="visible"/>
                                      </p:to>
                                    </p:set>
                                  </p:childTnLst>
                                </p:cTn>
                              </p:par>
                              <p:par>
                                <p:cTn id="113" presetID="1" presetClass="entr" presetSubtype="0" fill="hold" nodeType="withEffect">
                                  <p:stCondLst>
                                    <p:cond delay="0"/>
                                  </p:stCondLst>
                                  <p:childTnLst>
                                    <p:set>
                                      <p:cBhvr>
                                        <p:cTn id="114" dur="1" fill="hold">
                                          <p:stCondLst>
                                            <p:cond delay="0"/>
                                          </p:stCondLst>
                                        </p:cTn>
                                        <p:tgtEl>
                                          <p:spTgt spid="42"/>
                                        </p:tgtEl>
                                        <p:attrNameLst>
                                          <p:attrName>style.visibility</p:attrName>
                                        </p:attrNameLst>
                                      </p:cBhvr>
                                      <p:to>
                                        <p:strVal val="visible"/>
                                      </p:to>
                                    </p:set>
                                  </p:childTnLst>
                                </p:cTn>
                              </p:par>
                              <p:par>
                                <p:cTn id="115" presetID="1" presetClass="entr" presetSubtype="0" fill="hold" nodeType="withEffect">
                                  <p:stCondLst>
                                    <p:cond delay="0"/>
                                  </p:stCondLst>
                                  <p:childTnLst>
                                    <p:set>
                                      <p:cBhvr>
                                        <p:cTn id="116" dur="1" fill="hold">
                                          <p:stCondLst>
                                            <p:cond delay="0"/>
                                          </p:stCondLst>
                                        </p:cTn>
                                        <p:tgtEl>
                                          <p:spTgt spid="47"/>
                                        </p:tgtEl>
                                        <p:attrNameLst>
                                          <p:attrName>style.visibility</p:attrName>
                                        </p:attrNameLst>
                                      </p:cBhvr>
                                      <p:to>
                                        <p:strVal val="visible"/>
                                      </p:to>
                                    </p:set>
                                  </p:childTnLst>
                                </p:cTn>
                              </p:par>
                              <p:par>
                                <p:cTn id="117" presetID="1" presetClass="entr" presetSubtype="0" fill="hold" nodeType="withEffect">
                                  <p:stCondLst>
                                    <p:cond delay="0"/>
                                  </p:stCondLst>
                                  <p:childTnLst>
                                    <p:set>
                                      <p:cBhvr>
                                        <p:cTn id="118" dur="1" fill="hold">
                                          <p:stCondLst>
                                            <p:cond delay="0"/>
                                          </p:stCondLst>
                                        </p:cTn>
                                        <p:tgtEl>
                                          <p:spTgt spid="5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3" grpId="0" animBg="1"/>
      <p:bldP spid="49" grpId="0" animBg="1"/>
      <p:bldP spid="85" grpId="0" animBg="1"/>
      <p:bldP spid="91" grpId="0" animBg="1"/>
      <p:bldP spid="109" grpId="0" animBg="1"/>
      <p:bldP spid="113" grpId="0"/>
      <p:bldP spid="165" grpId="0" animBg="1"/>
      <p:bldP spid="131" grpId="0"/>
    </p:bld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1BEC214-8866-5C25-27EA-6AC6CD8405C6}"/>
              </a:ext>
            </a:extLst>
          </p:cNvPr>
          <p:cNvPicPr>
            <a:picLocks noChangeAspect="1"/>
          </p:cNvPicPr>
          <p:nvPr/>
        </p:nvPicPr>
        <p:blipFill>
          <a:blip r:embed="rId4"/>
          <a:stretch>
            <a:fillRect/>
          </a:stretch>
        </p:blipFill>
        <p:spPr>
          <a:xfrm>
            <a:off x="7451906" y="10419"/>
            <a:ext cx="1577245" cy="2102993"/>
          </a:xfrm>
          <a:prstGeom prst="rect">
            <a:avLst/>
          </a:prstGeom>
        </p:spPr>
      </p:pic>
      <p:sp>
        <p:nvSpPr>
          <p:cNvPr id="2" name="Title 1">
            <a:extLst>
              <a:ext uri="{FF2B5EF4-FFF2-40B4-BE49-F238E27FC236}">
                <a16:creationId xmlns:a16="http://schemas.microsoft.com/office/drawing/2014/main" id="{EB05CBA5-1B75-41D4-9F47-6D033150D988}"/>
              </a:ext>
            </a:extLst>
          </p:cNvPr>
          <p:cNvSpPr>
            <a:spLocks noGrp="1"/>
          </p:cNvSpPr>
          <p:nvPr>
            <p:ph type="title"/>
          </p:nvPr>
        </p:nvSpPr>
        <p:spPr/>
        <p:txBody>
          <a:bodyPr anchor="ctr">
            <a:normAutofit/>
          </a:bodyPr>
          <a:lstStyle/>
          <a:p>
            <a:r>
              <a:rPr lang="en-US"/>
              <a:t>Solar Battery AP Overview</a:t>
            </a:r>
            <a:endParaRPr lang="en-US">
              <a:highlight>
                <a:srgbClr val="FFFF00"/>
              </a:highlight>
            </a:endParaRPr>
          </a:p>
        </p:txBody>
      </p:sp>
      <p:sp>
        <p:nvSpPr>
          <p:cNvPr id="19" name="Text Placeholder 3">
            <a:extLst>
              <a:ext uri="{FF2B5EF4-FFF2-40B4-BE49-F238E27FC236}">
                <a16:creationId xmlns:a16="http://schemas.microsoft.com/office/drawing/2014/main" id="{488CB6EA-22B3-484E-8F9D-B41D4EDB46BF}"/>
              </a:ext>
            </a:extLst>
          </p:cNvPr>
          <p:cNvSpPr>
            <a:spLocks noGrp="1"/>
          </p:cNvSpPr>
          <p:nvPr>
            <p:ph type="body" sz="quarter" idx="10"/>
          </p:nvPr>
        </p:nvSpPr>
        <p:spPr/>
        <p:txBody>
          <a:bodyPr/>
          <a:lstStyle/>
          <a:p>
            <a:r>
              <a:rPr lang="en-US"/>
              <a:t>Innovating a Battery Powered Mesh Network</a:t>
            </a:r>
          </a:p>
        </p:txBody>
      </p:sp>
      <p:sp>
        <p:nvSpPr>
          <p:cNvPr id="3" name="Text Placeholder 2">
            <a:extLst>
              <a:ext uri="{FF2B5EF4-FFF2-40B4-BE49-F238E27FC236}">
                <a16:creationId xmlns:a16="http://schemas.microsoft.com/office/drawing/2014/main" id="{3DF44679-2E59-4144-B557-7717D9831FE5}"/>
              </a:ext>
            </a:extLst>
          </p:cNvPr>
          <p:cNvSpPr>
            <a:spLocks noGrp="1"/>
          </p:cNvSpPr>
          <p:nvPr>
            <p:ph type="body" sz="quarter" idx="11"/>
          </p:nvPr>
        </p:nvSpPr>
        <p:spPr>
          <a:xfrm>
            <a:off x="243840" y="1178121"/>
            <a:ext cx="8214381" cy="3045533"/>
          </a:xfrm>
        </p:spPr>
        <p:txBody>
          <a:bodyPr vert="horz" lIns="91102" tIns="45552" rIns="91102" bIns="45552">
            <a:normAutofit fontScale="92500" lnSpcReduction="20000"/>
          </a:bodyPr>
          <a:lstStyle/>
          <a:p>
            <a:pPr marL="341009" indent="-341009">
              <a:lnSpc>
                <a:spcPct val="150000"/>
              </a:lnSpc>
              <a:buFont typeface="Wingdings" panose="05000000000000000000" pitchFamily="2" charset="2"/>
              <a:buChar char="Ø"/>
            </a:pPr>
            <a:r>
              <a:rPr lang="en-US" sz="1198" dirty="0"/>
              <a:t>Solar Powered Access Point enabling a battery powered mesh for network connectivity</a:t>
            </a:r>
          </a:p>
          <a:p>
            <a:pPr marL="341009" indent="-341009">
              <a:lnSpc>
                <a:spcPct val="150000"/>
              </a:lnSpc>
              <a:buFont typeface="Wingdings" panose="05000000000000000000" pitchFamily="2" charset="2"/>
              <a:buChar char="Ø"/>
            </a:pPr>
            <a:r>
              <a:rPr lang="en-US" sz="1198" dirty="0"/>
              <a:t>Battery Powered Access Point that mounts on utility owned assets…no joint use agreements</a:t>
            </a:r>
          </a:p>
          <a:p>
            <a:pPr marL="341009" indent="-341009">
              <a:lnSpc>
                <a:spcPct val="150000"/>
              </a:lnSpc>
              <a:buFont typeface="Wingdings" panose="05000000000000000000" pitchFamily="2" charset="2"/>
              <a:buChar char="Ø"/>
            </a:pPr>
            <a:r>
              <a:rPr lang="en-US" sz="1198" dirty="0"/>
              <a:t>Battery mesh technology that delivers connectivity resiliency while maintaining 20-year life</a:t>
            </a:r>
          </a:p>
          <a:p>
            <a:pPr marL="341316" indent="-341316">
              <a:lnSpc>
                <a:spcPct val="90000"/>
              </a:lnSpc>
              <a:buFont typeface="Wingdings" panose="05000000000000000000" pitchFamily="2" charset="2"/>
              <a:buChar char="Ø"/>
            </a:pPr>
            <a:r>
              <a:rPr lang="en-US" sz="1198" dirty="0"/>
              <a:t>Field Area Network</a:t>
            </a:r>
          </a:p>
          <a:p>
            <a:pPr marL="384856" lvl="2">
              <a:lnSpc>
                <a:spcPct val="150000"/>
              </a:lnSpc>
            </a:pPr>
            <a:r>
              <a:rPr lang="en-US" sz="1198" dirty="0"/>
              <a:t>Average of ~25-35 devices/Battery AP, initial support for up to 50 (meter room use case)</a:t>
            </a:r>
          </a:p>
          <a:p>
            <a:pPr marL="384856" lvl="2">
              <a:lnSpc>
                <a:spcPct val="150000"/>
              </a:lnSpc>
            </a:pPr>
            <a:r>
              <a:rPr lang="en-US" sz="1198" dirty="0"/>
              <a:t>Communicates with GenX battery devices (500G/W/Intelis/500M)</a:t>
            </a:r>
          </a:p>
          <a:p>
            <a:pPr marL="384856" lvl="2">
              <a:lnSpc>
                <a:spcPct val="150000"/>
              </a:lnSpc>
            </a:pPr>
            <a:r>
              <a:rPr lang="en-US" sz="1198" dirty="0"/>
              <a:t>Life designed for 20 years</a:t>
            </a:r>
          </a:p>
          <a:p>
            <a:pPr marL="341009" indent="-341009">
              <a:lnSpc>
                <a:spcPct val="150000"/>
              </a:lnSpc>
              <a:buFont typeface="Wingdings" panose="05000000000000000000" pitchFamily="2" charset="2"/>
              <a:buChar char="Ø"/>
            </a:pPr>
            <a:r>
              <a:rPr lang="en-US" sz="1198" dirty="0"/>
              <a:t>Minimizes the overall Total Cost of Ownership</a:t>
            </a:r>
          </a:p>
          <a:p>
            <a:pPr marL="384856" lvl="2">
              <a:lnSpc>
                <a:spcPct val="150000"/>
              </a:lnSpc>
            </a:pPr>
            <a:r>
              <a:rPr lang="en-US" sz="1198" dirty="0"/>
              <a:t>Utilizing standard 500G/W and Intelis Gas modules, lowering project capital cost</a:t>
            </a:r>
          </a:p>
          <a:p>
            <a:pPr marL="384856" lvl="2">
              <a:lnSpc>
                <a:spcPct val="150000"/>
              </a:lnSpc>
            </a:pPr>
            <a:r>
              <a:rPr lang="en-US" sz="1198" dirty="0"/>
              <a:t>One cellular takeout point for up to 50 devices minimizes cellular O&amp;M costs</a:t>
            </a:r>
          </a:p>
          <a:p>
            <a:pPr marL="341009" indent="-341009">
              <a:lnSpc>
                <a:spcPct val="150000"/>
              </a:lnSpc>
              <a:buFont typeface="Wingdings" panose="05000000000000000000" pitchFamily="2" charset="2"/>
              <a:buChar char="Ø"/>
            </a:pPr>
            <a:r>
              <a:rPr lang="en-US" sz="1198" dirty="0"/>
              <a:t>Enables Itron’s partner ecosystem of technology solution providers (i.e. Methane, RTUs, EVCs)</a:t>
            </a:r>
          </a:p>
          <a:p>
            <a:pPr marL="341009" indent="-341009">
              <a:lnSpc>
                <a:spcPct val="150000"/>
              </a:lnSpc>
              <a:buFont typeface="Wingdings" panose="05000000000000000000" pitchFamily="2" charset="2"/>
              <a:buChar char="Ø"/>
            </a:pPr>
            <a:r>
              <a:rPr lang="en-US" sz="1198" dirty="0"/>
              <a:t>Provides utilities the full flexibility to deploy in AMR and graduate to AMI at the speed of value</a:t>
            </a:r>
          </a:p>
          <a:p>
            <a:pPr marL="341009" indent="-341009">
              <a:lnSpc>
                <a:spcPct val="150000"/>
              </a:lnSpc>
              <a:buFont typeface="Wingdings" panose="05000000000000000000" pitchFamily="2" charset="2"/>
              <a:buChar char="Ø"/>
            </a:pPr>
            <a:endParaRPr lang="en-US" sz="1198" dirty="0"/>
          </a:p>
          <a:p>
            <a:pPr marL="341009" indent="-341009">
              <a:lnSpc>
                <a:spcPct val="150000"/>
              </a:lnSpc>
              <a:buFont typeface="Wingdings" panose="05000000000000000000" pitchFamily="2" charset="2"/>
              <a:buChar char="Ø"/>
            </a:pPr>
            <a:endParaRPr lang="en-US" sz="1197" dirty="0"/>
          </a:p>
        </p:txBody>
      </p:sp>
      <p:sp>
        <p:nvSpPr>
          <p:cNvPr id="4" name="TextBox 3">
            <a:extLst>
              <a:ext uri="{FF2B5EF4-FFF2-40B4-BE49-F238E27FC236}">
                <a16:creationId xmlns:a16="http://schemas.microsoft.com/office/drawing/2014/main" id="{632EFCCB-0BA1-FFD0-1E0C-A4A1316B28FB}"/>
              </a:ext>
            </a:extLst>
          </p:cNvPr>
          <p:cNvSpPr txBox="1"/>
          <p:nvPr/>
        </p:nvSpPr>
        <p:spPr>
          <a:xfrm>
            <a:off x="7135522" y="2216657"/>
            <a:ext cx="1893629" cy="338106"/>
          </a:xfrm>
          <a:prstGeom prst="rect">
            <a:avLst/>
          </a:prstGeom>
          <a:noFill/>
        </p:spPr>
        <p:txBody>
          <a:bodyPr wrap="square" rtlCol="0">
            <a:spAutoFit/>
          </a:bodyPr>
          <a:lstStyle/>
          <a:p>
            <a:pPr marL="0" marR="0" lvl="0" indent="0" algn="l" defTabSz="456355" rtl="0" eaLnBrk="1" fontAlgn="auto" latinLnBrk="0" hangingPunct="1">
              <a:lnSpc>
                <a:spcPct val="100000"/>
              </a:lnSpc>
              <a:spcBef>
                <a:spcPts val="0"/>
              </a:spcBef>
              <a:spcAft>
                <a:spcPts val="0"/>
              </a:spcAft>
              <a:buClrTx/>
              <a:buSzTx/>
              <a:buFontTx/>
              <a:buNone/>
              <a:tabLst/>
              <a:defRPr/>
            </a:pPr>
            <a:r>
              <a:rPr kumimoji="0" lang="en-US" sz="1597" b="1" i="0" u="none" strike="noStrike" kern="1200" cap="none" spc="0" normalizeH="0" baseline="0" noProof="0">
                <a:ln>
                  <a:noFill/>
                </a:ln>
                <a:solidFill>
                  <a:srgbClr val="141619"/>
                </a:solidFill>
                <a:effectLst/>
                <a:uLnTx/>
                <a:uFillTx/>
                <a:latin typeface="Arial"/>
                <a:ea typeface="+mn-ea"/>
                <a:cs typeface="+mn-cs"/>
              </a:rPr>
              <a:t>Solar Battery AP</a:t>
            </a:r>
          </a:p>
        </p:txBody>
      </p:sp>
      <p:pic>
        <p:nvPicPr>
          <p:cNvPr id="17" name="Picture 16" descr="Gas Meter Round.png">
            <a:extLst>
              <a:ext uri="{FF2B5EF4-FFF2-40B4-BE49-F238E27FC236}">
                <a16:creationId xmlns:a16="http://schemas.microsoft.com/office/drawing/2014/main" id="{A201B232-56CE-553F-66E5-E6826EA0C37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145217" y="2976323"/>
            <a:ext cx="277253" cy="412885"/>
          </a:xfrm>
          <a:prstGeom prst="rect">
            <a:avLst/>
          </a:prstGeom>
        </p:spPr>
      </p:pic>
      <p:pic>
        <p:nvPicPr>
          <p:cNvPr id="21" name="Picture 20">
            <a:extLst>
              <a:ext uri="{FF2B5EF4-FFF2-40B4-BE49-F238E27FC236}">
                <a16:creationId xmlns:a16="http://schemas.microsoft.com/office/drawing/2014/main" id="{60A52595-D40B-BD85-9BE5-02A00C74236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605785" y="3690076"/>
            <a:ext cx="356816" cy="246755"/>
          </a:xfrm>
          <a:prstGeom prst="rect">
            <a:avLst/>
          </a:prstGeom>
        </p:spPr>
      </p:pic>
      <p:cxnSp>
        <p:nvCxnSpPr>
          <p:cNvPr id="22" name="Straight Connector 21">
            <a:extLst>
              <a:ext uri="{FF2B5EF4-FFF2-40B4-BE49-F238E27FC236}">
                <a16:creationId xmlns:a16="http://schemas.microsoft.com/office/drawing/2014/main" id="{7B5B0421-F8B4-32A8-B888-CDCAD2929828}"/>
              </a:ext>
            </a:extLst>
          </p:cNvPr>
          <p:cNvCxnSpPr>
            <a:cxnSpLocks/>
            <a:endCxn id="21" idx="0"/>
          </p:cNvCxnSpPr>
          <p:nvPr/>
        </p:nvCxnSpPr>
        <p:spPr>
          <a:xfrm>
            <a:off x="8414670" y="3340345"/>
            <a:ext cx="369524" cy="349731"/>
          </a:xfrm>
          <a:prstGeom prst="line">
            <a:avLst/>
          </a:prstGeom>
          <a:ln w="19050" cmpd="sng">
            <a:solidFill>
              <a:schemeClr val="bg1"/>
            </a:solidFill>
            <a:prstDash val="dash"/>
          </a:ln>
          <a:effectLst/>
        </p:spPr>
        <p:style>
          <a:lnRef idx="2">
            <a:schemeClr val="accent1"/>
          </a:lnRef>
          <a:fillRef idx="0">
            <a:schemeClr val="accent1"/>
          </a:fillRef>
          <a:effectRef idx="1">
            <a:schemeClr val="accent1"/>
          </a:effectRef>
          <a:fontRef idx="minor">
            <a:schemeClr val="tx1"/>
          </a:fontRef>
        </p:style>
      </p:cxnSp>
      <p:pic>
        <p:nvPicPr>
          <p:cNvPr id="25" name="Picture 24" descr="Gas Meter Round.png">
            <a:extLst>
              <a:ext uri="{FF2B5EF4-FFF2-40B4-BE49-F238E27FC236}">
                <a16:creationId xmlns:a16="http://schemas.microsoft.com/office/drawing/2014/main" id="{A4F8F3BD-B666-D9E5-02BF-B09E4C490CD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287532" y="4337991"/>
            <a:ext cx="277253" cy="412885"/>
          </a:xfrm>
          <a:prstGeom prst="rect">
            <a:avLst/>
          </a:prstGeom>
        </p:spPr>
      </p:pic>
      <p:cxnSp>
        <p:nvCxnSpPr>
          <p:cNvPr id="30" name="Straight Connector 29">
            <a:extLst>
              <a:ext uri="{FF2B5EF4-FFF2-40B4-BE49-F238E27FC236}">
                <a16:creationId xmlns:a16="http://schemas.microsoft.com/office/drawing/2014/main" id="{F8EC0985-B349-5755-ECA8-644D77D48386}"/>
              </a:ext>
            </a:extLst>
          </p:cNvPr>
          <p:cNvCxnSpPr>
            <a:cxnSpLocks/>
          </p:cNvCxnSpPr>
          <p:nvPr/>
        </p:nvCxnSpPr>
        <p:spPr>
          <a:xfrm flipH="1">
            <a:off x="6942519" y="3427004"/>
            <a:ext cx="144081" cy="366783"/>
          </a:xfrm>
          <a:prstGeom prst="line">
            <a:avLst/>
          </a:prstGeom>
          <a:ln w="19050" cmpd="sng">
            <a:solidFill>
              <a:schemeClr val="bg1"/>
            </a:solidFill>
            <a:prstDash val="dash"/>
          </a:ln>
          <a:effectLst/>
        </p:spPr>
        <p:style>
          <a:lnRef idx="2">
            <a:schemeClr val="accent1"/>
          </a:lnRef>
          <a:fillRef idx="0">
            <a:schemeClr val="accent1"/>
          </a:fillRef>
          <a:effectRef idx="1">
            <a:schemeClr val="accent1"/>
          </a:effectRef>
          <a:fontRef idx="minor">
            <a:schemeClr val="tx1"/>
          </a:fontRef>
        </p:style>
      </p:cxnSp>
      <p:cxnSp>
        <p:nvCxnSpPr>
          <p:cNvPr id="31" name="Straight Connector 30">
            <a:extLst>
              <a:ext uri="{FF2B5EF4-FFF2-40B4-BE49-F238E27FC236}">
                <a16:creationId xmlns:a16="http://schemas.microsoft.com/office/drawing/2014/main" id="{30A67FE1-540E-8658-123F-D4886B4F29F9}"/>
              </a:ext>
            </a:extLst>
          </p:cNvPr>
          <p:cNvCxnSpPr>
            <a:cxnSpLocks/>
          </p:cNvCxnSpPr>
          <p:nvPr/>
        </p:nvCxnSpPr>
        <p:spPr>
          <a:xfrm flipH="1">
            <a:off x="6536683" y="4161739"/>
            <a:ext cx="226745" cy="152160"/>
          </a:xfrm>
          <a:prstGeom prst="line">
            <a:avLst/>
          </a:prstGeom>
          <a:ln w="19050" cmpd="sng">
            <a:solidFill>
              <a:schemeClr val="bg1"/>
            </a:solidFill>
            <a:prstDash val="dash"/>
          </a:ln>
          <a:effectLst/>
        </p:spPr>
        <p:style>
          <a:lnRef idx="2">
            <a:schemeClr val="accent1"/>
          </a:lnRef>
          <a:fillRef idx="0">
            <a:schemeClr val="accent1"/>
          </a:fillRef>
          <a:effectRef idx="1">
            <a:schemeClr val="accent1"/>
          </a:effectRef>
          <a:fontRef idx="minor">
            <a:schemeClr val="tx1"/>
          </a:fontRef>
        </p:style>
      </p:cxnSp>
      <p:cxnSp>
        <p:nvCxnSpPr>
          <p:cNvPr id="32" name="Straight Connector 31">
            <a:extLst>
              <a:ext uri="{FF2B5EF4-FFF2-40B4-BE49-F238E27FC236}">
                <a16:creationId xmlns:a16="http://schemas.microsoft.com/office/drawing/2014/main" id="{8D9AE3BC-F58E-1270-E1AF-BB45EC68C76C}"/>
              </a:ext>
            </a:extLst>
          </p:cNvPr>
          <p:cNvCxnSpPr>
            <a:cxnSpLocks/>
          </p:cNvCxnSpPr>
          <p:nvPr/>
        </p:nvCxnSpPr>
        <p:spPr>
          <a:xfrm>
            <a:off x="8192166" y="3427004"/>
            <a:ext cx="0" cy="281937"/>
          </a:xfrm>
          <a:prstGeom prst="line">
            <a:avLst/>
          </a:prstGeom>
          <a:ln w="19050" cmpd="sng">
            <a:solidFill>
              <a:schemeClr val="bg1"/>
            </a:solidFill>
            <a:prstDash val="dash"/>
          </a:ln>
          <a:effectLst/>
        </p:spPr>
        <p:style>
          <a:lnRef idx="2">
            <a:schemeClr val="accent1"/>
          </a:lnRef>
          <a:fillRef idx="0">
            <a:schemeClr val="accent1"/>
          </a:fillRef>
          <a:effectRef idx="1">
            <a:schemeClr val="accent1"/>
          </a:effectRef>
          <a:fontRef idx="minor">
            <a:schemeClr val="tx1"/>
          </a:fontRef>
        </p:style>
      </p:cxnSp>
      <p:pic>
        <p:nvPicPr>
          <p:cNvPr id="35" name="Picture 34" descr="Gas Meter Round.png">
            <a:extLst>
              <a:ext uri="{FF2B5EF4-FFF2-40B4-BE49-F238E27FC236}">
                <a16:creationId xmlns:a16="http://schemas.microsoft.com/office/drawing/2014/main" id="{08C17998-B56D-1AF8-BC64-0DB1D87EB54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053540" y="3627845"/>
            <a:ext cx="277253" cy="412885"/>
          </a:xfrm>
          <a:prstGeom prst="rect">
            <a:avLst/>
          </a:prstGeom>
        </p:spPr>
      </p:pic>
      <p:pic>
        <p:nvPicPr>
          <p:cNvPr id="38" name="Picture 37">
            <a:extLst>
              <a:ext uri="{FF2B5EF4-FFF2-40B4-BE49-F238E27FC236}">
                <a16:creationId xmlns:a16="http://schemas.microsoft.com/office/drawing/2014/main" id="{AB345B15-5E2D-B51F-7E41-82723ACDDFC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813465" y="3914985"/>
            <a:ext cx="356816" cy="246755"/>
          </a:xfrm>
          <a:prstGeom prst="rect">
            <a:avLst/>
          </a:prstGeom>
        </p:spPr>
      </p:pic>
      <p:cxnSp>
        <p:nvCxnSpPr>
          <p:cNvPr id="44" name="Straight Connector 43">
            <a:extLst>
              <a:ext uri="{FF2B5EF4-FFF2-40B4-BE49-F238E27FC236}">
                <a16:creationId xmlns:a16="http://schemas.microsoft.com/office/drawing/2014/main" id="{2403E46A-91C1-5F97-48F0-900A56D5ABD5}"/>
              </a:ext>
            </a:extLst>
          </p:cNvPr>
          <p:cNvCxnSpPr>
            <a:cxnSpLocks/>
          </p:cNvCxnSpPr>
          <p:nvPr/>
        </p:nvCxnSpPr>
        <p:spPr>
          <a:xfrm>
            <a:off x="8316158" y="4066705"/>
            <a:ext cx="369524" cy="349731"/>
          </a:xfrm>
          <a:prstGeom prst="line">
            <a:avLst/>
          </a:prstGeom>
          <a:ln w="19050" cmpd="sng">
            <a:solidFill>
              <a:schemeClr val="bg1"/>
            </a:solidFill>
            <a:prstDash val="dash"/>
          </a:ln>
          <a:effectLst/>
        </p:spPr>
        <p:style>
          <a:lnRef idx="2">
            <a:schemeClr val="accent1"/>
          </a:lnRef>
          <a:fillRef idx="0">
            <a:schemeClr val="accent1"/>
          </a:fillRef>
          <a:effectRef idx="1">
            <a:schemeClr val="accent1"/>
          </a:effectRef>
          <a:fontRef idx="minor">
            <a:schemeClr val="tx1"/>
          </a:fontRef>
        </p:style>
      </p:cxnSp>
      <p:cxnSp>
        <p:nvCxnSpPr>
          <p:cNvPr id="45" name="Straight Connector 44">
            <a:extLst>
              <a:ext uri="{FF2B5EF4-FFF2-40B4-BE49-F238E27FC236}">
                <a16:creationId xmlns:a16="http://schemas.microsoft.com/office/drawing/2014/main" id="{93CA6C0C-AC65-0D1B-F22B-34ED9B0BA761}"/>
              </a:ext>
            </a:extLst>
          </p:cNvPr>
          <p:cNvCxnSpPr>
            <a:cxnSpLocks/>
          </p:cNvCxnSpPr>
          <p:nvPr/>
        </p:nvCxnSpPr>
        <p:spPr>
          <a:xfrm flipH="1">
            <a:off x="8029214" y="4142558"/>
            <a:ext cx="127111" cy="174866"/>
          </a:xfrm>
          <a:prstGeom prst="line">
            <a:avLst/>
          </a:prstGeom>
          <a:ln w="19050" cmpd="sng">
            <a:solidFill>
              <a:schemeClr val="bg1"/>
            </a:solidFill>
            <a:prstDash val="dash"/>
          </a:ln>
          <a:effectLst/>
        </p:spPr>
        <p:style>
          <a:lnRef idx="2">
            <a:schemeClr val="accent1"/>
          </a:lnRef>
          <a:fillRef idx="0">
            <a:schemeClr val="accent1"/>
          </a:fillRef>
          <a:effectRef idx="1">
            <a:schemeClr val="accent1"/>
          </a:effectRef>
          <a:fontRef idx="minor">
            <a:schemeClr val="tx1"/>
          </a:fontRef>
        </p:style>
      </p:cxnSp>
      <p:pic>
        <p:nvPicPr>
          <p:cNvPr id="46" name="Picture 45">
            <a:extLst>
              <a:ext uri="{FF2B5EF4-FFF2-40B4-BE49-F238E27FC236}">
                <a16:creationId xmlns:a16="http://schemas.microsoft.com/office/drawing/2014/main" id="{C0889DD6-0A62-487F-714A-05901873FD5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815869" y="4324070"/>
            <a:ext cx="356816" cy="246755"/>
          </a:xfrm>
          <a:prstGeom prst="rect">
            <a:avLst/>
          </a:prstGeom>
        </p:spPr>
      </p:pic>
      <p:cxnSp>
        <p:nvCxnSpPr>
          <p:cNvPr id="47" name="Straight Connector 46">
            <a:extLst>
              <a:ext uri="{FF2B5EF4-FFF2-40B4-BE49-F238E27FC236}">
                <a16:creationId xmlns:a16="http://schemas.microsoft.com/office/drawing/2014/main" id="{F7EA3FA3-A1BB-37D9-6018-8932DE424ECF}"/>
              </a:ext>
            </a:extLst>
          </p:cNvPr>
          <p:cNvCxnSpPr>
            <a:cxnSpLocks/>
          </p:cNvCxnSpPr>
          <p:nvPr/>
        </p:nvCxnSpPr>
        <p:spPr>
          <a:xfrm>
            <a:off x="7198447" y="4181167"/>
            <a:ext cx="224023" cy="183692"/>
          </a:xfrm>
          <a:prstGeom prst="line">
            <a:avLst/>
          </a:prstGeom>
          <a:ln w="19050" cmpd="sng">
            <a:solidFill>
              <a:schemeClr val="bg1"/>
            </a:solidFill>
            <a:prstDash val="dash"/>
          </a:ln>
          <a:effectLst/>
        </p:spPr>
        <p:style>
          <a:lnRef idx="2">
            <a:schemeClr val="accent1"/>
          </a:lnRef>
          <a:fillRef idx="0">
            <a:schemeClr val="accent1"/>
          </a:fillRef>
          <a:effectRef idx="1">
            <a:schemeClr val="accent1"/>
          </a:effectRef>
          <a:fontRef idx="minor">
            <a:schemeClr val="tx1"/>
          </a:fontRef>
        </p:style>
      </p:cxnSp>
      <p:sp>
        <p:nvSpPr>
          <p:cNvPr id="6" name="TextBox 5">
            <a:extLst>
              <a:ext uri="{FF2B5EF4-FFF2-40B4-BE49-F238E27FC236}">
                <a16:creationId xmlns:a16="http://schemas.microsoft.com/office/drawing/2014/main" id="{37AD7166-EAD8-6192-E9CD-87625D58D50B}"/>
              </a:ext>
            </a:extLst>
          </p:cNvPr>
          <p:cNvSpPr txBox="1"/>
          <p:nvPr/>
        </p:nvSpPr>
        <p:spPr>
          <a:xfrm>
            <a:off x="278219" y="4222054"/>
            <a:ext cx="4563545" cy="486672"/>
          </a:xfrm>
          <a:prstGeom prst="rect">
            <a:avLst/>
          </a:prstGeom>
          <a:noFill/>
        </p:spPr>
        <p:txBody>
          <a:bodyPr wrap="square">
            <a:spAutoFit/>
          </a:bodyPr>
          <a:lstStyle/>
          <a:p>
            <a:pPr marL="0" marR="0" lvl="0" indent="0" algn="l" defTabSz="455522" rtl="0" eaLnBrk="1" fontAlgn="auto" latinLnBrk="0" hangingPunct="1">
              <a:lnSpc>
                <a:spcPct val="100000"/>
              </a:lnSpc>
              <a:spcBef>
                <a:spcPct val="20000"/>
              </a:spcBef>
              <a:spcAft>
                <a:spcPts val="0"/>
              </a:spcAft>
              <a:buClr>
                <a:srgbClr val="D02124"/>
              </a:buClr>
              <a:buSzTx/>
              <a:buFontTx/>
              <a:buNone/>
              <a:tabLst/>
              <a:defRPr/>
            </a:pPr>
            <a:r>
              <a:rPr kumimoji="0" lang="en-US" sz="1198" b="1" i="0" u="none" strike="noStrike" kern="1200" cap="none" spc="0" normalizeH="0" baseline="0" noProof="0">
                <a:ln>
                  <a:noFill/>
                </a:ln>
                <a:solidFill>
                  <a:srgbClr val="0070C0"/>
                </a:solidFill>
                <a:effectLst/>
                <a:uLnTx/>
                <a:uFillTx/>
                <a:latin typeface="Arial"/>
                <a:ea typeface="+mn-ea"/>
                <a:cs typeface="+mn-cs"/>
              </a:rPr>
              <a:t>In development</a:t>
            </a:r>
            <a:r>
              <a:rPr kumimoji="0" lang="en-US" sz="1198" b="1" i="0" u="none" strike="noStrike" kern="1200" cap="none" spc="0" normalizeH="0" baseline="0" noProof="0">
                <a:ln>
                  <a:noFill/>
                </a:ln>
                <a:solidFill>
                  <a:srgbClr val="0070C0"/>
                </a:solidFill>
                <a:effectLst/>
                <a:uLnTx/>
                <a:uFillTx/>
                <a:latin typeface="Arial"/>
                <a:ea typeface="+mn-ea"/>
                <a:cs typeface="Arial"/>
              </a:rPr>
              <a:t>:</a:t>
            </a:r>
          </a:p>
          <a:p>
            <a:pPr marL="170822" marR="0" lvl="0" indent="-170822" algn="l" defTabSz="455522" rtl="0" eaLnBrk="1" fontAlgn="auto" latinLnBrk="0" hangingPunct="1">
              <a:lnSpc>
                <a:spcPct val="100000"/>
              </a:lnSpc>
              <a:spcBef>
                <a:spcPts val="200"/>
              </a:spcBef>
              <a:spcAft>
                <a:spcPts val="0"/>
              </a:spcAft>
              <a:buClrTx/>
              <a:buSzTx/>
              <a:buFontTx/>
              <a:buNone/>
              <a:tabLst/>
              <a:defRPr/>
            </a:pPr>
            <a:r>
              <a:rPr kumimoji="0" lang="en-US" sz="1198" b="0" i="0" u="none" strike="noStrike" kern="1200" cap="none" spc="0" normalizeH="0" baseline="0" noProof="0">
                <a:ln>
                  <a:noFill/>
                </a:ln>
                <a:solidFill>
                  <a:srgbClr val="434A52"/>
                </a:solidFill>
                <a:effectLst/>
                <a:uLnTx/>
                <a:uFillTx/>
                <a:latin typeface="Arial"/>
                <a:ea typeface="+mn-ea"/>
                <a:cs typeface="Arial"/>
              </a:rPr>
              <a:t>Available on Gen5 / UIQ (Verizon, coming in Q1, 202</a:t>
            </a:r>
            <a:r>
              <a:rPr kumimoji="0" lang="en-US" sz="1198" b="0" i="0" u="none" strike="noStrike" kern="1200" cap="none" spc="0" normalizeH="0" baseline="0" noProof="0">
                <a:ln>
                  <a:noFill/>
                </a:ln>
                <a:solidFill>
                  <a:srgbClr val="434A52"/>
                </a:solidFill>
                <a:effectLst/>
                <a:uLnTx/>
                <a:uFillTx/>
                <a:latin typeface="Arial"/>
                <a:ea typeface="+mn-ea"/>
                <a:cs typeface="+mn-cs"/>
              </a:rPr>
              <a:t>5</a:t>
            </a:r>
            <a:r>
              <a:rPr kumimoji="0" lang="en-US" sz="1198" b="0" i="0" u="none" strike="noStrike" kern="1200" cap="none" spc="0" normalizeH="0" baseline="0" noProof="0">
                <a:ln>
                  <a:noFill/>
                </a:ln>
                <a:solidFill>
                  <a:srgbClr val="434A52"/>
                </a:solidFill>
                <a:effectLst/>
                <a:uLnTx/>
                <a:uFillTx/>
                <a:latin typeface="Arial"/>
                <a:ea typeface="+mn-ea"/>
                <a:cs typeface="Arial"/>
              </a:rPr>
              <a:t>)</a:t>
            </a:r>
            <a:endParaRPr kumimoji="0" lang="en-US" sz="1597" b="0" i="0" u="none" strike="noStrike" kern="1200" cap="none" spc="0" normalizeH="0" baseline="0" noProof="0">
              <a:ln>
                <a:noFill/>
              </a:ln>
              <a:solidFill>
                <a:srgbClr val="434A52"/>
              </a:solidFill>
              <a:effectLst/>
              <a:uLnTx/>
              <a:uFillTx/>
              <a:latin typeface="Arial"/>
              <a:ea typeface="+mn-ea"/>
              <a:cs typeface="+mn-cs"/>
            </a:endParaRPr>
          </a:p>
        </p:txBody>
      </p:sp>
      <p:pic>
        <p:nvPicPr>
          <p:cNvPr id="8" name="Picture 7" descr="Gas Meter Round.png">
            <a:extLst>
              <a:ext uri="{FF2B5EF4-FFF2-40B4-BE49-F238E27FC236}">
                <a16:creationId xmlns:a16="http://schemas.microsoft.com/office/drawing/2014/main" id="{903B62A3-2CBD-23BE-9D42-8156890AEA22}"/>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706269" y="4398443"/>
            <a:ext cx="277253" cy="412885"/>
          </a:xfrm>
          <a:prstGeom prst="rect">
            <a:avLst/>
          </a:prstGeom>
        </p:spPr>
      </p:pic>
      <p:pic>
        <p:nvPicPr>
          <p:cNvPr id="13" name="Picture 12" descr="Gas Meter Round.png">
            <a:extLst>
              <a:ext uri="{FF2B5EF4-FFF2-40B4-BE49-F238E27FC236}">
                <a16:creationId xmlns:a16="http://schemas.microsoft.com/office/drawing/2014/main" id="{E4D30216-7DD3-8A3A-A3A1-F795BB217D2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313279" y="4370808"/>
            <a:ext cx="277253" cy="412885"/>
          </a:xfrm>
          <a:prstGeom prst="rect">
            <a:avLst/>
          </a:prstGeom>
        </p:spPr>
      </p:pic>
      <p:pic>
        <p:nvPicPr>
          <p:cNvPr id="16" name="Picture 15" descr="Gas Meter Round.png">
            <a:extLst>
              <a:ext uri="{FF2B5EF4-FFF2-40B4-BE49-F238E27FC236}">
                <a16:creationId xmlns:a16="http://schemas.microsoft.com/office/drawing/2014/main" id="{B76680B9-C6AE-C4EB-A8D4-C4A876398E4A}"/>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110015" y="2951416"/>
            <a:ext cx="277253" cy="412885"/>
          </a:xfrm>
          <a:prstGeom prst="rect">
            <a:avLst/>
          </a:prstGeom>
        </p:spPr>
      </p:pic>
    </p:spTree>
    <p:extLst>
      <p:ext uri="{BB962C8B-B14F-4D97-AF65-F5344CB8AC3E}">
        <p14:creationId xmlns:p14="http://schemas.microsoft.com/office/powerpoint/2010/main" val="257790818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2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0"/>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1"/>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2"/>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4"/>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5"/>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61008" y="288152"/>
            <a:ext cx="8221987" cy="522772"/>
          </a:xfrm>
        </p:spPr>
        <p:txBody>
          <a:bodyPr/>
          <a:lstStyle/>
          <a:p>
            <a:r>
              <a:rPr lang="en-US" dirty="0"/>
              <a:t>Beginnings of utility measurement</a:t>
            </a:r>
          </a:p>
        </p:txBody>
      </p:sp>
      <p:sp>
        <p:nvSpPr>
          <p:cNvPr id="4" name="Rectangle 3"/>
          <p:cNvSpPr txBox="1">
            <a:spLocks noChangeArrowheads="1"/>
          </p:cNvSpPr>
          <p:nvPr/>
        </p:nvSpPr>
        <p:spPr>
          <a:xfrm>
            <a:off x="461007" y="1399676"/>
            <a:ext cx="3930291" cy="2959535"/>
          </a:xfrm>
          <a:prstGeom prst="rect">
            <a:avLst/>
          </a:prstGeom>
        </p:spPr>
        <p:txBody>
          <a:bodyPr/>
          <a:lstStyle>
            <a:lvl1pPr marL="171450" indent="-171450" algn="l" defTabSz="457200" rtl="0" eaLnBrk="1" latinLnBrk="0" hangingPunct="1">
              <a:spcBef>
                <a:spcPct val="20000"/>
              </a:spcBef>
              <a:buClr>
                <a:srgbClr val="D02124"/>
              </a:buClr>
              <a:buFont typeface="Lucida Grande"/>
              <a:buChar char="»"/>
              <a:defRPr sz="1600" kern="1200">
                <a:solidFill>
                  <a:schemeClr val="tx1"/>
                </a:solidFill>
                <a:latin typeface="Arial"/>
                <a:ea typeface="+mn-ea"/>
                <a:cs typeface="Arial"/>
              </a:defRPr>
            </a:lvl1pPr>
            <a:lvl2pPr marL="285750" indent="-114300" algn="l" defTabSz="457200" rtl="0" eaLnBrk="1" latinLnBrk="0" hangingPunct="1">
              <a:spcBef>
                <a:spcPct val="20000"/>
              </a:spcBef>
              <a:buClr>
                <a:srgbClr val="D02124"/>
              </a:buClr>
              <a:buSzPct val="100000"/>
              <a:buFont typeface="Arial"/>
              <a:buChar char="•"/>
              <a:defRPr sz="1600" kern="1200">
                <a:solidFill>
                  <a:schemeClr val="tx1"/>
                </a:solidFill>
                <a:latin typeface="Arial"/>
                <a:ea typeface="+mn-ea"/>
                <a:cs typeface="Arial"/>
              </a:defRPr>
            </a:lvl2pPr>
            <a:lvl3pPr marL="457200" indent="-171450" algn="l" defTabSz="457200" rtl="0" eaLnBrk="1" latinLnBrk="0" hangingPunct="1">
              <a:spcBef>
                <a:spcPct val="20000"/>
              </a:spcBef>
              <a:buClr>
                <a:srgbClr val="D02124"/>
              </a:buClr>
              <a:buSzPct val="80000"/>
              <a:buFont typeface="Lucida Grande"/>
              <a:buChar char="-"/>
              <a:defRPr sz="1600" kern="1200" baseline="0">
                <a:solidFill>
                  <a:schemeClr val="tx1"/>
                </a:solidFill>
                <a:latin typeface="Arial"/>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599" dirty="0">
                <a:solidFill>
                  <a:schemeClr val="bg1"/>
                </a:solidFill>
                <a:latin typeface="Arial" pitchFamily="34" charset="0"/>
                <a:cs typeface="Arial" pitchFamily="34" charset="0"/>
              </a:rPr>
              <a:t>Founded in 1816, the Gas Light Company of Baltimore was first U.S. utility.</a:t>
            </a:r>
          </a:p>
          <a:p>
            <a:r>
              <a:rPr lang="en-US" sz="1599" dirty="0">
                <a:solidFill>
                  <a:schemeClr val="bg1"/>
                </a:solidFill>
                <a:latin typeface="Arial" pitchFamily="34" charset="0"/>
                <a:cs typeface="Arial" pitchFamily="34" charset="0"/>
              </a:rPr>
              <a:t>Used a “flat rate” billing scheme</a:t>
            </a:r>
          </a:p>
          <a:p>
            <a:r>
              <a:rPr lang="en-US" sz="1599" dirty="0">
                <a:solidFill>
                  <a:schemeClr val="bg1"/>
                </a:solidFill>
                <a:latin typeface="Arial" pitchFamily="34" charset="0"/>
                <a:cs typeface="Arial" pitchFamily="34" charset="0"/>
              </a:rPr>
              <a:t>Charged equally regardless of actual usage</a:t>
            </a:r>
          </a:p>
          <a:p>
            <a:r>
              <a:rPr lang="en-US" sz="1599" dirty="0">
                <a:solidFill>
                  <a:schemeClr val="bg1"/>
                </a:solidFill>
                <a:latin typeface="Arial" pitchFamily="34" charset="0"/>
                <a:cs typeface="Arial" pitchFamily="34" charset="0"/>
              </a:rPr>
              <a:t>Costs were high and users did not want to pay for other irresponsible end users</a:t>
            </a:r>
          </a:p>
          <a:p>
            <a:r>
              <a:rPr lang="en-US" sz="1599" dirty="0">
                <a:solidFill>
                  <a:schemeClr val="bg1"/>
                </a:solidFill>
                <a:latin typeface="Arial" pitchFamily="34" charset="0"/>
                <a:cs typeface="Arial" pitchFamily="34" charset="0"/>
              </a:rPr>
              <a:t>Utility had no way of accounting for theft or leakage</a:t>
            </a:r>
          </a:p>
        </p:txBody>
      </p:sp>
      <p:pic>
        <p:nvPicPr>
          <p:cNvPr id="5" name="Picture 5">
            <a:extLst>
              <a:ext uri="{FF2B5EF4-FFF2-40B4-BE49-F238E27FC236}">
                <a16:creationId xmlns:a16="http://schemas.microsoft.com/office/drawing/2014/main" id="{1ECC7F03-4B2A-4B53-BC6D-C365558781AD}"/>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4636238" y="1341883"/>
            <a:ext cx="4087145" cy="29595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019745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5"/>
                                        </p:tgtEl>
                                        <p:attrNameLst>
                                          <p:attrName>style.visibility</p:attrName>
                                        </p:attrNameLst>
                                      </p:cBhvr>
                                      <p:to>
                                        <p:strVal val="visible"/>
                                      </p:to>
                                    </p:set>
                                    <p:anim calcmode="lin" valueType="num">
                                      <p:cBhvr additive="base">
                                        <p:cTn id="13" dur="500" fill="hold"/>
                                        <p:tgtEl>
                                          <p:spTgt spid="5"/>
                                        </p:tgtEl>
                                        <p:attrNameLst>
                                          <p:attrName>ppt_x</p:attrName>
                                        </p:attrNameLst>
                                      </p:cBhvr>
                                      <p:tavLst>
                                        <p:tav tm="0">
                                          <p:val>
                                            <p:strVal val="#ppt_x"/>
                                          </p:val>
                                        </p:tav>
                                        <p:tav tm="100000">
                                          <p:val>
                                            <p:strVal val="#ppt_x"/>
                                          </p:val>
                                        </p:tav>
                                      </p:tavLst>
                                    </p:anim>
                                    <p:anim calcmode="lin" valueType="num">
                                      <p:cBhvr additive="base">
                                        <p:cTn id="14"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2C3D0F-2726-420F-9F14-517DCDEF25FF}"/>
              </a:ext>
            </a:extLst>
          </p:cNvPr>
          <p:cNvSpPr>
            <a:spLocks noGrp="1"/>
          </p:cNvSpPr>
          <p:nvPr>
            <p:ph type="title"/>
          </p:nvPr>
        </p:nvSpPr>
        <p:spPr/>
        <p:txBody>
          <a:bodyPr/>
          <a:lstStyle/>
          <a:p>
            <a:r>
              <a:rPr lang="en-US" dirty="0"/>
              <a:t>Integrated Sensors</a:t>
            </a:r>
          </a:p>
        </p:txBody>
      </p:sp>
      <p:sp>
        <p:nvSpPr>
          <p:cNvPr id="8" name="Text Placeholder 4">
            <a:extLst>
              <a:ext uri="{FF2B5EF4-FFF2-40B4-BE49-F238E27FC236}">
                <a16:creationId xmlns:a16="http://schemas.microsoft.com/office/drawing/2014/main" id="{ACB6D893-6B31-4B83-99E0-380E10431A4A}"/>
              </a:ext>
            </a:extLst>
          </p:cNvPr>
          <p:cNvSpPr txBox="1">
            <a:spLocks/>
          </p:cNvSpPr>
          <p:nvPr/>
        </p:nvSpPr>
        <p:spPr>
          <a:xfrm>
            <a:off x="365844" y="939976"/>
            <a:ext cx="3794264" cy="3129696"/>
          </a:xfrm>
          <a:prstGeom prst="rect">
            <a:avLst/>
          </a:prstGeom>
        </p:spPr>
        <p:txBody>
          <a:bodyPr/>
          <a:lstStyle>
            <a:lvl1pPr marL="171296" indent="-171296" algn="l" defTabSz="456789" rtl="0" eaLnBrk="1" latinLnBrk="0" hangingPunct="1">
              <a:spcBef>
                <a:spcPct val="20000"/>
              </a:spcBef>
              <a:buClr>
                <a:srgbClr val="D02124"/>
              </a:buClr>
              <a:buFont typeface="Lucida Grande"/>
              <a:buChar char="»"/>
              <a:defRPr sz="1599" kern="1200">
                <a:solidFill>
                  <a:schemeClr val="tx1"/>
                </a:solidFill>
                <a:latin typeface="Arial"/>
                <a:ea typeface="+mn-ea"/>
                <a:cs typeface="Arial"/>
              </a:defRPr>
            </a:lvl1pPr>
            <a:lvl2pPr marL="285493" indent="-114197" algn="l" defTabSz="456789" rtl="0" eaLnBrk="1" latinLnBrk="0" hangingPunct="1">
              <a:spcBef>
                <a:spcPct val="20000"/>
              </a:spcBef>
              <a:buClr>
                <a:srgbClr val="D02124"/>
              </a:buClr>
              <a:buSzPct val="100000"/>
              <a:buFont typeface="Arial"/>
              <a:buChar char="•"/>
              <a:defRPr sz="1599" kern="1200">
                <a:solidFill>
                  <a:schemeClr val="tx1"/>
                </a:solidFill>
                <a:latin typeface="Arial"/>
                <a:ea typeface="+mn-ea"/>
                <a:cs typeface="Arial"/>
              </a:defRPr>
            </a:lvl2pPr>
            <a:lvl3pPr marL="456789" indent="-171296" algn="l" defTabSz="456789" rtl="0" eaLnBrk="1" latinLnBrk="0" hangingPunct="1">
              <a:spcBef>
                <a:spcPct val="20000"/>
              </a:spcBef>
              <a:buClr>
                <a:srgbClr val="D02124"/>
              </a:buClr>
              <a:buSzPct val="80000"/>
              <a:buFont typeface="Lucida Grande"/>
              <a:buChar char="-"/>
              <a:defRPr sz="1599" kern="1200" baseline="0">
                <a:solidFill>
                  <a:schemeClr val="tx1"/>
                </a:solidFill>
                <a:latin typeface="Arial"/>
                <a:ea typeface="+mn-ea"/>
                <a:cs typeface="+mn-cs"/>
              </a:defRPr>
            </a:lvl3pPr>
            <a:lvl4pPr marL="1598760" indent="-228394" algn="l" defTabSz="456789" rtl="0" eaLnBrk="1" latinLnBrk="0" hangingPunct="1">
              <a:spcBef>
                <a:spcPct val="20000"/>
              </a:spcBef>
              <a:buFont typeface="Arial"/>
              <a:buChar char="–"/>
              <a:defRPr sz="1998" kern="1200">
                <a:solidFill>
                  <a:schemeClr val="tx1"/>
                </a:solidFill>
                <a:latin typeface="+mn-lt"/>
                <a:ea typeface="+mn-ea"/>
                <a:cs typeface="+mn-cs"/>
              </a:defRPr>
            </a:lvl4pPr>
            <a:lvl5pPr marL="2055548" indent="-228394" algn="l" defTabSz="456789" rtl="0" eaLnBrk="1" latinLnBrk="0" hangingPunct="1">
              <a:spcBef>
                <a:spcPct val="20000"/>
              </a:spcBef>
              <a:buFont typeface="Arial"/>
              <a:buChar char="»"/>
              <a:defRPr sz="1998" kern="1200">
                <a:solidFill>
                  <a:schemeClr val="tx1"/>
                </a:solidFill>
                <a:latin typeface="+mn-lt"/>
                <a:ea typeface="+mn-ea"/>
                <a:cs typeface="+mn-cs"/>
              </a:defRPr>
            </a:lvl5pPr>
            <a:lvl6pPr marL="2512337" indent="-228394" algn="l" defTabSz="456789" rtl="0" eaLnBrk="1" latinLnBrk="0" hangingPunct="1">
              <a:spcBef>
                <a:spcPct val="20000"/>
              </a:spcBef>
              <a:buFont typeface="Arial"/>
              <a:buChar char="•"/>
              <a:defRPr sz="1998" kern="1200">
                <a:solidFill>
                  <a:schemeClr val="tx1"/>
                </a:solidFill>
                <a:latin typeface="+mn-lt"/>
                <a:ea typeface="+mn-ea"/>
                <a:cs typeface="+mn-cs"/>
              </a:defRPr>
            </a:lvl6pPr>
            <a:lvl7pPr marL="2969125" indent="-228394" algn="l" defTabSz="456789" rtl="0" eaLnBrk="1" latinLnBrk="0" hangingPunct="1">
              <a:spcBef>
                <a:spcPct val="20000"/>
              </a:spcBef>
              <a:buFont typeface="Arial"/>
              <a:buChar char="•"/>
              <a:defRPr sz="1998" kern="1200">
                <a:solidFill>
                  <a:schemeClr val="tx1"/>
                </a:solidFill>
                <a:latin typeface="+mn-lt"/>
                <a:ea typeface="+mn-ea"/>
                <a:cs typeface="+mn-cs"/>
              </a:defRPr>
            </a:lvl7pPr>
            <a:lvl8pPr marL="3425914" indent="-228394" algn="l" defTabSz="456789" rtl="0" eaLnBrk="1" latinLnBrk="0" hangingPunct="1">
              <a:spcBef>
                <a:spcPct val="20000"/>
              </a:spcBef>
              <a:buFont typeface="Arial"/>
              <a:buChar char="•"/>
              <a:defRPr sz="1998" kern="1200">
                <a:solidFill>
                  <a:schemeClr val="tx1"/>
                </a:solidFill>
                <a:latin typeface="+mn-lt"/>
                <a:ea typeface="+mn-ea"/>
                <a:cs typeface="+mn-cs"/>
              </a:defRPr>
            </a:lvl8pPr>
            <a:lvl9pPr marL="3882702" indent="-228394" algn="l" defTabSz="456789" rtl="0" eaLnBrk="1" latinLnBrk="0" hangingPunct="1">
              <a:spcBef>
                <a:spcPct val="20000"/>
              </a:spcBef>
              <a:buFont typeface="Arial"/>
              <a:buChar char="•"/>
              <a:defRPr sz="1998" kern="1200">
                <a:solidFill>
                  <a:schemeClr val="tx1"/>
                </a:solidFill>
                <a:latin typeface="+mn-lt"/>
                <a:ea typeface="+mn-ea"/>
                <a:cs typeface="+mn-cs"/>
              </a:defRPr>
            </a:lvl9pPr>
          </a:lstStyle>
          <a:p>
            <a:pPr defTabSz="455967">
              <a:defRPr/>
            </a:pPr>
            <a:r>
              <a:rPr lang="en-US" sz="1500" b="1" dirty="0">
                <a:solidFill>
                  <a:srgbClr val="434A52">
                    <a:lumMod val="50000"/>
                  </a:srgbClr>
                </a:solidFill>
              </a:rPr>
              <a:t>Pressure Sensor</a:t>
            </a:r>
            <a:endParaRPr lang="en-US" sz="1500" dirty="0">
              <a:solidFill>
                <a:srgbClr val="434A52">
                  <a:lumMod val="50000"/>
                </a:srgbClr>
              </a:solidFill>
            </a:endParaRPr>
          </a:p>
          <a:p>
            <a:pPr lvl="1" defTabSz="455967">
              <a:defRPr/>
            </a:pPr>
            <a:r>
              <a:rPr lang="en-US" sz="1500" dirty="0">
                <a:solidFill>
                  <a:srgbClr val="434A52">
                    <a:lumMod val="50000"/>
                  </a:srgbClr>
                </a:solidFill>
              </a:rPr>
              <a:t>Real time pressure</a:t>
            </a:r>
          </a:p>
          <a:p>
            <a:pPr lvl="1" defTabSz="455967">
              <a:defRPr/>
            </a:pPr>
            <a:r>
              <a:rPr lang="en-US" sz="1500" dirty="0">
                <a:solidFill>
                  <a:srgbClr val="434A52">
                    <a:lumMod val="50000"/>
                  </a:srgbClr>
                </a:solidFill>
              </a:rPr>
              <a:t>Alert on high and low pressure</a:t>
            </a:r>
          </a:p>
          <a:p>
            <a:pPr defTabSz="455967">
              <a:defRPr/>
            </a:pPr>
            <a:r>
              <a:rPr lang="en-US" sz="1500" b="1" dirty="0">
                <a:solidFill>
                  <a:srgbClr val="434A52">
                    <a:lumMod val="50000"/>
                  </a:srgbClr>
                </a:solidFill>
              </a:rPr>
              <a:t>Temperature Sensors (External and Internal)</a:t>
            </a:r>
          </a:p>
          <a:p>
            <a:pPr lvl="1" defTabSz="455967">
              <a:defRPr/>
            </a:pPr>
            <a:r>
              <a:rPr lang="en-US" sz="1500" dirty="0">
                <a:solidFill>
                  <a:srgbClr val="434A52">
                    <a:lumMod val="50000"/>
                  </a:srgbClr>
                </a:solidFill>
              </a:rPr>
              <a:t>Real time temperature</a:t>
            </a:r>
          </a:p>
          <a:p>
            <a:pPr lvl="1" defTabSz="455967">
              <a:defRPr/>
            </a:pPr>
            <a:r>
              <a:rPr lang="en-US" sz="1500" dirty="0">
                <a:solidFill>
                  <a:srgbClr val="434A52">
                    <a:lumMod val="50000"/>
                  </a:srgbClr>
                </a:solidFill>
              </a:rPr>
              <a:t>Alert if temperature exceeds a certain value</a:t>
            </a:r>
          </a:p>
          <a:p>
            <a:pPr defTabSz="455967">
              <a:defRPr/>
            </a:pPr>
            <a:r>
              <a:rPr lang="en-US" sz="1500" b="1" dirty="0">
                <a:solidFill>
                  <a:srgbClr val="434A52">
                    <a:lumMod val="50000"/>
                  </a:srgbClr>
                </a:solidFill>
              </a:rPr>
              <a:t>Flow Sensor</a:t>
            </a:r>
          </a:p>
          <a:p>
            <a:pPr lvl="1" defTabSz="455967">
              <a:defRPr/>
            </a:pPr>
            <a:r>
              <a:rPr lang="en-US" sz="1500" dirty="0">
                <a:solidFill>
                  <a:srgbClr val="434A52">
                    <a:lumMod val="50000"/>
                  </a:srgbClr>
                </a:solidFill>
              </a:rPr>
              <a:t>Real time flow rate</a:t>
            </a:r>
          </a:p>
          <a:p>
            <a:pPr lvl="1" defTabSz="455967">
              <a:defRPr/>
            </a:pPr>
            <a:r>
              <a:rPr lang="en-US" sz="1500" dirty="0">
                <a:solidFill>
                  <a:srgbClr val="434A52">
                    <a:lumMod val="50000"/>
                  </a:srgbClr>
                </a:solidFill>
              </a:rPr>
              <a:t>Alert if exceeds threshold</a:t>
            </a:r>
          </a:p>
          <a:p>
            <a:pPr lvl="1" defTabSz="455967">
              <a:defRPr/>
            </a:pPr>
            <a:r>
              <a:rPr lang="en-US" sz="1500" dirty="0">
                <a:solidFill>
                  <a:srgbClr val="434A52">
                    <a:lumMod val="50000"/>
                  </a:srgbClr>
                </a:solidFill>
              </a:rPr>
              <a:t>Detect in air in pipe</a:t>
            </a:r>
          </a:p>
          <a:p>
            <a:pPr lvl="1" defTabSz="455967">
              <a:defRPr/>
            </a:pPr>
            <a:r>
              <a:rPr lang="en-US" sz="1500" dirty="0">
                <a:solidFill>
                  <a:srgbClr val="434A52">
                    <a:lumMod val="50000"/>
                  </a:srgbClr>
                </a:solidFill>
              </a:rPr>
              <a:t>Detect reverse flow</a:t>
            </a:r>
          </a:p>
          <a:p>
            <a:pPr marL="0" indent="0" defTabSz="455967">
              <a:buNone/>
              <a:defRPr/>
            </a:pPr>
            <a:endParaRPr lang="en-US" dirty="0">
              <a:solidFill>
                <a:srgbClr val="434A52">
                  <a:lumMod val="50000"/>
                </a:srgbClr>
              </a:solidFill>
            </a:endParaRPr>
          </a:p>
          <a:p>
            <a:pPr marL="0" indent="0" defTabSz="455967">
              <a:buNone/>
              <a:defRPr/>
            </a:pPr>
            <a:r>
              <a:rPr lang="en-US" dirty="0">
                <a:solidFill>
                  <a:srgbClr val="434A52">
                    <a:lumMod val="50000"/>
                  </a:srgbClr>
                </a:solidFill>
                <a:highlight>
                  <a:srgbClr val="FFFFFE"/>
                </a:highlight>
              </a:rPr>
              <a:t>  </a:t>
            </a:r>
            <a:endParaRPr lang="en-US" dirty="0">
              <a:solidFill>
                <a:srgbClr val="434A52">
                  <a:lumMod val="50000"/>
                </a:srgbClr>
              </a:solidFill>
            </a:endParaRPr>
          </a:p>
          <a:p>
            <a:pPr marL="0" indent="0">
              <a:spcBef>
                <a:spcPts val="899"/>
              </a:spcBef>
              <a:buNone/>
              <a:defRPr/>
            </a:pPr>
            <a:endParaRPr lang="en-US" sz="1199" b="1" dirty="0">
              <a:solidFill>
                <a:srgbClr val="D02124"/>
              </a:solidFill>
            </a:endParaRPr>
          </a:p>
          <a:p>
            <a:pPr marL="0" lvl="2" indent="0">
              <a:spcBef>
                <a:spcPts val="0"/>
              </a:spcBef>
              <a:buNone/>
              <a:defRPr/>
            </a:pPr>
            <a:endParaRPr lang="en-US" sz="1199" dirty="0">
              <a:solidFill>
                <a:srgbClr val="434A52"/>
              </a:solidFill>
            </a:endParaRPr>
          </a:p>
          <a:p>
            <a:pPr marL="0" lvl="2" indent="0">
              <a:spcBef>
                <a:spcPts val="0"/>
              </a:spcBef>
              <a:buNone/>
              <a:defRPr/>
            </a:pPr>
            <a:endParaRPr lang="en-US" sz="1199" dirty="0">
              <a:solidFill>
                <a:srgbClr val="434A52"/>
              </a:solidFill>
            </a:endParaRPr>
          </a:p>
        </p:txBody>
      </p:sp>
      <p:pic>
        <p:nvPicPr>
          <p:cNvPr id="6" name="Picture 5">
            <a:extLst>
              <a:ext uri="{FF2B5EF4-FFF2-40B4-BE49-F238E27FC236}">
                <a16:creationId xmlns:a16="http://schemas.microsoft.com/office/drawing/2014/main" id="{0D9DE82B-6610-DC8E-1B4D-94E0D3870518}"/>
              </a:ext>
            </a:extLst>
          </p:cNvPr>
          <p:cNvPicPr>
            <a:picLocks noChangeAspect="1"/>
          </p:cNvPicPr>
          <p:nvPr/>
        </p:nvPicPr>
        <p:blipFill>
          <a:blip r:embed="rId4"/>
          <a:stretch>
            <a:fillRect/>
          </a:stretch>
        </p:blipFill>
        <p:spPr>
          <a:xfrm>
            <a:off x="4572000" y="486019"/>
            <a:ext cx="4084551" cy="2088112"/>
          </a:xfrm>
          <a:prstGeom prst="rect">
            <a:avLst/>
          </a:prstGeom>
        </p:spPr>
      </p:pic>
      <p:pic>
        <p:nvPicPr>
          <p:cNvPr id="9" name="Picture 8">
            <a:extLst>
              <a:ext uri="{FF2B5EF4-FFF2-40B4-BE49-F238E27FC236}">
                <a16:creationId xmlns:a16="http://schemas.microsoft.com/office/drawing/2014/main" id="{4BBF1C6A-8A91-F053-927B-CBC329FC7451}"/>
              </a:ext>
            </a:extLst>
          </p:cNvPr>
          <p:cNvPicPr>
            <a:picLocks noChangeAspect="1"/>
          </p:cNvPicPr>
          <p:nvPr/>
        </p:nvPicPr>
        <p:blipFill>
          <a:blip r:embed="rId5"/>
          <a:stretch>
            <a:fillRect/>
          </a:stretch>
        </p:blipFill>
        <p:spPr>
          <a:xfrm>
            <a:off x="4572000" y="2928357"/>
            <a:ext cx="4076231" cy="1660119"/>
          </a:xfrm>
          <a:prstGeom prst="rect">
            <a:avLst/>
          </a:prstGeom>
        </p:spPr>
      </p:pic>
    </p:spTree>
    <p:extLst>
      <p:ext uri="{BB962C8B-B14F-4D97-AF65-F5344CB8AC3E}">
        <p14:creationId xmlns:p14="http://schemas.microsoft.com/office/powerpoint/2010/main" val="2721440806"/>
      </p:ext>
    </p:extLst>
  </p:cSld>
  <p:clrMapOvr>
    <a:overrideClrMapping bg1="lt1" tx1="dk1" bg2="lt2" tx2="dk2" accent1="accent1" accent2="accent2" accent3="accent3" accent4="accent4" accent5="accent5" accent6="accent6" hlink="hlink" folHlink="folHlink"/>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2C3D0F-2726-420F-9F14-517DCDEF25FF}"/>
              </a:ext>
            </a:extLst>
          </p:cNvPr>
          <p:cNvSpPr>
            <a:spLocks noGrp="1"/>
          </p:cNvSpPr>
          <p:nvPr>
            <p:ph type="title"/>
          </p:nvPr>
        </p:nvSpPr>
        <p:spPr/>
        <p:txBody>
          <a:bodyPr/>
          <a:lstStyle/>
          <a:p>
            <a:r>
              <a:rPr lang="en-US" dirty="0"/>
              <a:t>Integrated Shutoff Valve</a:t>
            </a:r>
          </a:p>
        </p:txBody>
      </p:sp>
      <p:sp>
        <p:nvSpPr>
          <p:cNvPr id="8" name="Text Placeholder 4">
            <a:extLst>
              <a:ext uri="{FF2B5EF4-FFF2-40B4-BE49-F238E27FC236}">
                <a16:creationId xmlns:a16="http://schemas.microsoft.com/office/drawing/2014/main" id="{ACB6D893-6B31-4B83-99E0-380E10431A4A}"/>
              </a:ext>
            </a:extLst>
          </p:cNvPr>
          <p:cNvSpPr txBox="1">
            <a:spLocks/>
          </p:cNvSpPr>
          <p:nvPr/>
        </p:nvSpPr>
        <p:spPr>
          <a:xfrm>
            <a:off x="365844" y="939976"/>
            <a:ext cx="2838675" cy="3129696"/>
          </a:xfrm>
          <a:prstGeom prst="rect">
            <a:avLst/>
          </a:prstGeom>
        </p:spPr>
        <p:txBody>
          <a:bodyPr/>
          <a:lstStyle>
            <a:lvl1pPr marL="171296" indent="-171296" algn="l" defTabSz="456789" rtl="0" eaLnBrk="1" latinLnBrk="0" hangingPunct="1">
              <a:spcBef>
                <a:spcPct val="20000"/>
              </a:spcBef>
              <a:buClr>
                <a:srgbClr val="D02124"/>
              </a:buClr>
              <a:buFont typeface="Lucida Grande"/>
              <a:buChar char="»"/>
              <a:defRPr sz="1599" kern="1200">
                <a:solidFill>
                  <a:schemeClr val="tx1"/>
                </a:solidFill>
                <a:latin typeface="Arial"/>
                <a:ea typeface="+mn-ea"/>
                <a:cs typeface="Arial"/>
              </a:defRPr>
            </a:lvl1pPr>
            <a:lvl2pPr marL="285493" indent="-114197" algn="l" defTabSz="456789" rtl="0" eaLnBrk="1" latinLnBrk="0" hangingPunct="1">
              <a:spcBef>
                <a:spcPct val="20000"/>
              </a:spcBef>
              <a:buClr>
                <a:srgbClr val="D02124"/>
              </a:buClr>
              <a:buSzPct val="100000"/>
              <a:buFont typeface="Arial"/>
              <a:buChar char="•"/>
              <a:defRPr sz="1599" kern="1200">
                <a:solidFill>
                  <a:schemeClr val="tx1"/>
                </a:solidFill>
                <a:latin typeface="Arial"/>
                <a:ea typeface="+mn-ea"/>
                <a:cs typeface="Arial"/>
              </a:defRPr>
            </a:lvl2pPr>
            <a:lvl3pPr marL="456789" indent="-171296" algn="l" defTabSz="456789" rtl="0" eaLnBrk="1" latinLnBrk="0" hangingPunct="1">
              <a:spcBef>
                <a:spcPct val="20000"/>
              </a:spcBef>
              <a:buClr>
                <a:srgbClr val="D02124"/>
              </a:buClr>
              <a:buSzPct val="80000"/>
              <a:buFont typeface="Lucida Grande"/>
              <a:buChar char="-"/>
              <a:defRPr sz="1599" kern="1200" baseline="0">
                <a:solidFill>
                  <a:schemeClr val="tx1"/>
                </a:solidFill>
                <a:latin typeface="Arial"/>
                <a:ea typeface="+mn-ea"/>
                <a:cs typeface="+mn-cs"/>
              </a:defRPr>
            </a:lvl3pPr>
            <a:lvl4pPr marL="1598760" indent="-228394" algn="l" defTabSz="456789" rtl="0" eaLnBrk="1" latinLnBrk="0" hangingPunct="1">
              <a:spcBef>
                <a:spcPct val="20000"/>
              </a:spcBef>
              <a:buFont typeface="Arial"/>
              <a:buChar char="–"/>
              <a:defRPr sz="1998" kern="1200">
                <a:solidFill>
                  <a:schemeClr val="tx1"/>
                </a:solidFill>
                <a:latin typeface="+mn-lt"/>
                <a:ea typeface="+mn-ea"/>
                <a:cs typeface="+mn-cs"/>
              </a:defRPr>
            </a:lvl4pPr>
            <a:lvl5pPr marL="2055548" indent="-228394" algn="l" defTabSz="456789" rtl="0" eaLnBrk="1" latinLnBrk="0" hangingPunct="1">
              <a:spcBef>
                <a:spcPct val="20000"/>
              </a:spcBef>
              <a:buFont typeface="Arial"/>
              <a:buChar char="»"/>
              <a:defRPr sz="1998" kern="1200">
                <a:solidFill>
                  <a:schemeClr val="tx1"/>
                </a:solidFill>
                <a:latin typeface="+mn-lt"/>
                <a:ea typeface="+mn-ea"/>
                <a:cs typeface="+mn-cs"/>
              </a:defRPr>
            </a:lvl5pPr>
            <a:lvl6pPr marL="2512337" indent="-228394" algn="l" defTabSz="456789" rtl="0" eaLnBrk="1" latinLnBrk="0" hangingPunct="1">
              <a:spcBef>
                <a:spcPct val="20000"/>
              </a:spcBef>
              <a:buFont typeface="Arial"/>
              <a:buChar char="•"/>
              <a:defRPr sz="1998" kern="1200">
                <a:solidFill>
                  <a:schemeClr val="tx1"/>
                </a:solidFill>
                <a:latin typeface="+mn-lt"/>
                <a:ea typeface="+mn-ea"/>
                <a:cs typeface="+mn-cs"/>
              </a:defRPr>
            </a:lvl6pPr>
            <a:lvl7pPr marL="2969125" indent="-228394" algn="l" defTabSz="456789" rtl="0" eaLnBrk="1" latinLnBrk="0" hangingPunct="1">
              <a:spcBef>
                <a:spcPct val="20000"/>
              </a:spcBef>
              <a:buFont typeface="Arial"/>
              <a:buChar char="•"/>
              <a:defRPr sz="1998" kern="1200">
                <a:solidFill>
                  <a:schemeClr val="tx1"/>
                </a:solidFill>
                <a:latin typeface="+mn-lt"/>
                <a:ea typeface="+mn-ea"/>
                <a:cs typeface="+mn-cs"/>
              </a:defRPr>
            </a:lvl7pPr>
            <a:lvl8pPr marL="3425914" indent="-228394" algn="l" defTabSz="456789" rtl="0" eaLnBrk="1" latinLnBrk="0" hangingPunct="1">
              <a:spcBef>
                <a:spcPct val="20000"/>
              </a:spcBef>
              <a:buFont typeface="Arial"/>
              <a:buChar char="•"/>
              <a:defRPr sz="1998" kern="1200">
                <a:solidFill>
                  <a:schemeClr val="tx1"/>
                </a:solidFill>
                <a:latin typeface="+mn-lt"/>
                <a:ea typeface="+mn-ea"/>
                <a:cs typeface="+mn-cs"/>
              </a:defRPr>
            </a:lvl8pPr>
            <a:lvl9pPr marL="3882702" indent="-228394" algn="l" defTabSz="456789" rtl="0" eaLnBrk="1" latinLnBrk="0" hangingPunct="1">
              <a:spcBef>
                <a:spcPct val="20000"/>
              </a:spcBef>
              <a:buFont typeface="Arial"/>
              <a:buChar char="•"/>
              <a:defRPr sz="1998" kern="1200">
                <a:solidFill>
                  <a:schemeClr val="tx1"/>
                </a:solidFill>
                <a:latin typeface="+mn-lt"/>
                <a:ea typeface="+mn-ea"/>
                <a:cs typeface="+mn-cs"/>
              </a:defRPr>
            </a:lvl9pPr>
          </a:lstStyle>
          <a:p>
            <a:pPr marL="0" indent="0" defTabSz="455967">
              <a:buNone/>
              <a:defRPr/>
            </a:pPr>
            <a:r>
              <a:rPr lang="en-US" sz="1500" b="1" i="1" dirty="0">
                <a:solidFill>
                  <a:srgbClr val="D02124"/>
                </a:solidFill>
              </a:rPr>
              <a:t>Shutoff Scenarios</a:t>
            </a:r>
            <a:endParaRPr lang="en-US" sz="1500" dirty="0">
              <a:solidFill>
                <a:srgbClr val="434A52">
                  <a:lumMod val="50000"/>
                </a:srgbClr>
              </a:solidFill>
            </a:endParaRPr>
          </a:p>
          <a:p>
            <a:pPr defTabSz="455967">
              <a:defRPr/>
            </a:pPr>
            <a:r>
              <a:rPr lang="en-US" sz="1500" b="1" dirty="0">
                <a:solidFill>
                  <a:srgbClr val="434A52">
                    <a:lumMod val="50000"/>
                  </a:srgbClr>
                </a:solidFill>
              </a:rPr>
              <a:t>High Flow Alarm</a:t>
            </a:r>
            <a:r>
              <a:rPr lang="en-US" sz="1500" dirty="0">
                <a:solidFill>
                  <a:srgbClr val="434A52">
                    <a:lumMod val="50000"/>
                  </a:srgbClr>
                </a:solidFill>
              </a:rPr>
              <a:t> </a:t>
            </a:r>
          </a:p>
          <a:p>
            <a:pPr defTabSz="455967">
              <a:defRPr/>
            </a:pPr>
            <a:r>
              <a:rPr lang="en-US" sz="1500" b="1" dirty="0">
                <a:solidFill>
                  <a:srgbClr val="434A52">
                    <a:lumMod val="50000"/>
                  </a:srgbClr>
                </a:solidFill>
              </a:rPr>
              <a:t>High Temperature Alarm</a:t>
            </a:r>
          </a:p>
          <a:p>
            <a:pPr defTabSz="455967">
              <a:defRPr/>
            </a:pPr>
            <a:r>
              <a:rPr lang="en-US" sz="1500" b="1" dirty="0">
                <a:solidFill>
                  <a:srgbClr val="434A52">
                    <a:lumMod val="50000"/>
                  </a:srgbClr>
                </a:solidFill>
              </a:rPr>
              <a:t>High Pressure</a:t>
            </a:r>
          </a:p>
          <a:p>
            <a:pPr defTabSz="455967">
              <a:defRPr/>
            </a:pPr>
            <a:r>
              <a:rPr lang="en-US" sz="1500" b="1" dirty="0">
                <a:solidFill>
                  <a:srgbClr val="434A52">
                    <a:lumMod val="50000"/>
                  </a:srgbClr>
                </a:solidFill>
              </a:rPr>
              <a:t>Customer Smelling Gas</a:t>
            </a:r>
          </a:p>
          <a:p>
            <a:pPr defTabSz="455967">
              <a:defRPr/>
            </a:pPr>
            <a:r>
              <a:rPr lang="en-US" sz="1500" b="1" dirty="0">
                <a:solidFill>
                  <a:srgbClr val="434A52">
                    <a:lumMod val="50000"/>
                  </a:srgbClr>
                </a:solidFill>
              </a:rPr>
              <a:t>Non-Payment</a:t>
            </a:r>
          </a:p>
          <a:p>
            <a:pPr defTabSz="455967">
              <a:defRPr/>
            </a:pPr>
            <a:r>
              <a:rPr lang="en-US" sz="1500" b="1" dirty="0">
                <a:solidFill>
                  <a:srgbClr val="434A52">
                    <a:lumMod val="50000"/>
                  </a:srgbClr>
                </a:solidFill>
              </a:rPr>
              <a:t>External Sensors(examples include methane and flood)</a:t>
            </a:r>
          </a:p>
          <a:p>
            <a:pPr marL="0" indent="0" defTabSz="455967">
              <a:buNone/>
              <a:defRPr/>
            </a:pPr>
            <a:endParaRPr lang="en-US" dirty="0">
              <a:solidFill>
                <a:srgbClr val="434A52">
                  <a:lumMod val="50000"/>
                </a:srgbClr>
              </a:solidFill>
            </a:endParaRPr>
          </a:p>
          <a:p>
            <a:pPr marL="0" indent="0" defTabSz="455967">
              <a:buNone/>
              <a:defRPr/>
            </a:pPr>
            <a:r>
              <a:rPr lang="en-US" dirty="0">
                <a:solidFill>
                  <a:srgbClr val="434A52">
                    <a:lumMod val="50000"/>
                  </a:srgbClr>
                </a:solidFill>
                <a:highlight>
                  <a:srgbClr val="FFFFFE"/>
                </a:highlight>
              </a:rPr>
              <a:t>  </a:t>
            </a:r>
            <a:endParaRPr lang="en-US" dirty="0">
              <a:solidFill>
                <a:srgbClr val="434A52">
                  <a:lumMod val="50000"/>
                </a:srgbClr>
              </a:solidFill>
            </a:endParaRPr>
          </a:p>
          <a:p>
            <a:pPr marL="0" indent="0">
              <a:spcBef>
                <a:spcPts val="899"/>
              </a:spcBef>
              <a:buNone/>
              <a:defRPr/>
            </a:pPr>
            <a:endParaRPr lang="en-US" sz="1199" b="1" dirty="0">
              <a:solidFill>
                <a:srgbClr val="D02124"/>
              </a:solidFill>
            </a:endParaRPr>
          </a:p>
          <a:p>
            <a:pPr marL="0" lvl="2" indent="0">
              <a:spcBef>
                <a:spcPts val="0"/>
              </a:spcBef>
              <a:buNone/>
              <a:defRPr/>
            </a:pPr>
            <a:endParaRPr lang="en-US" sz="1199" dirty="0">
              <a:solidFill>
                <a:srgbClr val="434A52"/>
              </a:solidFill>
            </a:endParaRPr>
          </a:p>
          <a:p>
            <a:pPr marL="0" lvl="2" indent="0">
              <a:spcBef>
                <a:spcPts val="0"/>
              </a:spcBef>
              <a:buNone/>
              <a:defRPr/>
            </a:pPr>
            <a:endParaRPr lang="en-US" sz="1199" dirty="0">
              <a:solidFill>
                <a:srgbClr val="434A52"/>
              </a:solidFill>
            </a:endParaRPr>
          </a:p>
        </p:txBody>
      </p:sp>
      <p:pic>
        <p:nvPicPr>
          <p:cNvPr id="4" name="Picture 3">
            <a:extLst>
              <a:ext uri="{FF2B5EF4-FFF2-40B4-BE49-F238E27FC236}">
                <a16:creationId xmlns:a16="http://schemas.microsoft.com/office/drawing/2014/main" id="{7F5E66CD-863C-CC36-83AD-174EC3CDF47C}"/>
              </a:ext>
            </a:extLst>
          </p:cNvPr>
          <p:cNvPicPr>
            <a:picLocks noChangeAspect="1"/>
          </p:cNvPicPr>
          <p:nvPr/>
        </p:nvPicPr>
        <p:blipFill>
          <a:blip r:embed="rId4"/>
          <a:stretch>
            <a:fillRect/>
          </a:stretch>
        </p:blipFill>
        <p:spPr>
          <a:xfrm>
            <a:off x="3632885" y="1221555"/>
            <a:ext cx="5047691" cy="2566538"/>
          </a:xfrm>
          <a:prstGeom prst="rect">
            <a:avLst/>
          </a:prstGeom>
        </p:spPr>
      </p:pic>
    </p:spTree>
    <p:extLst>
      <p:ext uri="{BB962C8B-B14F-4D97-AF65-F5344CB8AC3E}">
        <p14:creationId xmlns:p14="http://schemas.microsoft.com/office/powerpoint/2010/main" val="436404292"/>
      </p:ext>
    </p:extLst>
  </p:cSld>
  <p:clrMapOvr>
    <a:overrideClrMapping bg1="lt1" tx1="dk1" bg2="lt2" tx2="dk2" accent1="accent1" accent2="accent2" accent3="accent3" accent4="accent4" accent5="accent5" accent6="accent6" hlink="hlink" folHlink="folHlink"/>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7F29B5C4-4A91-5B63-7B40-1CD442901E68}"/>
              </a:ext>
            </a:extLst>
          </p:cNvPr>
          <p:cNvSpPr>
            <a:spLocks noGrp="1"/>
          </p:cNvSpPr>
          <p:nvPr>
            <p:ph idx="1"/>
          </p:nvPr>
        </p:nvSpPr>
        <p:spPr/>
        <p:txBody>
          <a:bodyPr/>
          <a:lstStyle/>
          <a:p>
            <a:r>
              <a:rPr lang="en-US" dirty="0"/>
              <a:t>The valve can be programmed to close automatically, without utility intervention, regardless of whether reading in AMR or AMI mode</a:t>
            </a:r>
          </a:p>
          <a:p>
            <a:pPr lvl="1"/>
            <a:r>
              <a:rPr lang="en-US" dirty="0"/>
              <a:t>Here the valve is on the outlet of the meter and is shown in the closed position</a:t>
            </a:r>
          </a:p>
          <a:p>
            <a:r>
              <a:rPr lang="en-US" dirty="0"/>
              <a:t>Safety feature for</a:t>
            </a:r>
          </a:p>
          <a:p>
            <a:pPr lvl="1"/>
            <a:r>
              <a:rPr lang="en-US" dirty="0"/>
              <a:t>High flow due to open fuel line downstream of the meter</a:t>
            </a:r>
          </a:p>
          <a:p>
            <a:pPr lvl="1"/>
            <a:r>
              <a:rPr lang="en-US" dirty="0"/>
              <a:t>High temperature due to fire</a:t>
            </a:r>
          </a:p>
          <a:p>
            <a:pPr lvl="1"/>
            <a:r>
              <a:rPr lang="en-US" dirty="0"/>
              <a:t>High pressure due to regulator issue or system being subjected to high pressure</a:t>
            </a:r>
          </a:p>
        </p:txBody>
      </p:sp>
      <p:pic>
        <p:nvPicPr>
          <p:cNvPr id="3" name="Content Placeholder 2" descr="image010">
            <a:extLst>
              <a:ext uri="{FF2B5EF4-FFF2-40B4-BE49-F238E27FC236}">
                <a16:creationId xmlns:a16="http://schemas.microsoft.com/office/drawing/2014/main" id="{8C55657C-9C62-44E1-84A9-4A71ECF8BFEC}"/>
              </a:ext>
            </a:extLst>
          </p:cNvPr>
          <p:cNvPicPr>
            <a:picLocks noGrp="1" noChangeAspect="1" noChangeArrowheads="1"/>
          </p:cNvPicPr>
          <p:nvPr>
            <p:ph idx="16"/>
          </p:nvPr>
        </p:nvPicPr>
        <p:blipFill rotWithShape="1">
          <a:blip r:embed="rId4" cstate="screen">
            <a:extLst>
              <a:ext uri="{28A0092B-C50C-407E-A947-70E740481C1C}">
                <a14:useLocalDpi xmlns:a14="http://schemas.microsoft.com/office/drawing/2010/main"/>
              </a:ext>
            </a:extLst>
          </a:blip>
          <a:stretch/>
        </p:blipFill>
        <p:spPr bwMode="auto">
          <a:xfrm>
            <a:off x="4570413" y="1356632"/>
            <a:ext cx="4029075" cy="2877910"/>
          </a:xfrm>
          <a:prstGeom prst="rect">
            <a:avLst/>
          </a:prstGeom>
          <a:noFill/>
          <a:ln>
            <a:noFill/>
          </a:ln>
          <a:effectLst>
            <a:reflection blurRad="6350" stA="37000" endPos="26000" dir="5400000" sy="-100000" algn="bl" rotWithShape="0"/>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a:extLst>
              <a:ext uri="{FF2B5EF4-FFF2-40B4-BE49-F238E27FC236}">
                <a16:creationId xmlns:a16="http://schemas.microsoft.com/office/drawing/2014/main" id="{D8C353C8-6032-FA76-1412-D464ABE01F5B}"/>
              </a:ext>
            </a:extLst>
          </p:cNvPr>
          <p:cNvSpPr>
            <a:spLocks noGrp="1"/>
          </p:cNvSpPr>
          <p:nvPr>
            <p:ph type="title"/>
          </p:nvPr>
        </p:nvSpPr>
        <p:spPr/>
        <p:txBody>
          <a:bodyPr/>
          <a:lstStyle/>
          <a:p>
            <a:r>
              <a:rPr lang="en-US" dirty="0"/>
              <a:t>Autonomous Disconnect</a:t>
            </a:r>
          </a:p>
        </p:txBody>
      </p:sp>
    </p:spTree>
    <p:extLst>
      <p:ext uri="{BB962C8B-B14F-4D97-AF65-F5344CB8AC3E}">
        <p14:creationId xmlns:p14="http://schemas.microsoft.com/office/powerpoint/2010/main" val="440461158"/>
      </p:ext>
    </p:extLst>
  </p:cSld>
  <p:clrMapOvr>
    <a:overrideClrMapping bg1="lt1" tx1="dk1" bg2="lt2" tx2="dk2" accent1="accent1" accent2="accent2" accent3="accent3" accent4="accent4" accent5="accent5" accent6="accent6" hlink="hlink" folHlink="folHlink"/>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2C3D0F-2726-420F-9F14-517DCDEF25FF}"/>
              </a:ext>
            </a:extLst>
          </p:cNvPr>
          <p:cNvSpPr>
            <a:spLocks noGrp="1"/>
          </p:cNvSpPr>
          <p:nvPr>
            <p:ph type="title"/>
          </p:nvPr>
        </p:nvSpPr>
        <p:spPr/>
        <p:txBody>
          <a:bodyPr/>
          <a:lstStyle/>
          <a:p>
            <a:r>
              <a:rPr lang="en-US" dirty="0"/>
              <a:t>New safety benefits</a:t>
            </a:r>
          </a:p>
        </p:txBody>
      </p:sp>
      <p:sp>
        <p:nvSpPr>
          <p:cNvPr id="8" name="Text Placeholder 4">
            <a:extLst>
              <a:ext uri="{FF2B5EF4-FFF2-40B4-BE49-F238E27FC236}">
                <a16:creationId xmlns:a16="http://schemas.microsoft.com/office/drawing/2014/main" id="{ACB6D893-6B31-4B83-99E0-380E10431A4A}"/>
              </a:ext>
            </a:extLst>
          </p:cNvPr>
          <p:cNvSpPr txBox="1">
            <a:spLocks/>
          </p:cNvSpPr>
          <p:nvPr/>
        </p:nvSpPr>
        <p:spPr>
          <a:xfrm>
            <a:off x="365844" y="939976"/>
            <a:ext cx="8317150" cy="3129696"/>
          </a:xfrm>
          <a:prstGeom prst="rect">
            <a:avLst/>
          </a:prstGeom>
        </p:spPr>
        <p:txBody>
          <a:bodyPr/>
          <a:lstStyle>
            <a:lvl1pPr marL="171296" indent="-171296" algn="l" defTabSz="456789" rtl="0" eaLnBrk="1" latinLnBrk="0" hangingPunct="1">
              <a:spcBef>
                <a:spcPct val="20000"/>
              </a:spcBef>
              <a:buClr>
                <a:srgbClr val="D02124"/>
              </a:buClr>
              <a:buFont typeface="Lucida Grande"/>
              <a:buChar char="»"/>
              <a:defRPr sz="1599" kern="1200">
                <a:solidFill>
                  <a:schemeClr val="tx1"/>
                </a:solidFill>
                <a:latin typeface="Arial"/>
                <a:ea typeface="+mn-ea"/>
                <a:cs typeface="Arial"/>
              </a:defRPr>
            </a:lvl1pPr>
            <a:lvl2pPr marL="285493" indent="-114197" algn="l" defTabSz="456789" rtl="0" eaLnBrk="1" latinLnBrk="0" hangingPunct="1">
              <a:spcBef>
                <a:spcPct val="20000"/>
              </a:spcBef>
              <a:buClr>
                <a:srgbClr val="D02124"/>
              </a:buClr>
              <a:buSzPct val="100000"/>
              <a:buFont typeface="Arial"/>
              <a:buChar char="•"/>
              <a:defRPr sz="1599" kern="1200">
                <a:solidFill>
                  <a:schemeClr val="tx1"/>
                </a:solidFill>
                <a:latin typeface="Arial"/>
                <a:ea typeface="+mn-ea"/>
                <a:cs typeface="Arial"/>
              </a:defRPr>
            </a:lvl2pPr>
            <a:lvl3pPr marL="456789" indent="-171296" algn="l" defTabSz="456789" rtl="0" eaLnBrk="1" latinLnBrk="0" hangingPunct="1">
              <a:spcBef>
                <a:spcPct val="20000"/>
              </a:spcBef>
              <a:buClr>
                <a:srgbClr val="D02124"/>
              </a:buClr>
              <a:buSzPct val="80000"/>
              <a:buFont typeface="Lucida Grande"/>
              <a:buChar char="-"/>
              <a:defRPr sz="1599" kern="1200" baseline="0">
                <a:solidFill>
                  <a:schemeClr val="tx1"/>
                </a:solidFill>
                <a:latin typeface="Arial"/>
                <a:ea typeface="+mn-ea"/>
                <a:cs typeface="+mn-cs"/>
              </a:defRPr>
            </a:lvl3pPr>
            <a:lvl4pPr marL="1598760" indent="-228394" algn="l" defTabSz="456789" rtl="0" eaLnBrk="1" latinLnBrk="0" hangingPunct="1">
              <a:spcBef>
                <a:spcPct val="20000"/>
              </a:spcBef>
              <a:buFont typeface="Arial"/>
              <a:buChar char="–"/>
              <a:defRPr sz="1998" kern="1200">
                <a:solidFill>
                  <a:schemeClr val="tx1"/>
                </a:solidFill>
                <a:latin typeface="+mn-lt"/>
                <a:ea typeface="+mn-ea"/>
                <a:cs typeface="+mn-cs"/>
              </a:defRPr>
            </a:lvl4pPr>
            <a:lvl5pPr marL="2055548" indent="-228394" algn="l" defTabSz="456789" rtl="0" eaLnBrk="1" latinLnBrk="0" hangingPunct="1">
              <a:spcBef>
                <a:spcPct val="20000"/>
              </a:spcBef>
              <a:buFont typeface="Arial"/>
              <a:buChar char="»"/>
              <a:defRPr sz="1998" kern="1200">
                <a:solidFill>
                  <a:schemeClr val="tx1"/>
                </a:solidFill>
                <a:latin typeface="+mn-lt"/>
                <a:ea typeface="+mn-ea"/>
                <a:cs typeface="+mn-cs"/>
              </a:defRPr>
            </a:lvl5pPr>
            <a:lvl6pPr marL="2512337" indent="-228394" algn="l" defTabSz="456789" rtl="0" eaLnBrk="1" latinLnBrk="0" hangingPunct="1">
              <a:spcBef>
                <a:spcPct val="20000"/>
              </a:spcBef>
              <a:buFont typeface="Arial"/>
              <a:buChar char="•"/>
              <a:defRPr sz="1998" kern="1200">
                <a:solidFill>
                  <a:schemeClr val="tx1"/>
                </a:solidFill>
                <a:latin typeface="+mn-lt"/>
                <a:ea typeface="+mn-ea"/>
                <a:cs typeface="+mn-cs"/>
              </a:defRPr>
            </a:lvl6pPr>
            <a:lvl7pPr marL="2969125" indent="-228394" algn="l" defTabSz="456789" rtl="0" eaLnBrk="1" latinLnBrk="0" hangingPunct="1">
              <a:spcBef>
                <a:spcPct val="20000"/>
              </a:spcBef>
              <a:buFont typeface="Arial"/>
              <a:buChar char="•"/>
              <a:defRPr sz="1998" kern="1200">
                <a:solidFill>
                  <a:schemeClr val="tx1"/>
                </a:solidFill>
                <a:latin typeface="+mn-lt"/>
                <a:ea typeface="+mn-ea"/>
                <a:cs typeface="+mn-cs"/>
              </a:defRPr>
            </a:lvl7pPr>
            <a:lvl8pPr marL="3425914" indent="-228394" algn="l" defTabSz="456789" rtl="0" eaLnBrk="1" latinLnBrk="0" hangingPunct="1">
              <a:spcBef>
                <a:spcPct val="20000"/>
              </a:spcBef>
              <a:buFont typeface="Arial"/>
              <a:buChar char="•"/>
              <a:defRPr sz="1998" kern="1200">
                <a:solidFill>
                  <a:schemeClr val="tx1"/>
                </a:solidFill>
                <a:latin typeface="+mn-lt"/>
                <a:ea typeface="+mn-ea"/>
                <a:cs typeface="+mn-cs"/>
              </a:defRPr>
            </a:lvl8pPr>
            <a:lvl9pPr marL="3882702" indent="-228394" algn="l" defTabSz="456789" rtl="0" eaLnBrk="1" latinLnBrk="0" hangingPunct="1">
              <a:spcBef>
                <a:spcPct val="20000"/>
              </a:spcBef>
              <a:buFont typeface="Arial"/>
              <a:buChar char="•"/>
              <a:defRPr sz="1998" kern="1200">
                <a:solidFill>
                  <a:schemeClr val="tx1"/>
                </a:solidFill>
                <a:latin typeface="+mn-lt"/>
                <a:ea typeface="+mn-ea"/>
                <a:cs typeface="+mn-cs"/>
              </a:defRPr>
            </a:lvl9pPr>
          </a:lstStyle>
          <a:p>
            <a:pPr marL="0" marR="0" lvl="0" indent="0" algn="l" defTabSz="455967" rtl="0" eaLnBrk="1" fontAlgn="auto" latinLnBrk="0" hangingPunct="1">
              <a:lnSpc>
                <a:spcPct val="100000"/>
              </a:lnSpc>
              <a:spcBef>
                <a:spcPct val="20000"/>
              </a:spcBef>
              <a:spcAft>
                <a:spcPts val="0"/>
              </a:spcAft>
              <a:buClr>
                <a:srgbClr val="D02124"/>
              </a:buClr>
              <a:buSzTx/>
              <a:buFont typeface="Lucida Grande"/>
              <a:buNone/>
              <a:tabLst/>
              <a:defRPr/>
            </a:pPr>
            <a:r>
              <a:rPr kumimoji="0" lang="en-US" sz="1500" b="1" i="1" u="none" strike="noStrike" kern="1200" cap="none" spc="0" normalizeH="0" baseline="0" noProof="0" dirty="0">
                <a:ln>
                  <a:noFill/>
                </a:ln>
                <a:solidFill>
                  <a:srgbClr val="D02124"/>
                </a:solidFill>
                <a:effectLst/>
                <a:uLnTx/>
                <a:uFillTx/>
                <a:latin typeface="Arial"/>
                <a:ea typeface="+mn-ea"/>
                <a:cs typeface="Arial"/>
              </a:rPr>
              <a:t>DISTRIBUTED INTELLIGENCE</a:t>
            </a:r>
            <a:r>
              <a:rPr kumimoji="0" lang="en-US" sz="1500" b="0" i="0" u="none" strike="noStrike" kern="1200" cap="none" spc="0" normalizeH="0" baseline="0" noProof="0" dirty="0">
                <a:ln>
                  <a:noFill/>
                </a:ln>
                <a:solidFill>
                  <a:srgbClr val="434A52">
                    <a:lumMod val="50000"/>
                  </a:srgbClr>
                </a:solidFill>
                <a:effectLst/>
                <a:uLnTx/>
                <a:uFillTx/>
                <a:latin typeface="Arial"/>
                <a:ea typeface="+mn-ea"/>
                <a:cs typeface="Arial"/>
              </a:rPr>
              <a:t> </a:t>
            </a:r>
          </a:p>
          <a:p>
            <a:pPr defTabSz="455967">
              <a:defRPr/>
            </a:pPr>
            <a:r>
              <a:rPr kumimoji="0" lang="en-US" sz="1500" b="1" i="0" u="none" strike="noStrike" kern="1200" cap="none" spc="0" normalizeH="0" baseline="0" noProof="0" dirty="0">
                <a:ln>
                  <a:noFill/>
                </a:ln>
                <a:solidFill>
                  <a:srgbClr val="434A52">
                    <a:lumMod val="50000"/>
                  </a:srgbClr>
                </a:solidFill>
                <a:effectLst/>
                <a:uLnTx/>
                <a:uFillTx/>
                <a:latin typeface="Arial"/>
                <a:ea typeface="+mn-ea"/>
                <a:cs typeface="Arial"/>
              </a:rPr>
              <a:t>High Flow Alarm</a:t>
            </a:r>
            <a:r>
              <a:rPr kumimoji="0" lang="en-US" sz="1500" b="0" i="0" u="none" strike="noStrike" kern="1200" cap="none" spc="0" normalizeH="0" baseline="0" noProof="0" dirty="0">
                <a:ln>
                  <a:noFill/>
                </a:ln>
                <a:solidFill>
                  <a:srgbClr val="434A52">
                    <a:lumMod val="50000"/>
                  </a:srgbClr>
                </a:solidFill>
                <a:effectLst/>
                <a:uLnTx/>
                <a:uFillTx/>
                <a:latin typeface="Arial"/>
                <a:ea typeface="+mn-ea"/>
                <a:cs typeface="Arial"/>
              </a:rPr>
              <a:t> </a:t>
            </a:r>
          </a:p>
          <a:p>
            <a:pPr lvl="1" defTabSz="455967">
              <a:defRPr/>
            </a:pPr>
            <a:r>
              <a:rPr lang="en-US" sz="1500" dirty="0">
                <a:solidFill>
                  <a:srgbClr val="434A52">
                    <a:lumMod val="50000"/>
                  </a:srgbClr>
                </a:solidFill>
              </a:rPr>
              <a:t>T</a:t>
            </a:r>
            <a:r>
              <a:rPr kumimoji="0" lang="en-US" sz="1500" b="0" i="0" u="none" strike="noStrike" kern="1200" cap="none" spc="0" normalizeH="0" baseline="0" noProof="0" dirty="0">
                <a:ln>
                  <a:noFill/>
                </a:ln>
                <a:solidFill>
                  <a:srgbClr val="434A52">
                    <a:lumMod val="50000"/>
                  </a:srgbClr>
                </a:solidFill>
                <a:effectLst/>
                <a:uLnTx/>
                <a:uFillTx/>
                <a:latin typeface="Arial"/>
                <a:ea typeface="+mn-ea"/>
                <a:cs typeface="Arial"/>
              </a:rPr>
              <a:t>riggers auto saf</a:t>
            </a:r>
            <a:r>
              <a:rPr kumimoji="0" lang="en-US" sz="1500" b="0" i="0" u="none" strike="noStrike" kern="1200" cap="none" spc="0" normalizeH="0" baseline="0" noProof="0" dirty="0">
                <a:ln>
                  <a:noFill/>
                </a:ln>
                <a:effectLst/>
                <a:uLnTx/>
                <a:uFillTx/>
                <a:latin typeface="Arial"/>
                <a:ea typeface="+mn-ea"/>
                <a:cs typeface="Arial"/>
              </a:rPr>
              <a:t>ety </a:t>
            </a:r>
            <a:r>
              <a:rPr kumimoji="0" lang="en-US" sz="1500" i="0" u="none" strike="noStrike" kern="1200" cap="none" spc="0" normalizeH="0" baseline="0" noProof="0" dirty="0">
                <a:ln>
                  <a:noFill/>
                </a:ln>
                <a:effectLst/>
                <a:uLnTx/>
                <a:uFillTx/>
                <a:latin typeface="Arial"/>
                <a:ea typeface="+mn-ea"/>
                <a:cs typeface="Arial"/>
              </a:rPr>
              <a:t>shutoff</a:t>
            </a:r>
            <a:r>
              <a:rPr kumimoji="0" lang="en-US" sz="1500" b="0" i="0" u="none" strike="noStrike" kern="1200" cap="none" spc="0" normalizeH="0" baseline="0" noProof="0" dirty="0">
                <a:ln>
                  <a:noFill/>
                </a:ln>
                <a:effectLst/>
                <a:uLnTx/>
                <a:uFillTx/>
                <a:latin typeface="Arial"/>
                <a:ea typeface="+mn-ea"/>
                <a:cs typeface="Arial"/>
              </a:rPr>
              <a:t> in meter without utility intervention </a:t>
            </a:r>
          </a:p>
          <a:p>
            <a:pPr lvl="1" defTabSz="455967">
              <a:defRPr/>
            </a:pPr>
            <a:r>
              <a:rPr kumimoji="0" lang="en-US" sz="1500" b="0" i="0" u="none" strike="noStrike" kern="1200" cap="none" spc="0" normalizeH="0" baseline="0" noProof="0" dirty="0">
                <a:ln>
                  <a:noFill/>
                </a:ln>
                <a:effectLst/>
                <a:uLnTx/>
                <a:uFillTx/>
                <a:latin typeface="Arial"/>
                <a:ea typeface="+mn-ea"/>
                <a:cs typeface="Arial"/>
              </a:rPr>
              <a:t>Benefits Mobile &amp; Network </a:t>
            </a:r>
            <a:r>
              <a:rPr lang="en-US" sz="1500" dirty="0"/>
              <a:t>users</a:t>
            </a:r>
            <a:r>
              <a:rPr kumimoji="0" lang="en-US" sz="1500" b="0" i="0" u="none" strike="noStrike" kern="1200" cap="none" spc="0" normalizeH="0" baseline="0" noProof="0" dirty="0">
                <a:ln>
                  <a:noFill/>
                </a:ln>
                <a:effectLst/>
                <a:uLnTx/>
                <a:uFillTx/>
                <a:latin typeface="Arial"/>
                <a:ea typeface="+mn-ea"/>
                <a:cs typeface="Arial"/>
              </a:rPr>
              <a:t> for open fuel line downstream of the meter (EFV)</a:t>
            </a:r>
          </a:p>
          <a:p>
            <a:pPr defTabSz="455967">
              <a:defRPr/>
            </a:pPr>
            <a:r>
              <a:rPr kumimoji="0" lang="en-US" sz="1500" b="1" i="0" u="none" strike="noStrike" kern="1200" cap="none" spc="0" normalizeH="0" baseline="0" noProof="0" dirty="0">
                <a:ln>
                  <a:noFill/>
                </a:ln>
                <a:solidFill>
                  <a:schemeClr val="bg1"/>
                </a:solidFill>
                <a:effectLst/>
                <a:uLnTx/>
                <a:uFillTx/>
                <a:latin typeface="Arial"/>
                <a:ea typeface="+mn-ea"/>
                <a:cs typeface="Arial"/>
              </a:rPr>
              <a:t>High Temperature Alarm </a:t>
            </a:r>
          </a:p>
          <a:p>
            <a:pPr lvl="1" defTabSz="455967">
              <a:defRPr/>
            </a:pPr>
            <a:r>
              <a:rPr kumimoji="0" lang="en-US" sz="1500" i="0" u="none" strike="noStrike" kern="1200" cap="none" spc="0" normalizeH="0" baseline="0" noProof="0" dirty="0">
                <a:ln>
                  <a:noFill/>
                </a:ln>
                <a:solidFill>
                  <a:schemeClr val="bg1"/>
                </a:solidFill>
                <a:effectLst/>
                <a:uLnTx/>
                <a:uFillTx/>
                <a:latin typeface="Arial"/>
                <a:ea typeface="+mn-ea"/>
                <a:cs typeface="Arial"/>
              </a:rPr>
              <a:t>Triggers auto safety shutoff</a:t>
            </a:r>
            <a:r>
              <a:rPr kumimoji="0" lang="en-US" sz="1500" b="1" i="0" u="none" strike="noStrike" kern="1200" cap="none" spc="0" normalizeH="0" baseline="0" noProof="0" dirty="0">
                <a:ln>
                  <a:noFill/>
                </a:ln>
                <a:solidFill>
                  <a:schemeClr val="bg1"/>
                </a:solidFill>
                <a:effectLst/>
                <a:uLnTx/>
                <a:uFillTx/>
                <a:latin typeface="Arial"/>
                <a:ea typeface="+mn-ea"/>
                <a:cs typeface="Arial"/>
              </a:rPr>
              <a:t> </a:t>
            </a:r>
            <a:r>
              <a:rPr kumimoji="0" lang="en-US" sz="1500" i="0" u="none" strike="noStrike" kern="1200" cap="none" spc="0" normalizeH="0" baseline="0" noProof="0" dirty="0">
                <a:ln>
                  <a:noFill/>
                </a:ln>
                <a:solidFill>
                  <a:srgbClr val="434A52">
                    <a:lumMod val="50000"/>
                  </a:srgbClr>
                </a:solidFill>
                <a:effectLst/>
                <a:uLnTx/>
                <a:uFillTx/>
                <a:latin typeface="Arial"/>
                <a:ea typeface="+mn-ea"/>
                <a:cs typeface="Arial"/>
              </a:rPr>
              <a:t>in meter without utility intervention</a:t>
            </a:r>
          </a:p>
          <a:p>
            <a:pPr lvl="1" defTabSz="455967">
              <a:defRPr/>
            </a:pPr>
            <a:r>
              <a:rPr kumimoji="0" lang="en-US" sz="1500" b="0" i="0" u="none" strike="noStrike" kern="1200" cap="none" spc="0" normalizeH="0" baseline="0" noProof="0" dirty="0">
                <a:ln>
                  <a:noFill/>
                </a:ln>
                <a:solidFill>
                  <a:srgbClr val="434A52">
                    <a:lumMod val="50000"/>
                  </a:srgbClr>
                </a:solidFill>
                <a:effectLst/>
                <a:uLnTx/>
                <a:uFillTx/>
                <a:latin typeface="Arial"/>
                <a:ea typeface="+mn-ea"/>
                <a:cs typeface="Arial"/>
              </a:rPr>
              <a:t>Benefits Mobile &amp; Network </a:t>
            </a:r>
            <a:r>
              <a:rPr lang="en-US" sz="1500" dirty="0">
                <a:solidFill>
                  <a:srgbClr val="434A52">
                    <a:lumMod val="50000"/>
                  </a:srgbClr>
                </a:solidFill>
              </a:rPr>
              <a:t>users</a:t>
            </a:r>
            <a:r>
              <a:rPr kumimoji="0" lang="en-US" sz="1500" b="0" i="0" u="none" strike="noStrike" kern="1200" cap="none" spc="0" normalizeH="0" baseline="0" noProof="0" dirty="0">
                <a:ln>
                  <a:noFill/>
                </a:ln>
                <a:solidFill>
                  <a:srgbClr val="434A52">
                    <a:lumMod val="50000"/>
                  </a:srgbClr>
                </a:solidFill>
                <a:effectLst/>
                <a:uLnTx/>
                <a:uFillTx/>
                <a:latin typeface="Arial"/>
                <a:ea typeface="+mn-ea"/>
                <a:cs typeface="Arial"/>
              </a:rPr>
              <a:t> due to high temp such as fire</a:t>
            </a:r>
          </a:p>
          <a:p>
            <a:pPr marL="0" marR="0" lvl="0" indent="0" algn="l" defTabSz="455967" rtl="0" eaLnBrk="1" fontAlgn="auto" latinLnBrk="0" hangingPunct="1">
              <a:lnSpc>
                <a:spcPct val="100000"/>
              </a:lnSpc>
              <a:spcBef>
                <a:spcPct val="20000"/>
              </a:spcBef>
              <a:spcAft>
                <a:spcPts val="0"/>
              </a:spcAft>
              <a:buClr>
                <a:srgbClr val="D02124"/>
              </a:buClr>
              <a:buSzTx/>
              <a:buFont typeface="Lucida Grande"/>
              <a:buNone/>
              <a:tabLst/>
              <a:defRPr/>
            </a:pPr>
            <a:r>
              <a:rPr kumimoji="0" lang="en-US" sz="1500" b="1" i="0" u="none" strike="noStrike" kern="1200" cap="none" spc="0" normalizeH="0" baseline="0" noProof="0" dirty="0">
                <a:ln>
                  <a:noFill/>
                </a:ln>
                <a:solidFill>
                  <a:srgbClr val="D02124"/>
                </a:solidFill>
                <a:effectLst/>
                <a:uLnTx/>
                <a:uFillTx/>
                <a:latin typeface="Arial"/>
                <a:ea typeface="+mn-ea"/>
                <a:cs typeface="Arial"/>
              </a:rPr>
              <a:t>Homeowner calls utility due to smelling gas</a:t>
            </a:r>
            <a:endParaRPr lang="en-US" sz="1500" dirty="0">
              <a:solidFill>
                <a:srgbClr val="434A52">
                  <a:lumMod val="50000"/>
                </a:srgbClr>
              </a:solidFill>
            </a:endParaRPr>
          </a:p>
          <a:p>
            <a:pPr defTabSz="455967">
              <a:defRPr/>
            </a:pPr>
            <a:r>
              <a:rPr kumimoji="0" lang="en-US" sz="1500" b="0" i="0" u="none" strike="noStrike" kern="1200" cap="none" spc="0" normalizeH="0" baseline="0" noProof="0" dirty="0">
                <a:ln>
                  <a:noFill/>
                </a:ln>
                <a:solidFill>
                  <a:srgbClr val="434A52">
                    <a:lumMod val="50000"/>
                  </a:srgbClr>
                </a:solidFill>
                <a:effectLst/>
                <a:uLnTx/>
                <a:uFillTx/>
                <a:latin typeface="Arial"/>
                <a:ea typeface="+mn-ea"/>
                <a:cs typeface="Arial"/>
              </a:rPr>
              <a:t>Network </a:t>
            </a:r>
            <a:r>
              <a:rPr lang="en-US" sz="1500" dirty="0">
                <a:solidFill>
                  <a:srgbClr val="434A52">
                    <a:lumMod val="50000"/>
                  </a:srgbClr>
                </a:solidFill>
              </a:rPr>
              <a:t>users</a:t>
            </a:r>
            <a:r>
              <a:rPr kumimoji="0" lang="en-US" sz="1500" b="0" i="0" u="none" strike="noStrike" kern="1200" cap="none" spc="0" normalizeH="0" baseline="0" noProof="0" dirty="0">
                <a:ln>
                  <a:noFill/>
                </a:ln>
                <a:solidFill>
                  <a:srgbClr val="434A52">
                    <a:lumMod val="50000"/>
                  </a:srgbClr>
                </a:solidFill>
                <a:effectLst/>
                <a:uLnTx/>
                <a:uFillTx/>
                <a:latin typeface="Arial"/>
                <a:ea typeface="+mn-ea"/>
                <a:cs typeface="Arial"/>
              </a:rPr>
              <a:t> can send comman</a:t>
            </a:r>
            <a:r>
              <a:rPr kumimoji="0" lang="en-US" sz="1500" b="0" i="0" u="none" strike="noStrike" kern="1200" cap="none" spc="0" normalizeH="0" baseline="0" noProof="0" dirty="0">
                <a:ln>
                  <a:noFill/>
                </a:ln>
                <a:effectLst/>
                <a:uLnTx/>
                <a:uFillTx/>
                <a:latin typeface="Arial"/>
                <a:ea typeface="+mn-ea"/>
                <a:cs typeface="Arial"/>
              </a:rPr>
              <a:t>d</a:t>
            </a:r>
            <a:r>
              <a:rPr kumimoji="0" lang="en-US" sz="1500" i="0" u="none" strike="noStrike" kern="1200" cap="none" spc="0" normalizeH="0" baseline="0" noProof="0" dirty="0">
                <a:ln>
                  <a:noFill/>
                </a:ln>
                <a:effectLst/>
                <a:uLnTx/>
                <a:uFillTx/>
                <a:latin typeface="Arial"/>
                <a:ea typeface="+mn-ea"/>
                <a:cs typeface="Arial"/>
              </a:rPr>
              <a:t> to close the valve </a:t>
            </a:r>
            <a:r>
              <a:rPr kumimoji="0" lang="en-US" sz="1500" b="0" i="0" u="none" strike="noStrike" kern="1200" cap="none" spc="0" normalizeH="0" baseline="0" noProof="0" dirty="0">
                <a:ln>
                  <a:noFill/>
                </a:ln>
                <a:effectLst/>
                <a:uLnTx/>
                <a:uFillTx/>
                <a:latin typeface="Arial"/>
                <a:ea typeface="+mn-ea"/>
                <a:cs typeface="Arial"/>
              </a:rPr>
              <a:t>benefiting homeowner, employee and community at large</a:t>
            </a:r>
          </a:p>
          <a:p>
            <a:pPr defTabSz="455967">
              <a:defRPr/>
            </a:pPr>
            <a:r>
              <a:rPr kumimoji="0" lang="en-US" sz="1500" b="0" i="0" u="none" strike="noStrike" kern="1200" cap="none" spc="0" normalizeH="0" baseline="0" noProof="0" dirty="0">
                <a:ln>
                  <a:noFill/>
                </a:ln>
                <a:effectLst/>
                <a:uLnTx/>
                <a:uFillTx/>
                <a:latin typeface="Arial"/>
                <a:ea typeface="+mn-ea"/>
                <a:cs typeface="Arial"/>
              </a:rPr>
              <a:t>Mobile </a:t>
            </a:r>
            <a:r>
              <a:rPr lang="en-US" sz="1500" dirty="0"/>
              <a:t>users</a:t>
            </a:r>
            <a:r>
              <a:rPr kumimoji="0" lang="en-US" sz="1500" b="0" i="0" u="none" strike="noStrike" kern="1200" cap="none" spc="0" normalizeH="0" baseline="0" noProof="0" dirty="0">
                <a:ln>
                  <a:noFill/>
                </a:ln>
                <a:effectLst/>
                <a:uLnTx/>
                <a:uFillTx/>
                <a:latin typeface="Arial"/>
                <a:ea typeface="+mn-ea"/>
                <a:cs typeface="Arial"/>
              </a:rPr>
              <a:t> can </a:t>
            </a:r>
            <a:r>
              <a:rPr lang="en-US" sz="1500" dirty="0"/>
              <a:t>close</a:t>
            </a:r>
            <a:r>
              <a:rPr kumimoji="0" lang="en-US" sz="1500" i="0" u="none" strike="noStrike" kern="1200" cap="none" spc="0" normalizeH="0" baseline="0" noProof="0" dirty="0">
                <a:ln>
                  <a:noFill/>
                </a:ln>
                <a:effectLst/>
                <a:uLnTx/>
                <a:uFillTx/>
                <a:latin typeface="Arial"/>
                <a:ea typeface="+mn-ea"/>
                <a:cs typeface="Arial"/>
              </a:rPr>
              <a:t> the valve</a:t>
            </a:r>
            <a:r>
              <a:rPr kumimoji="0" lang="en-US" sz="1500" b="1" i="0" u="none" strike="noStrike" kern="1200" cap="none" spc="0" normalizeH="0" baseline="0" noProof="0" dirty="0">
                <a:ln>
                  <a:noFill/>
                </a:ln>
                <a:effectLst/>
                <a:uLnTx/>
                <a:uFillTx/>
                <a:latin typeface="Arial"/>
                <a:ea typeface="+mn-ea"/>
                <a:cs typeface="Arial"/>
              </a:rPr>
              <a:t> </a:t>
            </a:r>
            <a:r>
              <a:rPr kumimoji="0" lang="en-US" sz="1500" b="0" i="0" u="none" strike="noStrike" kern="1200" cap="none" spc="0" normalizeH="0" baseline="0" noProof="0" dirty="0">
                <a:ln>
                  <a:noFill/>
                </a:ln>
                <a:effectLst/>
                <a:uLnTx/>
                <a:uFillTx/>
                <a:latin typeface="Arial"/>
                <a:ea typeface="+mn-ea"/>
                <a:cs typeface="Arial"/>
              </a:rPr>
              <a:t>from a distance before investigating benefiting employee safety</a:t>
            </a:r>
          </a:p>
          <a:p>
            <a:pPr marL="0" marR="0" lvl="0" indent="0" algn="l" defTabSz="455967" rtl="0" eaLnBrk="1" fontAlgn="auto" latinLnBrk="0" hangingPunct="1">
              <a:lnSpc>
                <a:spcPct val="100000"/>
              </a:lnSpc>
              <a:spcBef>
                <a:spcPct val="20000"/>
              </a:spcBef>
              <a:spcAft>
                <a:spcPts val="0"/>
              </a:spcAft>
              <a:buClr>
                <a:srgbClr val="D02124"/>
              </a:buClr>
              <a:buSzTx/>
              <a:buFont typeface="Lucida Grande"/>
              <a:buNone/>
              <a:tabLst/>
              <a:defRPr/>
            </a:pPr>
            <a:r>
              <a:rPr kumimoji="0" lang="en-US" sz="1500" b="1" i="0" u="none" strike="noStrike" kern="1200" cap="none" spc="0" normalizeH="0" baseline="0" noProof="0" dirty="0">
                <a:ln>
                  <a:noFill/>
                </a:ln>
                <a:solidFill>
                  <a:srgbClr val="D02124"/>
                </a:solidFill>
                <a:effectLst/>
                <a:uLnTx/>
                <a:uFillTx/>
                <a:latin typeface="Arial"/>
                <a:ea typeface="+mn-ea"/>
                <a:cs typeface="Arial"/>
              </a:rPr>
              <a:t>Non-Payment – Utility Worker Safety!</a:t>
            </a:r>
          </a:p>
          <a:p>
            <a:pPr marL="0" marR="0" lvl="0" indent="0" algn="l" defTabSz="455967" rtl="0" eaLnBrk="1" fontAlgn="auto" latinLnBrk="0" hangingPunct="1">
              <a:lnSpc>
                <a:spcPct val="100000"/>
              </a:lnSpc>
              <a:spcBef>
                <a:spcPct val="20000"/>
              </a:spcBef>
              <a:spcAft>
                <a:spcPts val="0"/>
              </a:spcAft>
              <a:buClr>
                <a:srgbClr val="D02124"/>
              </a:buClr>
              <a:buSzTx/>
              <a:buFont typeface="Lucida Grande"/>
              <a:buNone/>
              <a:tabLst/>
              <a:defRPr/>
            </a:pPr>
            <a:r>
              <a:rPr kumimoji="0" lang="en-US" sz="1500" b="0" i="0" u="none" strike="noStrike" kern="1200" cap="none" spc="0" normalizeH="0" baseline="0" noProof="0" dirty="0">
                <a:ln>
                  <a:noFill/>
                </a:ln>
                <a:solidFill>
                  <a:srgbClr val="434A52">
                    <a:lumMod val="50000"/>
                  </a:srgbClr>
                </a:solidFill>
                <a:effectLst/>
                <a:uLnTx/>
                <a:uFillTx/>
                <a:latin typeface="Arial"/>
                <a:ea typeface="+mn-ea"/>
                <a:cs typeface="Arial"/>
              </a:rPr>
              <a:t> - Mobile and Network </a:t>
            </a:r>
            <a:r>
              <a:rPr lang="en-US" sz="1500" dirty="0">
                <a:solidFill>
                  <a:srgbClr val="434A52">
                    <a:lumMod val="50000"/>
                  </a:srgbClr>
                </a:solidFill>
              </a:rPr>
              <a:t>users</a:t>
            </a:r>
            <a:r>
              <a:rPr kumimoji="0" lang="en-US" sz="1500" b="0" i="0" u="none" strike="noStrike" kern="1200" cap="none" spc="0" normalizeH="0" baseline="0" noProof="0" dirty="0">
                <a:ln>
                  <a:noFill/>
                </a:ln>
                <a:solidFill>
                  <a:srgbClr val="434A52">
                    <a:lumMod val="50000"/>
                  </a:srgbClr>
                </a:solidFill>
                <a:effectLst/>
                <a:uLnTx/>
                <a:uFillTx/>
                <a:latin typeface="Arial"/>
                <a:ea typeface="+mn-ea"/>
                <a:cs typeface="Arial"/>
              </a:rPr>
              <a:t> can temporarily </a:t>
            </a:r>
            <a:r>
              <a:rPr kumimoji="0" lang="en-US" sz="1500" i="0" u="none" strike="noStrike" kern="1200" cap="none" spc="0" normalizeH="0" baseline="0" noProof="0" dirty="0">
                <a:ln>
                  <a:noFill/>
                </a:ln>
                <a:solidFill>
                  <a:schemeClr val="bg1"/>
                </a:solidFill>
                <a:effectLst/>
                <a:uLnTx/>
                <a:uFillTx/>
                <a:latin typeface="Arial"/>
                <a:ea typeface="+mn-ea"/>
                <a:cs typeface="Arial"/>
              </a:rPr>
              <a:t>shut off</a:t>
            </a:r>
            <a:r>
              <a:rPr kumimoji="0" lang="en-US" sz="1500" b="0" i="0" u="none" strike="noStrike" kern="1200" cap="none" spc="0" normalizeH="0" baseline="0" noProof="0" dirty="0">
                <a:ln>
                  <a:noFill/>
                </a:ln>
                <a:solidFill>
                  <a:srgbClr val="434A52">
                    <a:lumMod val="50000"/>
                  </a:srgbClr>
                </a:solidFill>
                <a:effectLst/>
                <a:uLnTx/>
                <a:uFillTx/>
                <a:latin typeface="Arial"/>
                <a:ea typeface="+mn-ea"/>
                <a:cs typeface="Arial"/>
              </a:rPr>
              <a:t> gas </a:t>
            </a:r>
            <a:endParaRPr kumimoji="0" lang="en-US" sz="1500" b="1" i="0" u="none" strike="noStrike" kern="1200" cap="none" spc="0" normalizeH="0" baseline="0" noProof="0" dirty="0">
              <a:ln>
                <a:noFill/>
              </a:ln>
              <a:solidFill>
                <a:srgbClr val="141619"/>
              </a:solidFill>
              <a:effectLst/>
              <a:uLnTx/>
              <a:uFillTx/>
              <a:latin typeface="Arial"/>
              <a:ea typeface="+mn-ea"/>
              <a:cs typeface="Arial"/>
            </a:endParaRPr>
          </a:p>
          <a:p>
            <a:pPr marL="0" marR="0" lvl="0" indent="0" algn="l" defTabSz="455967" rtl="0" eaLnBrk="1" fontAlgn="auto" latinLnBrk="0" hangingPunct="1">
              <a:lnSpc>
                <a:spcPct val="100000"/>
              </a:lnSpc>
              <a:spcBef>
                <a:spcPct val="20000"/>
              </a:spcBef>
              <a:spcAft>
                <a:spcPts val="0"/>
              </a:spcAft>
              <a:buClr>
                <a:srgbClr val="D02124"/>
              </a:buClr>
              <a:buSzTx/>
              <a:buFont typeface="Lucida Grande"/>
              <a:buNone/>
              <a:tabLst/>
              <a:defRPr/>
            </a:pPr>
            <a:endParaRPr kumimoji="0" lang="en-US" sz="1599" b="0" i="0" u="none" strike="noStrike" kern="1200" cap="none" spc="0" normalizeH="0" baseline="0" noProof="0" dirty="0">
              <a:ln>
                <a:noFill/>
              </a:ln>
              <a:solidFill>
                <a:srgbClr val="434A52">
                  <a:lumMod val="50000"/>
                </a:srgbClr>
              </a:solidFill>
              <a:effectLst/>
              <a:uLnTx/>
              <a:uFillTx/>
              <a:latin typeface="Arial"/>
              <a:ea typeface="+mn-ea"/>
              <a:cs typeface="Arial"/>
            </a:endParaRPr>
          </a:p>
          <a:p>
            <a:pPr marL="0" marR="0" lvl="0" indent="0" algn="l" defTabSz="455967" rtl="0" eaLnBrk="1" fontAlgn="auto" latinLnBrk="0" hangingPunct="1">
              <a:lnSpc>
                <a:spcPct val="100000"/>
              </a:lnSpc>
              <a:spcBef>
                <a:spcPct val="20000"/>
              </a:spcBef>
              <a:spcAft>
                <a:spcPts val="0"/>
              </a:spcAft>
              <a:buClr>
                <a:srgbClr val="D02124"/>
              </a:buClr>
              <a:buSzTx/>
              <a:buFont typeface="Lucida Grande"/>
              <a:buNone/>
              <a:tabLst/>
              <a:defRPr/>
            </a:pPr>
            <a:r>
              <a:rPr kumimoji="0" lang="en-US" sz="1599" b="0" i="0" u="none" strike="noStrike" kern="1200" cap="none" spc="0" normalizeH="0" baseline="0" noProof="0" dirty="0">
                <a:ln>
                  <a:noFill/>
                </a:ln>
                <a:solidFill>
                  <a:srgbClr val="434A52">
                    <a:lumMod val="50000"/>
                  </a:srgbClr>
                </a:solidFill>
                <a:effectLst/>
                <a:highlight>
                  <a:srgbClr val="FFFFFE"/>
                </a:highlight>
                <a:uLnTx/>
                <a:uFillTx/>
                <a:latin typeface="Arial"/>
                <a:ea typeface="+mn-ea"/>
                <a:cs typeface="Arial"/>
              </a:rPr>
              <a:t>  </a:t>
            </a:r>
            <a:endParaRPr kumimoji="0" lang="en-US" sz="1599" b="0" i="0" u="none" strike="noStrike" kern="1200" cap="none" spc="0" normalizeH="0" baseline="0" noProof="0" dirty="0">
              <a:ln>
                <a:noFill/>
              </a:ln>
              <a:solidFill>
                <a:srgbClr val="434A52">
                  <a:lumMod val="50000"/>
                </a:srgbClr>
              </a:solidFill>
              <a:effectLst/>
              <a:uLnTx/>
              <a:uFillTx/>
              <a:latin typeface="Arial"/>
              <a:ea typeface="+mn-ea"/>
              <a:cs typeface="Arial"/>
            </a:endParaRPr>
          </a:p>
          <a:p>
            <a:pPr marL="0" marR="0" lvl="0" indent="0" algn="l" defTabSz="456789" rtl="0" eaLnBrk="1" fontAlgn="auto" latinLnBrk="0" hangingPunct="1">
              <a:lnSpc>
                <a:spcPct val="100000"/>
              </a:lnSpc>
              <a:spcBef>
                <a:spcPts val="899"/>
              </a:spcBef>
              <a:spcAft>
                <a:spcPts val="0"/>
              </a:spcAft>
              <a:buClr>
                <a:srgbClr val="D02124"/>
              </a:buClr>
              <a:buSzTx/>
              <a:buFont typeface="Lucida Grande"/>
              <a:buNone/>
              <a:tabLst/>
              <a:defRPr/>
            </a:pPr>
            <a:endParaRPr kumimoji="0" lang="en-US" sz="1199" b="1" i="0" u="none" strike="noStrike" kern="1200" cap="none" spc="0" normalizeH="0" baseline="0" noProof="0" dirty="0">
              <a:ln>
                <a:noFill/>
              </a:ln>
              <a:solidFill>
                <a:srgbClr val="D02124"/>
              </a:solidFill>
              <a:effectLst/>
              <a:uLnTx/>
              <a:uFillTx/>
              <a:latin typeface="Arial"/>
              <a:ea typeface="+mn-ea"/>
              <a:cs typeface="Arial"/>
            </a:endParaRPr>
          </a:p>
          <a:p>
            <a:pPr marL="0" marR="0" lvl="2" indent="0" algn="l" defTabSz="456789" rtl="0" eaLnBrk="1" fontAlgn="auto" latinLnBrk="0" hangingPunct="1">
              <a:lnSpc>
                <a:spcPct val="100000"/>
              </a:lnSpc>
              <a:spcBef>
                <a:spcPts val="0"/>
              </a:spcBef>
              <a:spcAft>
                <a:spcPts val="0"/>
              </a:spcAft>
              <a:buClr>
                <a:srgbClr val="D02124"/>
              </a:buClr>
              <a:buSzPct val="80000"/>
              <a:buFont typeface="Lucida Grande"/>
              <a:buNone/>
              <a:tabLst/>
              <a:defRPr/>
            </a:pPr>
            <a:endParaRPr kumimoji="0" lang="en-US" sz="1199" b="0" i="0" u="none" strike="noStrike" kern="1200" cap="none" spc="0" normalizeH="0" baseline="0" noProof="0" dirty="0">
              <a:ln>
                <a:noFill/>
              </a:ln>
              <a:solidFill>
                <a:srgbClr val="434A52"/>
              </a:solidFill>
              <a:effectLst/>
              <a:uLnTx/>
              <a:uFillTx/>
              <a:latin typeface="Arial"/>
              <a:ea typeface="+mn-ea"/>
              <a:cs typeface="+mn-cs"/>
            </a:endParaRPr>
          </a:p>
          <a:p>
            <a:pPr marL="0" marR="0" lvl="2" indent="0" algn="l" defTabSz="456789" rtl="0" eaLnBrk="1" fontAlgn="auto" latinLnBrk="0" hangingPunct="1">
              <a:lnSpc>
                <a:spcPct val="100000"/>
              </a:lnSpc>
              <a:spcBef>
                <a:spcPts val="0"/>
              </a:spcBef>
              <a:spcAft>
                <a:spcPts val="0"/>
              </a:spcAft>
              <a:buClr>
                <a:srgbClr val="D02124"/>
              </a:buClr>
              <a:buSzPct val="80000"/>
              <a:buFont typeface="Lucida Grande"/>
              <a:buNone/>
              <a:tabLst/>
              <a:defRPr/>
            </a:pPr>
            <a:endParaRPr kumimoji="0" lang="en-US" sz="1199" b="0" i="0" u="none" strike="noStrike" kern="1200" cap="none" spc="0" normalizeH="0" baseline="0" noProof="0" dirty="0">
              <a:ln>
                <a:noFill/>
              </a:ln>
              <a:solidFill>
                <a:srgbClr val="434A52"/>
              </a:solidFill>
              <a:effectLst/>
              <a:uLnTx/>
              <a:uFillTx/>
              <a:latin typeface="Arial"/>
              <a:ea typeface="+mn-ea"/>
              <a:cs typeface="+mn-cs"/>
            </a:endParaRPr>
          </a:p>
        </p:txBody>
      </p:sp>
    </p:spTree>
    <p:extLst>
      <p:ext uri="{BB962C8B-B14F-4D97-AF65-F5344CB8AC3E}">
        <p14:creationId xmlns:p14="http://schemas.microsoft.com/office/powerpoint/2010/main" val="155350441"/>
      </p:ext>
    </p:extLst>
  </p:cSld>
  <p:clrMapOvr>
    <a:overrideClrMapping bg1="lt1" tx1="dk1" bg2="lt2" tx2="dk2" accent1="accent1" accent2="accent2" accent3="accent3" accent4="accent4" accent5="accent5" accent6="accent6" hlink="hlink" folHlink="folHlink"/>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1F64007-B11B-795B-230F-6823DA3B33AD}"/>
              </a:ext>
            </a:extLst>
          </p:cNvPr>
          <p:cNvSpPr>
            <a:spLocks noGrp="1"/>
          </p:cNvSpPr>
          <p:nvPr>
            <p:ph type="title"/>
          </p:nvPr>
        </p:nvSpPr>
        <p:spPr/>
        <p:txBody>
          <a:bodyPr/>
          <a:lstStyle/>
          <a:p>
            <a:r>
              <a:rPr lang="en-US" dirty="0"/>
              <a:t>Diagnostics</a:t>
            </a:r>
          </a:p>
        </p:txBody>
      </p:sp>
      <p:pic>
        <p:nvPicPr>
          <p:cNvPr id="11" name="Content Placeholder 10">
            <a:extLst>
              <a:ext uri="{FF2B5EF4-FFF2-40B4-BE49-F238E27FC236}">
                <a16:creationId xmlns:a16="http://schemas.microsoft.com/office/drawing/2014/main" id="{9B332BAA-39DD-3D30-1711-7FA57E777E62}"/>
              </a:ext>
            </a:extLst>
          </p:cNvPr>
          <p:cNvPicPr>
            <a:picLocks noGrp="1" noChangeAspect="1"/>
          </p:cNvPicPr>
          <p:nvPr>
            <p:ph idx="1"/>
          </p:nvPr>
        </p:nvPicPr>
        <p:blipFill rotWithShape="1">
          <a:blip r:embed="rId4"/>
          <a:srcRect l="7685" t="17710" r="8926" b="16486"/>
          <a:stretch/>
        </p:blipFill>
        <p:spPr>
          <a:xfrm>
            <a:off x="2631533" y="1116544"/>
            <a:ext cx="3880933" cy="2915173"/>
          </a:xfrm>
        </p:spPr>
      </p:pic>
    </p:spTree>
    <p:extLst>
      <p:ext uri="{BB962C8B-B14F-4D97-AF65-F5344CB8AC3E}">
        <p14:creationId xmlns:p14="http://schemas.microsoft.com/office/powerpoint/2010/main" val="826627231"/>
      </p:ext>
    </p:extLst>
  </p:cSld>
  <p:clrMapOvr>
    <a:overrideClrMapping bg1="lt1" tx1="dk1" bg2="lt2" tx2="dk2" accent1="accent1" accent2="accent2" accent3="accent3" accent4="accent4" accent5="accent5" accent6="accent6" hlink="hlink" folHlink="folHlink"/>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2C3D0F-2726-420F-9F14-517DCDEF25FF}"/>
              </a:ext>
            </a:extLst>
          </p:cNvPr>
          <p:cNvSpPr>
            <a:spLocks noGrp="1"/>
          </p:cNvSpPr>
          <p:nvPr>
            <p:ph type="title"/>
          </p:nvPr>
        </p:nvSpPr>
        <p:spPr/>
        <p:txBody>
          <a:bodyPr/>
          <a:lstStyle/>
          <a:p>
            <a:r>
              <a:rPr lang="en-US" dirty="0"/>
              <a:t>Additional benefits</a:t>
            </a:r>
          </a:p>
        </p:txBody>
      </p:sp>
      <p:sp>
        <p:nvSpPr>
          <p:cNvPr id="8" name="Text Placeholder 4">
            <a:extLst>
              <a:ext uri="{FF2B5EF4-FFF2-40B4-BE49-F238E27FC236}">
                <a16:creationId xmlns:a16="http://schemas.microsoft.com/office/drawing/2014/main" id="{ACB6D893-6B31-4B83-99E0-380E10431A4A}"/>
              </a:ext>
            </a:extLst>
          </p:cNvPr>
          <p:cNvSpPr txBox="1">
            <a:spLocks/>
          </p:cNvSpPr>
          <p:nvPr/>
        </p:nvSpPr>
        <p:spPr>
          <a:xfrm>
            <a:off x="365845" y="939975"/>
            <a:ext cx="5792854" cy="3738360"/>
          </a:xfrm>
          <a:prstGeom prst="rect">
            <a:avLst/>
          </a:prstGeom>
        </p:spPr>
        <p:txBody>
          <a:bodyPr/>
          <a:lstStyle>
            <a:lvl1pPr marL="171296" indent="-171296" algn="l" defTabSz="456789" rtl="0" eaLnBrk="1" latinLnBrk="0" hangingPunct="1">
              <a:spcBef>
                <a:spcPct val="20000"/>
              </a:spcBef>
              <a:buClr>
                <a:srgbClr val="D02124"/>
              </a:buClr>
              <a:buFont typeface="Lucida Grande"/>
              <a:buChar char="»"/>
              <a:defRPr sz="1599" kern="1200">
                <a:solidFill>
                  <a:schemeClr val="tx1"/>
                </a:solidFill>
                <a:latin typeface="Arial"/>
                <a:ea typeface="+mn-ea"/>
                <a:cs typeface="Arial"/>
              </a:defRPr>
            </a:lvl1pPr>
            <a:lvl2pPr marL="285493" indent="-114197" algn="l" defTabSz="456789" rtl="0" eaLnBrk="1" latinLnBrk="0" hangingPunct="1">
              <a:spcBef>
                <a:spcPct val="20000"/>
              </a:spcBef>
              <a:buClr>
                <a:srgbClr val="D02124"/>
              </a:buClr>
              <a:buSzPct val="100000"/>
              <a:buFont typeface="Arial"/>
              <a:buChar char="•"/>
              <a:defRPr sz="1599" kern="1200">
                <a:solidFill>
                  <a:schemeClr val="tx1"/>
                </a:solidFill>
                <a:latin typeface="Arial"/>
                <a:ea typeface="+mn-ea"/>
                <a:cs typeface="Arial"/>
              </a:defRPr>
            </a:lvl2pPr>
            <a:lvl3pPr marL="456789" indent="-171296" algn="l" defTabSz="456789" rtl="0" eaLnBrk="1" latinLnBrk="0" hangingPunct="1">
              <a:spcBef>
                <a:spcPct val="20000"/>
              </a:spcBef>
              <a:buClr>
                <a:srgbClr val="D02124"/>
              </a:buClr>
              <a:buSzPct val="80000"/>
              <a:buFont typeface="Lucida Grande"/>
              <a:buChar char="-"/>
              <a:defRPr sz="1599" kern="1200" baseline="0">
                <a:solidFill>
                  <a:schemeClr val="tx1"/>
                </a:solidFill>
                <a:latin typeface="Arial"/>
                <a:ea typeface="+mn-ea"/>
                <a:cs typeface="+mn-cs"/>
              </a:defRPr>
            </a:lvl3pPr>
            <a:lvl4pPr marL="1598760" indent="-228394" algn="l" defTabSz="456789" rtl="0" eaLnBrk="1" latinLnBrk="0" hangingPunct="1">
              <a:spcBef>
                <a:spcPct val="20000"/>
              </a:spcBef>
              <a:buFont typeface="Arial"/>
              <a:buChar char="–"/>
              <a:defRPr sz="1998" kern="1200">
                <a:solidFill>
                  <a:schemeClr val="tx1"/>
                </a:solidFill>
                <a:latin typeface="+mn-lt"/>
                <a:ea typeface="+mn-ea"/>
                <a:cs typeface="+mn-cs"/>
              </a:defRPr>
            </a:lvl4pPr>
            <a:lvl5pPr marL="2055548" indent="-228394" algn="l" defTabSz="456789" rtl="0" eaLnBrk="1" latinLnBrk="0" hangingPunct="1">
              <a:spcBef>
                <a:spcPct val="20000"/>
              </a:spcBef>
              <a:buFont typeface="Arial"/>
              <a:buChar char="»"/>
              <a:defRPr sz="1998" kern="1200">
                <a:solidFill>
                  <a:schemeClr val="tx1"/>
                </a:solidFill>
                <a:latin typeface="+mn-lt"/>
                <a:ea typeface="+mn-ea"/>
                <a:cs typeface="+mn-cs"/>
              </a:defRPr>
            </a:lvl5pPr>
            <a:lvl6pPr marL="2512337" indent="-228394" algn="l" defTabSz="456789" rtl="0" eaLnBrk="1" latinLnBrk="0" hangingPunct="1">
              <a:spcBef>
                <a:spcPct val="20000"/>
              </a:spcBef>
              <a:buFont typeface="Arial"/>
              <a:buChar char="•"/>
              <a:defRPr sz="1998" kern="1200">
                <a:solidFill>
                  <a:schemeClr val="tx1"/>
                </a:solidFill>
                <a:latin typeface="+mn-lt"/>
                <a:ea typeface="+mn-ea"/>
                <a:cs typeface="+mn-cs"/>
              </a:defRPr>
            </a:lvl6pPr>
            <a:lvl7pPr marL="2969125" indent="-228394" algn="l" defTabSz="456789" rtl="0" eaLnBrk="1" latinLnBrk="0" hangingPunct="1">
              <a:spcBef>
                <a:spcPct val="20000"/>
              </a:spcBef>
              <a:buFont typeface="Arial"/>
              <a:buChar char="•"/>
              <a:defRPr sz="1998" kern="1200">
                <a:solidFill>
                  <a:schemeClr val="tx1"/>
                </a:solidFill>
                <a:latin typeface="+mn-lt"/>
                <a:ea typeface="+mn-ea"/>
                <a:cs typeface="+mn-cs"/>
              </a:defRPr>
            </a:lvl7pPr>
            <a:lvl8pPr marL="3425914" indent="-228394" algn="l" defTabSz="456789" rtl="0" eaLnBrk="1" latinLnBrk="0" hangingPunct="1">
              <a:spcBef>
                <a:spcPct val="20000"/>
              </a:spcBef>
              <a:buFont typeface="Arial"/>
              <a:buChar char="•"/>
              <a:defRPr sz="1998" kern="1200">
                <a:solidFill>
                  <a:schemeClr val="tx1"/>
                </a:solidFill>
                <a:latin typeface="+mn-lt"/>
                <a:ea typeface="+mn-ea"/>
                <a:cs typeface="+mn-cs"/>
              </a:defRPr>
            </a:lvl8pPr>
            <a:lvl9pPr marL="3882702" indent="-228394" algn="l" defTabSz="456789" rtl="0" eaLnBrk="1" latinLnBrk="0" hangingPunct="1">
              <a:spcBef>
                <a:spcPct val="20000"/>
              </a:spcBef>
              <a:buFont typeface="Arial"/>
              <a:buChar char="•"/>
              <a:defRPr sz="1998" kern="1200">
                <a:solidFill>
                  <a:schemeClr val="tx1"/>
                </a:solidFill>
                <a:latin typeface="+mn-lt"/>
                <a:ea typeface="+mn-ea"/>
                <a:cs typeface="+mn-cs"/>
              </a:defRPr>
            </a:lvl9pPr>
          </a:lstStyle>
          <a:p>
            <a:pPr marL="0" marR="0" lvl="0" indent="0" algn="l" defTabSz="455967" rtl="0" eaLnBrk="1" fontAlgn="auto" latinLnBrk="0" hangingPunct="1">
              <a:lnSpc>
                <a:spcPct val="100000"/>
              </a:lnSpc>
              <a:spcBef>
                <a:spcPct val="20000"/>
              </a:spcBef>
              <a:spcAft>
                <a:spcPts val="0"/>
              </a:spcAft>
              <a:buClr>
                <a:srgbClr val="D02124"/>
              </a:buClr>
              <a:buSzTx/>
              <a:buFont typeface="Lucida Grande"/>
              <a:buNone/>
              <a:tabLst/>
              <a:defRPr/>
            </a:pPr>
            <a:r>
              <a:rPr kumimoji="0" lang="en-US" sz="1400" b="1" i="0" u="none" strike="noStrike" kern="1200" cap="none" spc="0" normalizeH="0" baseline="0" noProof="0" dirty="0">
                <a:ln>
                  <a:noFill/>
                </a:ln>
                <a:solidFill>
                  <a:srgbClr val="D02124"/>
                </a:solidFill>
                <a:effectLst/>
                <a:uLnTx/>
                <a:uFillTx/>
                <a:latin typeface="Arial"/>
                <a:ea typeface="+mn-ea"/>
                <a:cs typeface="Arial"/>
              </a:rPr>
              <a:t>Theft/Safety</a:t>
            </a:r>
          </a:p>
          <a:p>
            <a:pPr marL="0" marR="0" lvl="0" indent="0" algn="l" defTabSz="455967" rtl="0" eaLnBrk="1" fontAlgn="auto" latinLnBrk="0" hangingPunct="1">
              <a:lnSpc>
                <a:spcPct val="100000"/>
              </a:lnSpc>
              <a:spcBef>
                <a:spcPct val="20000"/>
              </a:spcBef>
              <a:spcAft>
                <a:spcPts val="0"/>
              </a:spcAft>
              <a:buClr>
                <a:srgbClr val="D02124"/>
              </a:buClr>
              <a:buSzTx/>
              <a:buFont typeface="Lucida Grande"/>
              <a:buNone/>
              <a:tabLst/>
              <a:defRPr/>
            </a:pPr>
            <a:r>
              <a:rPr kumimoji="0" lang="en-US" sz="1400" b="0" i="0" u="none" strike="noStrike" kern="1200" cap="none" spc="0" normalizeH="0" baseline="0" noProof="0" dirty="0">
                <a:ln>
                  <a:noFill/>
                </a:ln>
                <a:solidFill>
                  <a:srgbClr val="434A52">
                    <a:lumMod val="50000"/>
                  </a:srgbClr>
                </a:solidFill>
                <a:effectLst/>
                <a:uLnTx/>
                <a:uFillTx/>
                <a:latin typeface="Arial"/>
                <a:ea typeface="+mn-ea"/>
                <a:cs typeface="Arial"/>
              </a:rPr>
              <a:t> - </a:t>
            </a:r>
            <a:r>
              <a:rPr lang="en-US" sz="1400" dirty="0">
                <a:solidFill>
                  <a:srgbClr val="434A52">
                    <a:lumMod val="50000"/>
                  </a:srgbClr>
                </a:solidFill>
              </a:rPr>
              <a:t>Air</a:t>
            </a:r>
            <a:r>
              <a:rPr kumimoji="0" lang="en-US" sz="1400" b="0" i="0" u="none" strike="noStrike" kern="1200" cap="none" spc="0" normalizeH="0" baseline="0" noProof="0" dirty="0">
                <a:ln>
                  <a:noFill/>
                </a:ln>
                <a:solidFill>
                  <a:srgbClr val="434A52">
                    <a:lumMod val="50000"/>
                  </a:srgbClr>
                </a:solidFill>
                <a:effectLst/>
                <a:uLnTx/>
                <a:uFillTx/>
                <a:latin typeface="Arial"/>
                <a:ea typeface="+mn-ea"/>
                <a:cs typeface="Arial"/>
              </a:rPr>
              <a:t> detection alarm for meter removal </a:t>
            </a:r>
            <a:endParaRPr lang="en-US" sz="1400" b="1" dirty="0">
              <a:solidFill>
                <a:srgbClr val="D02124"/>
              </a:solidFill>
            </a:endParaRPr>
          </a:p>
          <a:p>
            <a:pPr marL="0" lvl="0" indent="0" defTabSz="455967">
              <a:buNone/>
              <a:defRPr/>
            </a:pPr>
            <a:r>
              <a:rPr lang="en-US" sz="1400" dirty="0">
                <a:solidFill>
                  <a:srgbClr val="434A52">
                    <a:lumMod val="50000"/>
                  </a:srgbClr>
                </a:solidFill>
              </a:rPr>
              <a:t> - Reverse flow alarm (network only)</a:t>
            </a:r>
            <a:endParaRPr kumimoji="0" lang="en-US" sz="1400" b="0" i="0" u="none" strike="noStrike" kern="1200" cap="none" spc="0" normalizeH="0" baseline="0" noProof="0" dirty="0">
              <a:ln>
                <a:noFill/>
              </a:ln>
              <a:solidFill>
                <a:srgbClr val="434A52">
                  <a:lumMod val="50000"/>
                </a:srgbClr>
              </a:solidFill>
              <a:effectLst/>
              <a:uLnTx/>
              <a:uFillTx/>
              <a:latin typeface="Arial"/>
              <a:ea typeface="+mn-ea"/>
              <a:cs typeface="Arial"/>
            </a:endParaRPr>
          </a:p>
          <a:p>
            <a:pPr marL="0" marR="0" lvl="0" indent="0" algn="l" defTabSz="455967" rtl="0" eaLnBrk="1" fontAlgn="auto" latinLnBrk="0" hangingPunct="1">
              <a:lnSpc>
                <a:spcPct val="100000"/>
              </a:lnSpc>
              <a:spcBef>
                <a:spcPct val="20000"/>
              </a:spcBef>
              <a:spcAft>
                <a:spcPts val="0"/>
              </a:spcAft>
              <a:buClr>
                <a:srgbClr val="D02124"/>
              </a:buClr>
              <a:buSzTx/>
              <a:buFont typeface="Lucida Grande"/>
              <a:buNone/>
              <a:tabLst/>
              <a:defRPr/>
            </a:pPr>
            <a:r>
              <a:rPr kumimoji="0" lang="en-US" sz="1400" b="1" i="0" u="none" strike="noStrike" kern="1200" cap="none" spc="0" normalizeH="0" baseline="0" noProof="0" dirty="0">
                <a:ln>
                  <a:noFill/>
                </a:ln>
                <a:solidFill>
                  <a:srgbClr val="D02124"/>
                </a:solidFill>
                <a:effectLst/>
                <a:uLnTx/>
                <a:uFillTx/>
                <a:latin typeface="Arial"/>
                <a:ea typeface="+mn-ea"/>
                <a:cs typeface="Arial"/>
              </a:rPr>
              <a:t>Lightweight &amp; Compact 4.5# Meter</a:t>
            </a:r>
          </a:p>
          <a:p>
            <a:pPr marL="0" marR="0" lvl="0" indent="0" algn="l" defTabSz="455967" rtl="0" eaLnBrk="1" fontAlgn="auto" latinLnBrk="0" hangingPunct="1">
              <a:lnSpc>
                <a:spcPct val="100000"/>
              </a:lnSpc>
              <a:spcBef>
                <a:spcPct val="20000"/>
              </a:spcBef>
              <a:spcAft>
                <a:spcPts val="0"/>
              </a:spcAft>
              <a:buClr>
                <a:srgbClr val="D02124"/>
              </a:buClr>
              <a:buSzTx/>
              <a:buFont typeface="Lucida Grande"/>
              <a:buNone/>
              <a:tabLst/>
              <a:defRPr/>
            </a:pPr>
            <a:r>
              <a:rPr kumimoji="0" lang="en-US" sz="1400" b="0" i="0" u="none" strike="noStrike" kern="1200" cap="none" spc="0" normalizeH="0" baseline="0" noProof="0" dirty="0">
                <a:ln>
                  <a:noFill/>
                </a:ln>
                <a:solidFill>
                  <a:srgbClr val="434A52">
                    <a:lumMod val="50000"/>
                  </a:srgbClr>
                </a:solidFill>
                <a:effectLst/>
                <a:uLnTx/>
                <a:uFillTx/>
                <a:latin typeface="Arial"/>
                <a:ea typeface="+mn-ea"/>
                <a:cs typeface="Arial"/>
              </a:rPr>
              <a:t> - Improve your customer satisfaction with aesthetics</a:t>
            </a:r>
            <a:endParaRPr kumimoji="0" lang="en-US" sz="1400" b="1" i="0" u="none" strike="noStrike" kern="1200" cap="none" spc="0" normalizeH="0" baseline="0" noProof="0" dirty="0">
              <a:ln>
                <a:noFill/>
              </a:ln>
              <a:solidFill>
                <a:srgbClr val="D02124"/>
              </a:solidFill>
              <a:effectLst/>
              <a:uLnTx/>
              <a:uFillTx/>
              <a:latin typeface="Arial"/>
              <a:ea typeface="+mn-ea"/>
              <a:cs typeface="Arial"/>
            </a:endParaRPr>
          </a:p>
          <a:p>
            <a:pPr marL="0" marR="0" lvl="0" indent="0" algn="l" defTabSz="455967" rtl="0" eaLnBrk="1" fontAlgn="auto" latinLnBrk="0" hangingPunct="1">
              <a:lnSpc>
                <a:spcPct val="100000"/>
              </a:lnSpc>
              <a:spcBef>
                <a:spcPct val="20000"/>
              </a:spcBef>
              <a:spcAft>
                <a:spcPts val="0"/>
              </a:spcAft>
              <a:buClr>
                <a:srgbClr val="D02124"/>
              </a:buClr>
              <a:buSzTx/>
              <a:buFont typeface="Lucida Grande"/>
              <a:buNone/>
              <a:tabLst/>
              <a:defRPr/>
            </a:pPr>
            <a:r>
              <a:rPr kumimoji="0" lang="en-US" sz="1400" b="0" i="0" u="none" strike="noStrike" kern="1200" cap="none" spc="0" normalizeH="0" baseline="0" noProof="0" dirty="0">
                <a:ln>
                  <a:noFill/>
                </a:ln>
                <a:solidFill>
                  <a:srgbClr val="434A52">
                    <a:lumMod val="50000"/>
                  </a:srgbClr>
                </a:solidFill>
                <a:effectLst/>
                <a:uLnTx/>
                <a:uFillTx/>
                <a:latin typeface="Arial"/>
                <a:ea typeface="+mn-ea"/>
                <a:cs typeface="Arial"/>
              </a:rPr>
              <a:t> - Reduce worker injuries such as soft tissue</a:t>
            </a:r>
            <a:endParaRPr kumimoji="0" lang="en-US" sz="1400" b="1" i="0" u="none" strike="noStrike" kern="1200" cap="none" spc="0" normalizeH="0" baseline="0" noProof="0" dirty="0">
              <a:ln>
                <a:noFill/>
              </a:ln>
              <a:solidFill>
                <a:srgbClr val="D02124"/>
              </a:solidFill>
              <a:effectLst/>
              <a:uLnTx/>
              <a:uFillTx/>
              <a:latin typeface="Arial"/>
              <a:ea typeface="+mn-ea"/>
              <a:cs typeface="Arial"/>
            </a:endParaRPr>
          </a:p>
          <a:p>
            <a:pPr marL="0" marR="0" lvl="0" indent="0" algn="l" defTabSz="455967" rtl="0" eaLnBrk="1" fontAlgn="auto" latinLnBrk="0" hangingPunct="1">
              <a:lnSpc>
                <a:spcPct val="100000"/>
              </a:lnSpc>
              <a:spcBef>
                <a:spcPct val="20000"/>
              </a:spcBef>
              <a:spcAft>
                <a:spcPts val="0"/>
              </a:spcAft>
              <a:buClr>
                <a:srgbClr val="D02124"/>
              </a:buClr>
              <a:buSzTx/>
              <a:buFont typeface="Lucida Grande"/>
              <a:buNone/>
              <a:tabLst/>
              <a:defRPr/>
            </a:pPr>
            <a:r>
              <a:rPr kumimoji="0" lang="en-US" sz="1400" b="0" i="0" u="none" strike="noStrike" kern="1200" cap="none" spc="0" normalizeH="0" baseline="0" noProof="0" dirty="0">
                <a:ln>
                  <a:noFill/>
                </a:ln>
                <a:solidFill>
                  <a:srgbClr val="434A52">
                    <a:lumMod val="50000"/>
                  </a:srgbClr>
                </a:solidFill>
                <a:effectLst/>
                <a:uLnTx/>
                <a:uFillTx/>
                <a:latin typeface="Arial"/>
                <a:ea typeface="+mn-ea"/>
                <a:cs typeface="Arial"/>
              </a:rPr>
              <a:t> - </a:t>
            </a:r>
            <a:r>
              <a:rPr kumimoji="0" lang="en-US" sz="1400" b="0" i="0" u="none" strike="noStrike" kern="1200" cap="none" spc="0" normalizeH="0" baseline="0" noProof="0" dirty="0">
                <a:ln>
                  <a:noFill/>
                </a:ln>
                <a:solidFill>
                  <a:srgbClr val="141619"/>
                </a:solidFill>
                <a:effectLst/>
                <a:uLnTx/>
                <a:uFillTx/>
                <a:latin typeface="Arial"/>
                <a:ea typeface="+mn-ea"/>
                <a:cs typeface="Arial"/>
              </a:rPr>
              <a:t>Reduced footprint for warehousing &amp; shipping</a:t>
            </a:r>
          </a:p>
          <a:p>
            <a:pPr marL="0" marR="0" lvl="0" indent="0" algn="l" defTabSz="455967" rtl="0" eaLnBrk="1" fontAlgn="auto" latinLnBrk="0" hangingPunct="1">
              <a:lnSpc>
                <a:spcPct val="100000"/>
              </a:lnSpc>
              <a:spcBef>
                <a:spcPct val="20000"/>
              </a:spcBef>
              <a:spcAft>
                <a:spcPts val="0"/>
              </a:spcAft>
              <a:buClr>
                <a:srgbClr val="D02124"/>
              </a:buClr>
              <a:buSzTx/>
              <a:buFont typeface="Lucida Grande"/>
              <a:buNone/>
              <a:tabLst/>
              <a:defRPr/>
            </a:pPr>
            <a:r>
              <a:rPr kumimoji="0" lang="en-US" sz="1400" b="1" i="0" u="none" strike="noStrike" kern="1200" cap="none" spc="0" normalizeH="0" baseline="0" noProof="0" dirty="0">
                <a:ln>
                  <a:noFill/>
                </a:ln>
                <a:solidFill>
                  <a:srgbClr val="D02124"/>
                </a:solidFill>
                <a:effectLst/>
                <a:uLnTx/>
                <a:uFillTx/>
                <a:latin typeface="Arial"/>
                <a:ea typeface="+mn-ea"/>
                <a:cs typeface="Arial"/>
              </a:rPr>
              <a:t>Primary &amp; Secondary Index</a:t>
            </a:r>
          </a:p>
          <a:p>
            <a:pPr marL="0" marR="0" lvl="0" indent="0" algn="l" defTabSz="455967" rtl="0" eaLnBrk="1" fontAlgn="auto" latinLnBrk="0" hangingPunct="1">
              <a:lnSpc>
                <a:spcPct val="100000"/>
              </a:lnSpc>
              <a:spcBef>
                <a:spcPct val="20000"/>
              </a:spcBef>
              <a:spcAft>
                <a:spcPts val="0"/>
              </a:spcAft>
              <a:buClr>
                <a:srgbClr val="D02124"/>
              </a:buClr>
              <a:buSzTx/>
              <a:buFont typeface="Lucida Grande"/>
              <a:buNone/>
              <a:tabLst/>
              <a:defRPr/>
            </a:pPr>
            <a:r>
              <a:rPr kumimoji="0" lang="en-US" sz="1400" b="0" i="0" u="none" strike="noStrike" kern="1200" cap="none" spc="0" normalizeH="0" baseline="0" noProof="0" dirty="0">
                <a:ln>
                  <a:noFill/>
                </a:ln>
                <a:solidFill>
                  <a:srgbClr val="434A52">
                    <a:lumMod val="50000"/>
                  </a:srgbClr>
                </a:solidFill>
                <a:effectLst/>
                <a:uLnTx/>
                <a:uFillTx/>
                <a:latin typeface="Arial"/>
                <a:ea typeface="+mn-ea"/>
                <a:cs typeface="Arial"/>
              </a:rPr>
              <a:t> - Allows for comparison between TC and NTC volume</a:t>
            </a:r>
          </a:p>
          <a:p>
            <a:pPr marL="0" marR="0" lvl="0" indent="0" algn="l" defTabSz="455967" rtl="0" eaLnBrk="1" fontAlgn="auto" latinLnBrk="0" hangingPunct="1">
              <a:lnSpc>
                <a:spcPct val="100000"/>
              </a:lnSpc>
              <a:spcBef>
                <a:spcPct val="20000"/>
              </a:spcBef>
              <a:spcAft>
                <a:spcPts val="0"/>
              </a:spcAft>
              <a:buClr>
                <a:srgbClr val="D02124"/>
              </a:buClr>
              <a:buSzTx/>
              <a:buFont typeface="Lucida Grande"/>
              <a:buNone/>
              <a:tabLst/>
              <a:defRPr/>
            </a:pPr>
            <a:r>
              <a:rPr kumimoji="0" lang="en-US" sz="1400" b="0" i="0" u="none" strike="noStrike" kern="1200" cap="none" spc="0" normalizeH="0" baseline="0" noProof="0" dirty="0">
                <a:ln>
                  <a:noFill/>
                </a:ln>
                <a:solidFill>
                  <a:srgbClr val="434A52">
                    <a:lumMod val="50000"/>
                  </a:srgbClr>
                </a:solidFill>
                <a:effectLst/>
                <a:uLnTx/>
                <a:uFillTx/>
                <a:latin typeface="Arial"/>
                <a:ea typeface="+mn-ea"/>
                <a:cs typeface="Arial"/>
              </a:rPr>
              <a:t> - Secondary Index available via FDM </a:t>
            </a:r>
            <a:r>
              <a:rPr lang="en-US" sz="1400" dirty="0">
                <a:solidFill>
                  <a:srgbClr val="434A52">
                    <a:lumMod val="50000"/>
                  </a:srgbClr>
                </a:solidFill>
              </a:rPr>
              <a:t>and</a:t>
            </a:r>
            <a:r>
              <a:rPr kumimoji="0" lang="en-US" sz="1400" b="0" i="0" u="none" strike="noStrike" kern="1200" cap="none" spc="0" normalizeH="0" baseline="0" noProof="0" dirty="0">
                <a:ln>
                  <a:noFill/>
                </a:ln>
                <a:solidFill>
                  <a:srgbClr val="434A52">
                    <a:lumMod val="50000"/>
                  </a:srgbClr>
                </a:solidFill>
                <a:effectLst/>
                <a:uLnTx/>
                <a:uFillTx/>
                <a:latin typeface="Arial"/>
                <a:ea typeface="+mn-ea"/>
                <a:cs typeface="Arial"/>
              </a:rPr>
              <a:t> network</a:t>
            </a:r>
          </a:p>
          <a:p>
            <a:pPr marL="0" marR="0" lvl="0" indent="0" algn="l" defTabSz="455967" rtl="0" eaLnBrk="1" fontAlgn="auto" latinLnBrk="0" hangingPunct="1">
              <a:lnSpc>
                <a:spcPct val="100000"/>
              </a:lnSpc>
              <a:spcBef>
                <a:spcPct val="20000"/>
              </a:spcBef>
              <a:spcAft>
                <a:spcPts val="0"/>
              </a:spcAft>
              <a:buClr>
                <a:srgbClr val="D02124"/>
              </a:buClr>
              <a:buSzTx/>
              <a:buFont typeface="Lucida Grande"/>
              <a:buNone/>
              <a:tabLst/>
              <a:defRPr/>
            </a:pPr>
            <a:r>
              <a:rPr kumimoji="0" lang="en-US" sz="1400" b="1" i="0" u="none" strike="noStrike" kern="1200" cap="none" spc="0" normalizeH="0" baseline="0" noProof="0" dirty="0">
                <a:ln>
                  <a:noFill/>
                </a:ln>
                <a:solidFill>
                  <a:srgbClr val="D02124"/>
                </a:solidFill>
                <a:effectLst/>
                <a:uLnTx/>
                <a:uFillTx/>
                <a:latin typeface="Arial"/>
                <a:ea typeface="+mn-ea"/>
                <a:cs typeface="Arial"/>
              </a:rPr>
              <a:t>Flowing Gas Temperature</a:t>
            </a:r>
          </a:p>
          <a:p>
            <a:pPr marL="0" marR="0" lvl="0" indent="0" algn="l" defTabSz="455967" rtl="0" eaLnBrk="1" fontAlgn="auto" latinLnBrk="0" hangingPunct="1">
              <a:lnSpc>
                <a:spcPct val="100000"/>
              </a:lnSpc>
              <a:spcBef>
                <a:spcPct val="20000"/>
              </a:spcBef>
              <a:spcAft>
                <a:spcPts val="0"/>
              </a:spcAft>
              <a:buClr>
                <a:srgbClr val="D02124"/>
              </a:buClr>
              <a:buSzTx/>
              <a:buFont typeface="Lucida Grande"/>
              <a:buNone/>
              <a:tabLst/>
              <a:defRPr/>
            </a:pPr>
            <a:r>
              <a:rPr kumimoji="0" lang="en-US" sz="1400" b="0" i="0" u="none" strike="noStrike" kern="1200" cap="none" spc="0" normalizeH="0" baseline="0" noProof="0" dirty="0">
                <a:ln>
                  <a:noFill/>
                </a:ln>
                <a:solidFill>
                  <a:srgbClr val="434A52">
                    <a:lumMod val="50000"/>
                  </a:srgbClr>
                </a:solidFill>
                <a:effectLst/>
                <a:uLnTx/>
                <a:uFillTx/>
                <a:latin typeface="Arial"/>
                <a:ea typeface="+mn-ea"/>
                <a:cs typeface="Arial"/>
              </a:rPr>
              <a:t> - Available via LCD, FDM </a:t>
            </a:r>
            <a:r>
              <a:rPr lang="en-US" sz="1400" dirty="0">
                <a:solidFill>
                  <a:srgbClr val="434A52">
                    <a:lumMod val="50000"/>
                  </a:srgbClr>
                </a:solidFill>
              </a:rPr>
              <a:t>and</a:t>
            </a:r>
            <a:r>
              <a:rPr kumimoji="0" lang="en-US" sz="1400" b="0" i="0" u="none" strike="noStrike" kern="1200" cap="none" spc="0" normalizeH="0" baseline="0" noProof="0" dirty="0">
                <a:ln>
                  <a:noFill/>
                </a:ln>
                <a:solidFill>
                  <a:srgbClr val="434A52">
                    <a:lumMod val="50000"/>
                  </a:srgbClr>
                </a:solidFill>
                <a:effectLst/>
                <a:uLnTx/>
                <a:uFillTx/>
                <a:latin typeface="Arial"/>
                <a:ea typeface="+mn-ea"/>
                <a:cs typeface="Arial"/>
              </a:rPr>
              <a:t> network</a:t>
            </a:r>
            <a:endParaRPr lang="en-US" sz="1400" dirty="0">
              <a:solidFill>
                <a:srgbClr val="434A52">
                  <a:lumMod val="50000"/>
                </a:srgbClr>
              </a:solidFill>
            </a:endParaRPr>
          </a:p>
          <a:p>
            <a:pPr marL="0" lvl="0" indent="0" defTabSz="455967">
              <a:buNone/>
              <a:defRPr/>
            </a:pPr>
            <a:r>
              <a:rPr lang="en-US" sz="1400" b="1" dirty="0">
                <a:solidFill>
                  <a:srgbClr val="D02124"/>
                </a:solidFill>
              </a:rPr>
              <a:t>Quiet Class 1 Meter</a:t>
            </a:r>
          </a:p>
          <a:p>
            <a:pPr marL="0" lvl="0" indent="0" defTabSz="455967">
              <a:buNone/>
              <a:defRPr/>
            </a:pPr>
            <a:r>
              <a:rPr lang="en-US" sz="1400" dirty="0">
                <a:solidFill>
                  <a:srgbClr val="434A52">
                    <a:lumMod val="50000"/>
                  </a:srgbClr>
                </a:solidFill>
              </a:rPr>
              <a:t> - Improved accuracy and customer satisfaction due to no moving parts</a:t>
            </a:r>
          </a:p>
          <a:p>
            <a:pPr marL="0" marR="0" lvl="0" indent="0" algn="l" defTabSz="455967" rtl="0" eaLnBrk="1" fontAlgn="auto" latinLnBrk="0" hangingPunct="1">
              <a:lnSpc>
                <a:spcPct val="100000"/>
              </a:lnSpc>
              <a:spcBef>
                <a:spcPct val="20000"/>
              </a:spcBef>
              <a:spcAft>
                <a:spcPts val="0"/>
              </a:spcAft>
              <a:buClr>
                <a:srgbClr val="D02124"/>
              </a:buClr>
              <a:buSzTx/>
              <a:buFont typeface="Lucida Grande"/>
              <a:buNone/>
              <a:tabLst/>
              <a:defRPr/>
            </a:pPr>
            <a:endParaRPr kumimoji="0" lang="en-US" sz="1400" b="0" i="0" u="none" strike="noStrike" kern="1200" cap="none" spc="0" normalizeH="0" baseline="0" noProof="0" dirty="0">
              <a:ln>
                <a:noFill/>
              </a:ln>
              <a:solidFill>
                <a:srgbClr val="434A52">
                  <a:lumMod val="50000"/>
                </a:srgbClr>
              </a:solidFill>
              <a:effectLst/>
              <a:uLnTx/>
              <a:uFillTx/>
              <a:latin typeface="Arial"/>
              <a:ea typeface="+mn-ea"/>
              <a:cs typeface="Arial"/>
            </a:endParaRPr>
          </a:p>
          <a:p>
            <a:pPr marL="0" marR="0" lvl="0" indent="0" algn="l" defTabSz="455967" rtl="0" eaLnBrk="1" fontAlgn="auto" latinLnBrk="0" hangingPunct="1">
              <a:lnSpc>
                <a:spcPct val="100000"/>
              </a:lnSpc>
              <a:spcBef>
                <a:spcPct val="20000"/>
              </a:spcBef>
              <a:spcAft>
                <a:spcPts val="0"/>
              </a:spcAft>
              <a:buClr>
                <a:srgbClr val="D02124"/>
              </a:buClr>
              <a:buSzTx/>
              <a:buFont typeface="Lucida Grande"/>
              <a:buNone/>
              <a:tabLst/>
              <a:defRPr/>
            </a:pPr>
            <a:endParaRPr kumimoji="0" lang="en-US" sz="1400" b="0" i="0" u="none" strike="noStrike" kern="1200" cap="none" spc="0" normalizeH="0" baseline="0" noProof="0" dirty="0">
              <a:ln>
                <a:noFill/>
              </a:ln>
              <a:solidFill>
                <a:srgbClr val="434A52">
                  <a:lumMod val="50000"/>
                </a:srgbClr>
              </a:solidFill>
              <a:effectLst/>
              <a:uLnTx/>
              <a:uFillTx/>
              <a:latin typeface="Arial"/>
              <a:ea typeface="+mn-ea"/>
              <a:cs typeface="Arial"/>
            </a:endParaRPr>
          </a:p>
          <a:p>
            <a:pPr marL="0" marR="0" lvl="0" indent="0" algn="l" defTabSz="455967" rtl="0" eaLnBrk="1" fontAlgn="auto" latinLnBrk="0" hangingPunct="1">
              <a:lnSpc>
                <a:spcPct val="100000"/>
              </a:lnSpc>
              <a:spcBef>
                <a:spcPct val="20000"/>
              </a:spcBef>
              <a:spcAft>
                <a:spcPts val="0"/>
              </a:spcAft>
              <a:buClr>
                <a:srgbClr val="D02124"/>
              </a:buClr>
              <a:buSzTx/>
              <a:buFont typeface="Lucida Grande"/>
              <a:buNone/>
              <a:tabLst/>
              <a:defRPr/>
            </a:pPr>
            <a:endParaRPr kumimoji="0" lang="en-US" sz="1049" b="0" i="0" u="none" strike="noStrike" kern="1200" cap="none" spc="0" normalizeH="0" baseline="0" noProof="0" dirty="0">
              <a:ln>
                <a:noFill/>
              </a:ln>
              <a:solidFill>
                <a:srgbClr val="434A52"/>
              </a:solidFill>
              <a:effectLst/>
              <a:uLnTx/>
              <a:uFillTx/>
              <a:latin typeface="Arial"/>
              <a:ea typeface="+mn-ea"/>
              <a:cs typeface="Arial"/>
            </a:endParaRPr>
          </a:p>
          <a:p>
            <a:pPr marL="0" marR="0" lvl="0" indent="0" algn="l" defTabSz="455967" rtl="0" eaLnBrk="1" fontAlgn="auto" latinLnBrk="0" hangingPunct="1">
              <a:lnSpc>
                <a:spcPct val="100000"/>
              </a:lnSpc>
              <a:spcBef>
                <a:spcPct val="20000"/>
              </a:spcBef>
              <a:spcAft>
                <a:spcPts val="0"/>
              </a:spcAft>
              <a:buClr>
                <a:srgbClr val="D02124"/>
              </a:buClr>
              <a:buSzTx/>
              <a:buFont typeface="Lucida Grande"/>
              <a:buNone/>
              <a:tabLst/>
              <a:defRPr/>
            </a:pPr>
            <a:endParaRPr kumimoji="0" lang="en-US" sz="1199" b="0" i="0" u="none" strike="noStrike" kern="1200" cap="none" spc="0" normalizeH="0" baseline="0" noProof="0" dirty="0">
              <a:ln>
                <a:noFill/>
              </a:ln>
              <a:solidFill>
                <a:srgbClr val="434A52"/>
              </a:solidFill>
              <a:effectLst/>
              <a:uLnTx/>
              <a:uFillTx/>
              <a:latin typeface="Arial"/>
              <a:ea typeface="+mn-ea"/>
              <a:cs typeface="Arial"/>
            </a:endParaRPr>
          </a:p>
        </p:txBody>
      </p:sp>
      <p:pic>
        <p:nvPicPr>
          <p:cNvPr id="4" name="Picture 3">
            <a:extLst>
              <a:ext uri="{FF2B5EF4-FFF2-40B4-BE49-F238E27FC236}">
                <a16:creationId xmlns:a16="http://schemas.microsoft.com/office/drawing/2014/main" id="{E3055510-2B01-4F0B-8D14-5E085BC63A00}"/>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145486" y="913545"/>
            <a:ext cx="2778664" cy="3764791"/>
          </a:xfrm>
          <a:prstGeom prst="rect">
            <a:avLst/>
          </a:prstGeom>
        </p:spPr>
      </p:pic>
    </p:spTree>
    <p:extLst>
      <p:ext uri="{BB962C8B-B14F-4D97-AF65-F5344CB8AC3E}">
        <p14:creationId xmlns:p14="http://schemas.microsoft.com/office/powerpoint/2010/main" val="597971639"/>
      </p:ext>
    </p:extLst>
  </p:cSld>
  <p:clrMapOvr>
    <a:overrideClrMapping bg1="lt1" tx1="dk1" bg2="lt2" tx2="dk2" accent1="accent1" accent2="accent2" accent3="accent3" accent4="accent4" accent5="accent5" accent6="accent6" hlink="hlink" folHlink="folHlink"/>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2C3D0F-2726-420F-9F14-517DCDEF25FF}"/>
              </a:ext>
            </a:extLst>
          </p:cNvPr>
          <p:cNvSpPr>
            <a:spLocks noGrp="1"/>
          </p:cNvSpPr>
          <p:nvPr>
            <p:ph type="title"/>
          </p:nvPr>
        </p:nvSpPr>
        <p:spPr>
          <a:prstGeom prst="rect">
            <a:avLst/>
          </a:prstGeom>
        </p:spPr>
        <p:txBody>
          <a:bodyPr/>
          <a:lstStyle/>
          <a:p>
            <a:r>
              <a:rPr lang="en-US" dirty="0"/>
              <a:t>Smart Meters can prevent this!</a:t>
            </a:r>
          </a:p>
        </p:txBody>
      </p:sp>
      <p:sp>
        <p:nvSpPr>
          <p:cNvPr id="8" name="Text Placeholder 4">
            <a:extLst>
              <a:ext uri="{FF2B5EF4-FFF2-40B4-BE49-F238E27FC236}">
                <a16:creationId xmlns:a16="http://schemas.microsoft.com/office/drawing/2014/main" id="{ACB6D893-6B31-4B83-99E0-380E10431A4A}"/>
              </a:ext>
            </a:extLst>
          </p:cNvPr>
          <p:cNvSpPr txBox="1">
            <a:spLocks/>
          </p:cNvSpPr>
          <p:nvPr/>
        </p:nvSpPr>
        <p:spPr>
          <a:xfrm>
            <a:off x="413425" y="956376"/>
            <a:ext cx="2846242" cy="3129696"/>
          </a:xfrm>
          <a:prstGeom prst="rect">
            <a:avLst/>
          </a:prstGeom>
        </p:spPr>
        <p:txBody>
          <a:bodyPr/>
          <a:lstStyle>
            <a:lvl1pPr marL="171296" indent="-171296" algn="l" defTabSz="456789" rtl="0" eaLnBrk="1" latinLnBrk="0" hangingPunct="1">
              <a:spcBef>
                <a:spcPct val="20000"/>
              </a:spcBef>
              <a:buClr>
                <a:srgbClr val="D02124"/>
              </a:buClr>
              <a:buFont typeface="Lucida Grande"/>
              <a:buChar char="»"/>
              <a:defRPr sz="1599" kern="1200">
                <a:solidFill>
                  <a:schemeClr val="tx1"/>
                </a:solidFill>
                <a:latin typeface="Arial"/>
                <a:ea typeface="+mn-ea"/>
                <a:cs typeface="Arial"/>
              </a:defRPr>
            </a:lvl1pPr>
            <a:lvl2pPr marL="285493" indent="-114197" algn="l" defTabSz="456789" rtl="0" eaLnBrk="1" latinLnBrk="0" hangingPunct="1">
              <a:spcBef>
                <a:spcPct val="20000"/>
              </a:spcBef>
              <a:buClr>
                <a:srgbClr val="D02124"/>
              </a:buClr>
              <a:buSzPct val="100000"/>
              <a:buFont typeface="Arial"/>
              <a:buChar char="•"/>
              <a:defRPr sz="1599" kern="1200">
                <a:solidFill>
                  <a:schemeClr val="tx1"/>
                </a:solidFill>
                <a:latin typeface="Arial"/>
                <a:ea typeface="+mn-ea"/>
                <a:cs typeface="Arial"/>
              </a:defRPr>
            </a:lvl2pPr>
            <a:lvl3pPr marL="456789" indent="-171296" algn="l" defTabSz="456789" rtl="0" eaLnBrk="1" latinLnBrk="0" hangingPunct="1">
              <a:spcBef>
                <a:spcPct val="20000"/>
              </a:spcBef>
              <a:buClr>
                <a:srgbClr val="D02124"/>
              </a:buClr>
              <a:buSzPct val="80000"/>
              <a:buFont typeface="Lucida Grande"/>
              <a:buChar char="-"/>
              <a:defRPr sz="1599" kern="1200" baseline="0">
                <a:solidFill>
                  <a:schemeClr val="tx1"/>
                </a:solidFill>
                <a:latin typeface="Arial"/>
                <a:ea typeface="+mn-ea"/>
                <a:cs typeface="+mn-cs"/>
              </a:defRPr>
            </a:lvl3pPr>
            <a:lvl4pPr marL="1598760" indent="-228394" algn="l" defTabSz="456789" rtl="0" eaLnBrk="1" latinLnBrk="0" hangingPunct="1">
              <a:spcBef>
                <a:spcPct val="20000"/>
              </a:spcBef>
              <a:buFont typeface="Arial"/>
              <a:buChar char="–"/>
              <a:defRPr sz="1998" kern="1200">
                <a:solidFill>
                  <a:schemeClr val="tx1"/>
                </a:solidFill>
                <a:latin typeface="+mn-lt"/>
                <a:ea typeface="+mn-ea"/>
                <a:cs typeface="+mn-cs"/>
              </a:defRPr>
            </a:lvl4pPr>
            <a:lvl5pPr marL="2055548" indent="-228394" algn="l" defTabSz="456789" rtl="0" eaLnBrk="1" latinLnBrk="0" hangingPunct="1">
              <a:spcBef>
                <a:spcPct val="20000"/>
              </a:spcBef>
              <a:buFont typeface="Arial"/>
              <a:buChar char="»"/>
              <a:defRPr sz="1998" kern="1200">
                <a:solidFill>
                  <a:schemeClr val="tx1"/>
                </a:solidFill>
                <a:latin typeface="+mn-lt"/>
                <a:ea typeface="+mn-ea"/>
                <a:cs typeface="+mn-cs"/>
              </a:defRPr>
            </a:lvl5pPr>
            <a:lvl6pPr marL="2512337" indent="-228394" algn="l" defTabSz="456789" rtl="0" eaLnBrk="1" latinLnBrk="0" hangingPunct="1">
              <a:spcBef>
                <a:spcPct val="20000"/>
              </a:spcBef>
              <a:buFont typeface="Arial"/>
              <a:buChar char="•"/>
              <a:defRPr sz="1998" kern="1200">
                <a:solidFill>
                  <a:schemeClr val="tx1"/>
                </a:solidFill>
                <a:latin typeface="+mn-lt"/>
                <a:ea typeface="+mn-ea"/>
                <a:cs typeface="+mn-cs"/>
              </a:defRPr>
            </a:lvl6pPr>
            <a:lvl7pPr marL="2969125" indent="-228394" algn="l" defTabSz="456789" rtl="0" eaLnBrk="1" latinLnBrk="0" hangingPunct="1">
              <a:spcBef>
                <a:spcPct val="20000"/>
              </a:spcBef>
              <a:buFont typeface="Arial"/>
              <a:buChar char="•"/>
              <a:defRPr sz="1998" kern="1200">
                <a:solidFill>
                  <a:schemeClr val="tx1"/>
                </a:solidFill>
                <a:latin typeface="+mn-lt"/>
                <a:ea typeface="+mn-ea"/>
                <a:cs typeface="+mn-cs"/>
              </a:defRPr>
            </a:lvl7pPr>
            <a:lvl8pPr marL="3425914" indent="-228394" algn="l" defTabSz="456789" rtl="0" eaLnBrk="1" latinLnBrk="0" hangingPunct="1">
              <a:spcBef>
                <a:spcPct val="20000"/>
              </a:spcBef>
              <a:buFont typeface="Arial"/>
              <a:buChar char="•"/>
              <a:defRPr sz="1998" kern="1200">
                <a:solidFill>
                  <a:schemeClr val="tx1"/>
                </a:solidFill>
                <a:latin typeface="+mn-lt"/>
                <a:ea typeface="+mn-ea"/>
                <a:cs typeface="+mn-cs"/>
              </a:defRPr>
            </a:lvl8pPr>
            <a:lvl9pPr marL="3882702" indent="-228394" algn="l" defTabSz="456789" rtl="0" eaLnBrk="1" latinLnBrk="0" hangingPunct="1">
              <a:spcBef>
                <a:spcPct val="20000"/>
              </a:spcBef>
              <a:buFont typeface="Arial"/>
              <a:buChar char="•"/>
              <a:defRPr sz="1998" kern="1200">
                <a:solidFill>
                  <a:schemeClr val="tx1"/>
                </a:solidFill>
                <a:latin typeface="+mn-lt"/>
                <a:ea typeface="+mn-ea"/>
                <a:cs typeface="+mn-cs"/>
              </a:defRPr>
            </a:lvl9pPr>
          </a:lstStyle>
          <a:p>
            <a:r>
              <a:rPr lang="en-US" sz="1600" dirty="0"/>
              <a:t>April 15, 2010</a:t>
            </a:r>
          </a:p>
          <a:p>
            <a:r>
              <a:rPr lang="en-US" sz="1600" dirty="0"/>
              <a:t>Calhoun, GA</a:t>
            </a:r>
          </a:p>
          <a:p>
            <a:r>
              <a:rPr lang="en-US" sz="1600" dirty="0"/>
              <a:t>Nearly 60 homes damaged </a:t>
            </a:r>
          </a:p>
          <a:p>
            <a:r>
              <a:rPr lang="en-US" sz="1600" dirty="0"/>
              <a:t>7 hours of high flow peaking at 2,422 CFH</a:t>
            </a:r>
          </a:p>
          <a:p>
            <a:endParaRPr lang="en-US" sz="1600" dirty="0"/>
          </a:p>
          <a:p>
            <a:r>
              <a:rPr lang="en-US" sz="1600" dirty="0"/>
              <a:t>A smart meter would have shut off after ~15 seconds of seeing 500 CFH and explosion would not have occurred</a:t>
            </a:r>
          </a:p>
          <a:p>
            <a:endParaRPr lang="en-US" sz="1400" dirty="0"/>
          </a:p>
          <a:p>
            <a:pPr marL="0" indent="0">
              <a:buNone/>
            </a:pPr>
            <a:endParaRPr lang="en-US" sz="1599" dirty="0">
              <a:solidFill>
                <a:schemeClr val="bg1">
                  <a:lumMod val="50000"/>
                </a:schemeClr>
              </a:solidFill>
            </a:endParaRPr>
          </a:p>
        </p:txBody>
      </p:sp>
      <p:pic>
        <p:nvPicPr>
          <p:cNvPr id="6" name="Picture 5" descr="A river running through a forest&#10;&#10;Description automatically generated">
            <a:extLst>
              <a:ext uri="{FF2B5EF4-FFF2-40B4-BE49-F238E27FC236}">
                <a16:creationId xmlns:a16="http://schemas.microsoft.com/office/drawing/2014/main" id="{F06F210D-93AF-4FA2-BE5C-D4E334096656}"/>
              </a:ext>
            </a:extLst>
          </p:cNvPr>
          <p:cNvPicPr>
            <a:picLocks noChangeAspect="1"/>
          </p:cNvPicPr>
          <p:nvPr/>
        </p:nvPicPr>
        <p:blipFill>
          <a:blip r:embed="rId4"/>
          <a:stretch>
            <a:fillRect/>
          </a:stretch>
        </p:blipFill>
        <p:spPr>
          <a:xfrm>
            <a:off x="3606800" y="754994"/>
            <a:ext cx="5359400" cy="4019550"/>
          </a:xfrm>
          <a:prstGeom prst="rect">
            <a:avLst/>
          </a:prstGeom>
        </p:spPr>
      </p:pic>
    </p:spTree>
    <p:extLst>
      <p:ext uri="{BB962C8B-B14F-4D97-AF65-F5344CB8AC3E}">
        <p14:creationId xmlns:p14="http://schemas.microsoft.com/office/powerpoint/2010/main" val="3816406810"/>
      </p:ext>
    </p:extLst>
  </p:cSld>
  <p:clrMapOvr>
    <a:overrideClrMapping bg1="lt1" tx1="dk1" bg2="lt2" tx2="dk2" accent1="accent1" accent2="accent2" accent3="accent3" accent4="accent4" accent5="accent5" accent6="accent6" hlink="hlink" folHlink="folHlink"/>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tx1">
            <a:lumMod val="90000"/>
            <a:lumOff val="10000"/>
          </a:schemeClr>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49281975-9D84-49A6-9004-99AD3C0E9584}"/>
              </a:ext>
            </a:extLst>
          </p:cNvPr>
          <p:cNvSpPr txBox="1">
            <a:spLocks/>
          </p:cNvSpPr>
          <p:nvPr/>
        </p:nvSpPr>
        <p:spPr>
          <a:xfrm>
            <a:off x="365846" y="295471"/>
            <a:ext cx="8221987" cy="461238"/>
          </a:xfrm>
          <a:prstGeom prst="rect">
            <a:avLst/>
          </a:prstGeom>
        </p:spPr>
        <p:txBody>
          <a:bodyPr vert="horz" wrap="square" lIns="91353" tIns="45677" rIns="91353" bIns="45677">
            <a:spAutoFit/>
          </a:bodyPr>
          <a:lstStyle>
            <a:lvl1pPr algn="l" defTabSz="457189" rtl="0" eaLnBrk="1" latinLnBrk="0" hangingPunct="1">
              <a:spcBef>
                <a:spcPct val="0"/>
              </a:spcBef>
              <a:buNone/>
              <a:defRPr sz="2400" b="1" kern="1200">
                <a:solidFill>
                  <a:srgbClr val="FFFFFE"/>
                </a:solidFill>
                <a:latin typeface="Arial"/>
                <a:ea typeface="+mj-ea"/>
                <a:cs typeface="Arial"/>
              </a:defRPr>
            </a:lvl1pPr>
          </a:lstStyle>
          <a:p>
            <a:pPr>
              <a:defRPr/>
            </a:pPr>
            <a:r>
              <a:rPr lang="en-US" sz="2398" dirty="0"/>
              <a:t>A METER IS NO LONGER JUST A METER</a:t>
            </a:r>
          </a:p>
        </p:txBody>
      </p:sp>
      <p:sp>
        <p:nvSpPr>
          <p:cNvPr id="9" name="Text Placeholder 2">
            <a:extLst>
              <a:ext uri="{FF2B5EF4-FFF2-40B4-BE49-F238E27FC236}">
                <a16:creationId xmlns:a16="http://schemas.microsoft.com/office/drawing/2014/main" id="{CBB6DB9D-85E6-40EA-B7F0-582214CCC983}"/>
              </a:ext>
            </a:extLst>
          </p:cNvPr>
          <p:cNvSpPr txBox="1">
            <a:spLocks/>
          </p:cNvSpPr>
          <p:nvPr/>
        </p:nvSpPr>
        <p:spPr>
          <a:xfrm>
            <a:off x="365846" y="625911"/>
            <a:ext cx="8221987" cy="348604"/>
          </a:xfrm>
          <a:prstGeom prst="rect">
            <a:avLst/>
          </a:prstGeom>
        </p:spPr>
        <p:txBody>
          <a:bodyPr/>
          <a:lstStyle>
            <a:lvl1pPr marL="342892" indent="-342892" algn="l" defTabSz="457189" rtl="0" eaLnBrk="1" latinLnBrk="0" hangingPunct="1">
              <a:spcBef>
                <a:spcPct val="20000"/>
              </a:spcBef>
              <a:buFont typeface="Arial"/>
              <a:buChar char="•"/>
              <a:defRPr sz="3200" kern="1200">
                <a:solidFill>
                  <a:schemeClr val="tx1"/>
                </a:solidFill>
                <a:latin typeface="+mn-lt"/>
                <a:ea typeface="+mn-ea"/>
                <a:cs typeface="+mn-cs"/>
              </a:defRPr>
            </a:lvl1pPr>
            <a:lvl2pPr marL="742931" indent="-285743" algn="l" defTabSz="457189" rtl="0" eaLnBrk="1" latinLnBrk="0" hangingPunct="1">
              <a:spcBef>
                <a:spcPct val="20000"/>
              </a:spcBef>
              <a:buFont typeface="Arial"/>
              <a:buChar char="–"/>
              <a:defRPr sz="2800" kern="1200">
                <a:solidFill>
                  <a:schemeClr val="tx1"/>
                </a:solidFill>
                <a:latin typeface="+mn-lt"/>
                <a:ea typeface="+mn-ea"/>
                <a:cs typeface="+mn-cs"/>
              </a:defRPr>
            </a:lvl2pPr>
            <a:lvl3pPr marL="1142972" indent="-228594" algn="l" defTabSz="457189" rtl="0" eaLnBrk="1" latinLnBrk="0" hangingPunct="1">
              <a:spcBef>
                <a:spcPct val="20000"/>
              </a:spcBef>
              <a:buFont typeface="Arial"/>
              <a:buChar char="•"/>
              <a:defRPr sz="2400" kern="1200">
                <a:solidFill>
                  <a:schemeClr val="tx1"/>
                </a:solidFill>
                <a:latin typeface="+mn-lt"/>
                <a:ea typeface="+mn-ea"/>
                <a:cs typeface="+mn-cs"/>
              </a:defRPr>
            </a:lvl3pPr>
            <a:lvl4pPr marL="1600160" indent="-228594" algn="l" defTabSz="457189" rtl="0" eaLnBrk="1" latinLnBrk="0" hangingPunct="1">
              <a:spcBef>
                <a:spcPct val="20000"/>
              </a:spcBef>
              <a:buFont typeface="Arial"/>
              <a:buChar char="–"/>
              <a:defRPr sz="2000" kern="1200">
                <a:solidFill>
                  <a:schemeClr val="tx1"/>
                </a:solidFill>
                <a:latin typeface="+mn-lt"/>
                <a:ea typeface="+mn-ea"/>
                <a:cs typeface="+mn-cs"/>
              </a:defRPr>
            </a:lvl4pPr>
            <a:lvl5pPr marL="2057348" indent="-228594" algn="l" defTabSz="457189" rtl="0" eaLnBrk="1" latinLnBrk="0" hangingPunct="1">
              <a:spcBef>
                <a:spcPct val="20000"/>
              </a:spcBef>
              <a:buFont typeface="Arial"/>
              <a:buChar char="»"/>
              <a:defRPr sz="2000" kern="1200">
                <a:solidFill>
                  <a:schemeClr val="tx1"/>
                </a:solidFill>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defRPr/>
            </a:pPr>
            <a:r>
              <a:rPr lang="en-US" sz="1499" dirty="0">
                <a:solidFill>
                  <a:srgbClr val="141619">
                    <a:lumMod val="25000"/>
                    <a:lumOff val="75000"/>
                  </a:srgbClr>
                </a:solidFill>
                <a:latin typeface="Arial"/>
              </a:rPr>
              <a:t>Consider what Connected Metrology Delivers</a:t>
            </a:r>
          </a:p>
        </p:txBody>
      </p:sp>
      <p:grpSp>
        <p:nvGrpSpPr>
          <p:cNvPr id="34" name="Group 33"/>
          <p:cNvGrpSpPr/>
          <p:nvPr/>
        </p:nvGrpSpPr>
        <p:grpSpPr>
          <a:xfrm>
            <a:off x="568066" y="1628266"/>
            <a:ext cx="7518283" cy="2753751"/>
            <a:chOff x="564358" y="1516392"/>
            <a:chExt cx="7525244" cy="2756301"/>
          </a:xfrm>
        </p:grpSpPr>
        <p:sp>
          <p:nvSpPr>
            <p:cNvPr id="14" name="TextBox 13">
              <a:extLst>
                <a:ext uri="{FF2B5EF4-FFF2-40B4-BE49-F238E27FC236}">
                  <a16:creationId xmlns:a16="http://schemas.microsoft.com/office/drawing/2014/main" id="{869E5551-4EF9-4126-AEFD-74C44D7890B1}"/>
                </a:ext>
              </a:extLst>
            </p:cNvPr>
            <p:cNvSpPr txBox="1"/>
            <p:nvPr/>
          </p:nvSpPr>
          <p:spPr>
            <a:xfrm>
              <a:off x="912239" y="1516392"/>
              <a:ext cx="2149231" cy="261610"/>
            </a:xfrm>
            <a:prstGeom prst="rect">
              <a:avLst/>
            </a:prstGeom>
            <a:noFill/>
          </p:spPr>
          <p:txBody>
            <a:bodyPr wrap="square" rtlCol="0">
              <a:spAutoFit/>
            </a:bodyPr>
            <a:lstStyle/>
            <a:p>
              <a:pPr algn="ctr" defTabSz="456778">
                <a:defRPr/>
              </a:pPr>
              <a:r>
                <a:rPr lang="en-US" sz="1099" b="1" dirty="0">
                  <a:solidFill>
                    <a:srgbClr val="141619">
                      <a:lumMod val="25000"/>
                      <a:lumOff val="75000"/>
                    </a:srgbClr>
                  </a:solidFill>
                  <a:latin typeface="Arial"/>
                </a:rPr>
                <a:t>Consumer Safety</a:t>
              </a:r>
            </a:p>
          </p:txBody>
        </p:sp>
        <p:sp>
          <p:nvSpPr>
            <p:cNvPr id="15" name="TextBox 14">
              <a:extLst>
                <a:ext uri="{FF2B5EF4-FFF2-40B4-BE49-F238E27FC236}">
                  <a16:creationId xmlns:a16="http://schemas.microsoft.com/office/drawing/2014/main" id="{63B7AD48-D0D7-478F-9A4A-33329CBD86D1}"/>
                </a:ext>
              </a:extLst>
            </p:cNvPr>
            <p:cNvSpPr txBox="1"/>
            <p:nvPr/>
          </p:nvSpPr>
          <p:spPr>
            <a:xfrm>
              <a:off x="5592114" y="1516392"/>
              <a:ext cx="2149231" cy="261610"/>
            </a:xfrm>
            <a:prstGeom prst="rect">
              <a:avLst/>
            </a:prstGeom>
            <a:noFill/>
          </p:spPr>
          <p:txBody>
            <a:bodyPr wrap="square" rtlCol="0">
              <a:spAutoFit/>
            </a:bodyPr>
            <a:lstStyle/>
            <a:p>
              <a:pPr algn="ctr" defTabSz="456778">
                <a:defRPr/>
              </a:pPr>
              <a:r>
                <a:rPr lang="en-US" sz="1099" b="1" dirty="0">
                  <a:solidFill>
                    <a:srgbClr val="141619">
                      <a:lumMod val="25000"/>
                      <a:lumOff val="75000"/>
                    </a:srgbClr>
                  </a:solidFill>
                  <a:latin typeface="Arial"/>
                </a:rPr>
                <a:t>Workforce Protection</a:t>
              </a:r>
            </a:p>
          </p:txBody>
        </p:sp>
        <p:sp>
          <p:nvSpPr>
            <p:cNvPr id="16" name="TextBox 15">
              <a:extLst>
                <a:ext uri="{FF2B5EF4-FFF2-40B4-BE49-F238E27FC236}">
                  <a16:creationId xmlns:a16="http://schemas.microsoft.com/office/drawing/2014/main" id="{DC40E829-8022-41B2-91AA-D20779E7B6DA}"/>
                </a:ext>
              </a:extLst>
            </p:cNvPr>
            <p:cNvSpPr txBox="1"/>
            <p:nvPr/>
          </p:nvSpPr>
          <p:spPr>
            <a:xfrm>
              <a:off x="6283582" y="2731360"/>
              <a:ext cx="1806020" cy="261610"/>
            </a:xfrm>
            <a:prstGeom prst="rect">
              <a:avLst/>
            </a:prstGeom>
            <a:noFill/>
          </p:spPr>
          <p:txBody>
            <a:bodyPr wrap="square" rtlCol="0">
              <a:spAutoFit/>
            </a:bodyPr>
            <a:lstStyle/>
            <a:p>
              <a:pPr algn="ctr" defTabSz="456778">
                <a:defRPr/>
              </a:pPr>
              <a:r>
                <a:rPr lang="en-US" sz="1099" b="1" dirty="0">
                  <a:solidFill>
                    <a:srgbClr val="141619">
                      <a:lumMod val="25000"/>
                      <a:lumOff val="75000"/>
                    </a:srgbClr>
                  </a:solidFill>
                  <a:latin typeface="Arial"/>
                </a:rPr>
                <a:t>Operational Savings</a:t>
              </a:r>
            </a:p>
          </p:txBody>
        </p:sp>
        <p:sp>
          <p:nvSpPr>
            <p:cNvPr id="17" name="TextBox 16">
              <a:extLst>
                <a:ext uri="{FF2B5EF4-FFF2-40B4-BE49-F238E27FC236}">
                  <a16:creationId xmlns:a16="http://schemas.microsoft.com/office/drawing/2014/main" id="{0F03D72F-B632-42A1-8B7B-150FE68115C2}"/>
                </a:ext>
              </a:extLst>
            </p:cNvPr>
            <p:cNvSpPr txBox="1"/>
            <p:nvPr/>
          </p:nvSpPr>
          <p:spPr>
            <a:xfrm>
              <a:off x="564358" y="2716497"/>
              <a:ext cx="1802991" cy="261610"/>
            </a:xfrm>
            <a:prstGeom prst="rect">
              <a:avLst/>
            </a:prstGeom>
            <a:noFill/>
          </p:spPr>
          <p:txBody>
            <a:bodyPr wrap="square" rtlCol="0">
              <a:spAutoFit/>
            </a:bodyPr>
            <a:lstStyle/>
            <a:p>
              <a:pPr algn="ctr" defTabSz="456778">
                <a:defRPr/>
              </a:pPr>
              <a:r>
                <a:rPr lang="en-US" sz="1099" b="1" dirty="0">
                  <a:solidFill>
                    <a:srgbClr val="141619">
                      <a:lumMod val="25000"/>
                      <a:lumOff val="75000"/>
                    </a:srgbClr>
                  </a:solidFill>
                  <a:latin typeface="Arial"/>
                </a:rPr>
                <a:t>Distribution Integrity</a:t>
              </a:r>
            </a:p>
          </p:txBody>
        </p:sp>
        <p:sp>
          <p:nvSpPr>
            <p:cNvPr id="18" name="TextBox 17">
              <a:extLst>
                <a:ext uri="{FF2B5EF4-FFF2-40B4-BE49-F238E27FC236}">
                  <a16:creationId xmlns:a16="http://schemas.microsoft.com/office/drawing/2014/main" id="{18B6A417-6B86-4023-8F53-7E5F153A726B}"/>
                </a:ext>
              </a:extLst>
            </p:cNvPr>
            <p:cNvSpPr txBox="1"/>
            <p:nvPr/>
          </p:nvSpPr>
          <p:spPr>
            <a:xfrm>
              <a:off x="1101349" y="4011083"/>
              <a:ext cx="2149231" cy="261610"/>
            </a:xfrm>
            <a:prstGeom prst="rect">
              <a:avLst/>
            </a:prstGeom>
            <a:noFill/>
          </p:spPr>
          <p:txBody>
            <a:bodyPr wrap="square" rtlCol="0">
              <a:spAutoFit/>
            </a:bodyPr>
            <a:lstStyle/>
            <a:p>
              <a:pPr algn="ctr" defTabSz="456778">
                <a:defRPr/>
              </a:pPr>
              <a:r>
                <a:rPr lang="en-US" sz="1099" b="1" dirty="0">
                  <a:solidFill>
                    <a:srgbClr val="141619">
                      <a:lumMod val="25000"/>
                      <a:lumOff val="75000"/>
                    </a:srgbClr>
                  </a:solidFill>
                  <a:latin typeface="Arial"/>
                </a:rPr>
                <a:t>Revenue Assurance</a:t>
              </a:r>
            </a:p>
          </p:txBody>
        </p:sp>
        <p:sp>
          <p:nvSpPr>
            <p:cNvPr id="19" name="TextBox 18">
              <a:extLst>
                <a:ext uri="{FF2B5EF4-FFF2-40B4-BE49-F238E27FC236}">
                  <a16:creationId xmlns:a16="http://schemas.microsoft.com/office/drawing/2014/main" id="{F3123479-EFDC-4202-A7E5-8DCB4E6D2ECB}"/>
                </a:ext>
              </a:extLst>
            </p:cNvPr>
            <p:cNvSpPr txBox="1"/>
            <p:nvPr/>
          </p:nvSpPr>
          <p:spPr>
            <a:xfrm>
              <a:off x="5592114" y="4011083"/>
              <a:ext cx="2149231" cy="261610"/>
            </a:xfrm>
            <a:prstGeom prst="rect">
              <a:avLst/>
            </a:prstGeom>
            <a:noFill/>
          </p:spPr>
          <p:txBody>
            <a:bodyPr wrap="square" rtlCol="0">
              <a:spAutoFit/>
            </a:bodyPr>
            <a:lstStyle/>
            <a:p>
              <a:pPr algn="ctr" defTabSz="456778">
                <a:defRPr/>
              </a:pPr>
              <a:r>
                <a:rPr lang="en-US" sz="1099" b="1" dirty="0">
                  <a:solidFill>
                    <a:srgbClr val="141619">
                      <a:lumMod val="25000"/>
                      <a:lumOff val="75000"/>
                    </a:srgbClr>
                  </a:solidFill>
                  <a:latin typeface="Arial"/>
                </a:rPr>
                <a:t>Customer Satisfaction</a:t>
              </a:r>
            </a:p>
          </p:txBody>
        </p:sp>
      </p:grpSp>
      <p:grpSp>
        <p:nvGrpSpPr>
          <p:cNvPr id="33" name="Group 32"/>
          <p:cNvGrpSpPr/>
          <p:nvPr/>
        </p:nvGrpSpPr>
        <p:grpSpPr>
          <a:xfrm>
            <a:off x="2118940" y="1889634"/>
            <a:ext cx="4545854" cy="2231015"/>
            <a:chOff x="2116667" y="1778002"/>
            <a:chExt cx="4550063" cy="2233081"/>
          </a:xfrm>
        </p:grpSpPr>
        <p:cxnSp>
          <p:nvCxnSpPr>
            <p:cNvPr id="22" name="Straight Connector 21"/>
            <p:cNvCxnSpPr/>
            <p:nvPr/>
          </p:nvCxnSpPr>
          <p:spPr>
            <a:xfrm flipH="1" flipV="1">
              <a:off x="2116667" y="1778002"/>
              <a:ext cx="944803" cy="523393"/>
            </a:xfrm>
            <a:prstGeom prst="line">
              <a:avLst/>
            </a:prstGeom>
            <a:ln w="12700">
              <a:tailEnd type="triangle"/>
            </a:ln>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p:nvCxnSpPr>
          <p:spPr>
            <a:xfrm flipV="1">
              <a:off x="5721927" y="1778002"/>
              <a:ext cx="944803" cy="523393"/>
            </a:xfrm>
            <a:prstGeom prst="line">
              <a:avLst/>
            </a:prstGeom>
            <a:ln w="12700">
              <a:tailEnd type="triangle"/>
            </a:ln>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p:nvCxnSpPr>
          <p:spPr>
            <a:xfrm flipH="1">
              <a:off x="2116667" y="3487690"/>
              <a:ext cx="944803" cy="523393"/>
            </a:xfrm>
            <a:prstGeom prst="line">
              <a:avLst/>
            </a:prstGeom>
            <a:ln w="12700">
              <a:tailEnd type="triangle"/>
            </a:ln>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p:nvCxnSpPr>
          <p:spPr>
            <a:xfrm>
              <a:off x="5721927" y="3487690"/>
              <a:ext cx="944803" cy="523393"/>
            </a:xfrm>
            <a:prstGeom prst="line">
              <a:avLst/>
            </a:prstGeom>
            <a:ln w="12700">
              <a:tailEnd type="triangle"/>
            </a:ln>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p:nvCxnSpPr>
          <p:spPr>
            <a:xfrm flipH="1">
              <a:off x="2246596" y="2878090"/>
              <a:ext cx="713895" cy="0"/>
            </a:xfrm>
            <a:prstGeom prst="line">
              <a:avLst/>
            </a:prstGeom>
            <a:ln w="12700">
              <a:tailEnd type="triangle"/>
            </a:ln>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p:nvCxnSpPr>
          <p:spPr>
            <a:xfrm>
              <a:off x="5738861" y="2878090"/>
              <a:ext cx="713895" cy="0"/>
            </a:xfrm>
            <a:prstGeom prst="line">
              <a:avLst/>
            </a:prstGeom>
            <a:ln w="12700">
              <a:tailEnd type="triangle"/>
            </a:ln>
          </p:spPr>
          <p:style>
            <a:lnRef idx="2">
              <a:schemeClr val="accent1"/>
            </a:lnRef>
            <a:fillRef idx="0">
              <a:schemeClr val="accent1"/>
            </a:fillRef>
            <a:effectRef idx="1">
              <a:schemeClr val="accent1"/>
            </a:effectRef>
            <a:fontRef idx="minor">
              <a:schemeClr val="tx1"/>
            </a:fontRef>
          </p:style>
        </p:cxnSp>
      </p:grpSp>
      <p:grpSp>
        <p:nvGrpSpPr>
          <p:cNvPr id="20" name="Group 19"/>
          <p:cNvGrpSpPr/>
          <p:nvPr/>
        </p:nvGrpSpPr>
        <p:grpSpPr>
          <a:xfrm>
            <a:off x="8522028" y="237767"/>
            <a:ext cx="362129" cy="601376"/>
            <a:chOff x="8548776" y="233218"/>
            <a:chExt cx="362464" cy="601933"/>
          </a:xfrm>
        </p:grpSpPr>
        <p:pic>
          <p:nvPicPr>
            <p:cNvPr id="21" name="Picture 2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548776" y="233218"/>
              <a:ext cx="362464" cy="457200"/>
            </a:xfrm>
            <a:prstGeom prst="rect">
              <a:avLst/>
            </a:prstGeom>
          </p:spPr>
        </p:pic>
        <p:pic>
          <p:nvPicPr>
            <p:cNvPr id="23" name="Picture 22"/>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570642" y="761999"/>
              <a:ext cx="318733" cy="73152"/>
            </a:xfrm>
            <a:prstGeom prst="rect">
              <a:avLst/>
            </a:prstGeom>
          </p:spPr>
        </p:pic>
      </p:grpSp>
      <p:pic>
        <p:nvPicPr>
          <p:cNvPr id="3" name="Picture 2" descr="A picture containing indoor, sitting, table, front&#10;&#10;Description automatically generated">
            <a:extLst>
              <a:ext uri="{FF2B5EF4-FFF2-40B4-BE49-F238E27FC236}">
                <a16:creationId xmlns:a16="http://schemas.microsoft.com/office/drawing/2014/main" id="{633EEF26-C92E-42DD-8882-86AFC7D55DC6}"/>
              </a:ext>
            </a:extLst>
          </p:cNvPr>
          <p:cNvPicPr>
            <a:picLocks noChangeAspect="1"/>
          </p:cNvPicPr>
          <p:nvPr/>
        </p:nvPicPr>
        <p:blipFill>
          <a:blip r:embed="rId5"/>
          <a:stretch>
            <a:fillRect/>
          </a:stretch>
        </p:blipFill>
        <p:spPr>
          <a:xfrm>
            <a:off x="3098489" y="1906588"/>
            <a:ext cx="2560730" cy="1795712"/>
          </a:xfrm>
          <a:prstGeom prst="rect">
            <a:avLst/>
          </a:prstGeom>
        </p:spPr>
      </p:pic>
    </p:spTree>
    <p:extLst>
      <p:ext uri="{BB962C8B-B14F-4D97-AF65-F5344CB8AC3E}">
        <p14:creationId xmlns:p14="http://schemas.microsoft.com/office/powerpoint/2010/main" val="12963768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33"/>
                                        </p:tgtEl>
                                        <p:attrNameLst>
                                          <p:attrName>style.visibility</p:attrName>
                                        </p:attrNameLst>
                                      </p:cBhvr>
                                      <p:to>
                                        <p:strVal val="visible"/>
                                      </p:to>
                                    </p:set>
                                    <p:anim calcmode="lin" valueType="num">
                                      <p:cBhvr>
                                        <p:cTn id="7" dur="1000" fill="hold"/>
                                        <p:tgtEl>
                                          <p:spTgt spid="33"/>
                                        </p:tgtEl>
                                        <p:attrNameLst>
                                          <p:attrName>ppt_w</p:attrName>
                                        </p:attrNameLst>
                                      </p:cBhvr>
                                      <p:tavLst>
                                        <p:tav tm="0">
                                          <p:val>
                                            <p:fltVal val="0"/>
                                          </p:val>
                                        </p:tav>
                                        <p:tav tm="100000">
                                          <p:val>
                                            <p:strVal val="#ppt_w"/>
                                          </p:val>
                                        </p:tav>
                                      </p:tavLst>
                                    </p:anim>
                                    <p:anim calcmode="lin" valueType="num">
                                      <p:cBhvr>
                                        <p:cTn id="8" dur="1000" fill="hold"/>
                                        <p:tgtEl>
                                          <p:spTgt spid="33"/>
                                        </p:tgtEl>
                                        <p:attrNameLst>
                                          <p:attrName>ppt_h</p:attrName>
                                        </p:attrNameLst>
                                      </p:cBhvr>
                                      <p:tavLst>
                                        <p:tav tm="0">
                                          <p:val>
                                            <p:fltVal val="0"/>
                                          </p:val>
                                        </p:tav>
                                        <p:tav tm="100000">
                                          <p:val>
                                            <p:strVal val="#ppt_h"/>
                                          </p:val>
                                        </p:tav>
                                      </p:tavLst>
                                    </p:anim>
                                    <p:animEffect transition="in" filter="fade">
                                      <p:cBhvr>
                                        <p:cTn id="9" dur="1000"/>
                                        <p:tgtEl>
                                          <p:spTgt spid="33"/>
                                        </p:tgtEl>
                                      </p:cBhvr>
                                    </p:animEffect>
                                  </p:childTnLst>
                                </p:cTn>
                              </p:par>
                            </p:childTnLst>
                          </p:cTn>
                        </p:par>
                        <p:par>
                          <p:cTn id="10" fill="hold">
                            <p:stCondLst>
                              <p:cond delay="1000"/>
                            </p:stCondLst>
                            <p:childTnLst>
                              <p:par>
                                <p:cTn id="11" presetID="9" presetClass="entr" presetSubtype="0" fill="hold" nodeType="afterEffect">
                                  <p:stCondLst>
                                    <p:cond delay="0"/>
                                  </p:stCondLst>
                                  <p:childTnLst>
                                    <p:set>
                                      <p:cBhvr>
                                        <p:cTn id="12" dur="1" fill="hold">
                                          <p:stCondLst>
                                            <p:cond delay="0"/>
                                          </p:stCondLst>
                                        </p:cTn>
                                        <p:tgtEl>
                                          <p:spTgt spid="34"/>
                                        </p:tgtEl>
                                        <p:attrNameLst>
                                          <p:attrName>style.visibility</p:attrName>
                                        </p:attrNameLst>
                                      </p:cBhvr>
                                      <p:to>
                                        <p:strVal val="visible"/>
                                      </p:to>
                                    </p:set>
                                    <p:animEffect transition="in" filter="dissolve">
                                      <p:cBhvr>
                                        <p:cTn id="13" dur="10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698" name="Rectangle 7"/>
          <p:cNvSpPr>
            <a:spLocks noGrp="1" noChangeArrowheads="1"/>
          </p:cNvSpPr>
          <p:nvPr>
            <p:ph type="title"/>
          </p:nvPr>
        </p:nvSpPr>
        <p:spPr/>
        <p:txBody>
          <a:bodyPr/>
          <a:lstStyle>
            <a:defPPr>
              <a:defRPr lang="de-DE"/>
            </a:defPPr>
            <a:lvl1pPr marL="0" algn="l" defTabSz="779526" rtl="0" eaLnBrk="1" latinLnBrk="0" hangingPunct="1">
              <a:defRPr sz="1535" kern="1200">
                <a:solidFill>
                  <a:schemeClr val="tx1"/>
                </a:solidFill>
                <a:latin typeface="+mn-lt"/>
                <a:ea typeface="+mn-ea"/>
                <a:cs typeface="+mn-cs"/>
              </a:defRPr>
            </a:lvl1pPr>
            <a:lvl2pPr marL="389763" algn="l" defTabSz="779526" rtl="0" eaLnBrk="1" latinLnBrk="0" hangingPunct="1">
              <a:defRPr sz="1535" kern="1200">
                <a:solidFill>
                  <a:schemeClr val="tx1"/>
                </a:solidFill>
                <a:latin typeface="+mn-lt"/>
                <a:ea typeface="+mn-ea"/>
                <a:cs typeface="+mn-cs"/>
              </a:defRPr>
            </a:lvl2pPr>
            <a:lvl3pPr marL="779526" algn="l" defTabSz="779526" rtl="0" eaLnBrk="1" latinLnBrk="0" hangingPunct="1">
              <a:defRPr sz="1535" kern="1200">
                <a:solidFill>
                  <a:schemeClr val="tx1"/>
                </a:solidFill>
                <a:latin typeface="+mn-lt"/>
                <a:ea typeface="+mn-ea"/>
                <a:cs typeface="+mn-cs"/>
              </a:defRPr>
            </a:lvl3pPr>
            <a:lvl4pPr marL="1169289" algn="l" defTabSz="779526" rtl="0" eaLnBrk="1" latinLnBrk="0" hangingPunct="1">
              <a:defRPr sz="1535" kern="1200">
                <a:solidFill>
                  <a:schemeClr val="tx1"/>
                </a:solidFill>
                <a:latin typeface="+mn-lt"/>
                <a:ea typeface="+mn-ea"/>
                <a:cs typeface="+mn-cs"/>
              </a:defRPr>
            </a:lvl4pPr>
            <a:lvl5pPr marL="1559052" algn="l" defTabSz="779526" rtl="0" eaLnBrk="1" latinLnBrk="0" hangingPunct="1">
              <a:defRPr sz="1535" kern="1200">
                <a:solidFill>
                  <a:schemeClr val="tx1"/>
                </a:solidFill>
                <a:latin typeface="+mn-lt"/>
                <a:ea typeface="+mn-ea"/>
                <a:cs typeface="+mn-cs"/>
              </a:defRPr>
            </a:lvl5pPr>
            <a:lvl6pPr marL="1948815" algn="l" defTabSz="779526" rtl="0" eaLnBrk="1" latinLnBrk="0" hangingPunct="1">
              <a:defRPr sz="1535" kern="1200">
                <a:solidFill>
                  <a:schemeClr val="tx1"/>
                </a:solidFill>
                <a:latin typeface="+mn-lt"/>
                <a:ea typeface="+mn-ea"/>
                <a:cs typeface="+mn-cs"/>
              </a:defRPr>
            </a:lvl6pPr>
            <a:lvl7pPr marL="2338578" algn="l" defTabSz="779526" rtl="0" eaLnBrk="1" latinLnBrk="0" hangingPunct="1">
              <a:defRPr sz="1535" kern="1200">
                <a:solidFill>
                  <a:schemeClr val="tx1"/>
                </a:solidFill>
                <a:latin typeface="+mn-lt"/>
                <a:ea typeface="+mn-ea"/>
                <a:cs typeface="+mn-cs"/>
              </a:defRPr>
            </a:lvl7pPr>
            <a:lvl8pPr marL="2728341" algn="l" defTabSz="779526" rtl="0" eaLnBrk="1" latinLnBrk="0" hangingPunct="1">
              <a:defRPr sz="1535" kern="1200">
                <a:solidFill>
                  <a:schemeClr val="tx1"/>
                </a:solidFill>
                <a:latin typeface="+mn-lt"/>
                <a:ea typeface="+mn-ea"/>
                <a:cs typeface="+mn-cs"/>
              </a:defRPr>
            </a:lvl8pPr>
            <a:lvl9pPr marL="3118104" algn="l" defTabSz="779526" rtl="0" eaLnBrk="1" latinLnBrk="0" hangingPunct="1">
              <a:defRPr sz="1535" kern="1200">
                <a:solidFill>
                  <a:schemeClr val="tx1"/>
                </a:solidFill>
                <a:latin typeface="+mn-lt"/>
                <a:ea typeface="+mn-ea"/>
                <a:cs typeface="+mn-cs"/>
              </a:defRPr>
            </a:lvl9pPr>
          </a:lstStyle>
          <a:p>
            <a:pPr>
              <a:defRPr/>
            </a:pPr>
            <a:r>
              <a:rPr lang="de-DE" altLang="de-DE"/>
              <a:t>Innovative German Engineering</a:t>
            </a:r>
          </a:p>
        </p:txBody>
      </p:sp>
      <p:sp>
        <p:nvSpPr>
          <p:cNvPr id="7" name="Textplatzhalter 6"/>
          <p:cNvSpPr>
            <a:spLocks noGrp="1"/>
          </p:cNvSpPr>
          <p:nvPr>
            <p:ph type="body" idx="13"/>
          </p:nvPr>
        </p:nvSpPr>
        <p:spPr/>
        <p:txBody>
          <a:bodyPr/>
          <a:lstStyle>
            <a:defPPr>
              <a:defRPr lang="de-DE"/>
            </a:defPPr>
            <a:lvl1pPr marL="0" algn="l" defTabSz="779526" rtl="0" eaLnBrk="1" latinLnBrk="0" hangingPunct="1">
              <a:defRPr sz="1535" kern="1200">
                <a:solidFill>
                  <a:schemeClr val="tx1"/>
                </a:solidFill>
                <a:latin typeface="+mn-lt"/>
                <a:ea typeface="+mn-ea"/>
                <a:cs typeface="+mn-cs"/>
              </a:defRPr>
            </a:lvl1pPr>
            <a:lvl2pPr marL="389763" algn="l" defTabSz="779526" rtl="0" eaLnBrk="1" latinLnBrk="0" hangingPunct="1">
              <a:defRPr sz="1535" kern="1200">
                <a:solidFill>
                  <a:schemeClr val="tx1"/>
                </a:solidFill>
                <a:latin typeface="+mn-lt"/>
                <a:ea typeface="+mn-ea"/>
                <a:cs typeface="+mn-cs"/>
              </a:defRPr>
            </a:lvl2pPr>
            <a:lvl3pPr marL="779526" algn="l" defTabSz="779526" rtl="0" eaLnBrk="1" latinLnBrk="0" hangingPunct="1">
              <a:defRPr sz="1535" kern="1200">
                <a:solidFill>
                  <a:schemeClr val="tx1"/>
                </a:solidFill>
                <a:latin typeface="+mn-lt"/>
                <a:ea typeface="+mn-ea"/>
                <a:cs typeface="+mn-cs"/>
              </a:defRPr>
            </a:lvl3pPr>
            <a:lvl4pPr marL="1169289" algn="l" defTabSz="779526" rtl="0" eaLnBrk="1" latinLnBrk="0" hangingPunct="1">
              <a:defRPr sz="1535" kern="1200">
                <a:solidFill>
                  <a:schemeClr val="tx1"/>
                </a:solidFill>
                <a:latin typeface="+mn-lt"/>
                <a:ea typeface="+mn-ea"/>
                <a:cs typeface="+mn-cs"/>
              </a:defRPr>
            </a:lvl4pPr>
            <a:lvl5pPr marL="1559052" algn="l" defTabSz="779526" rtl="0" eaLnBrk="1" latinLnBrk="0" hangingPunct="1">
              <a:defRPr sz="1535" kern="1200">
                <a:solidFill>
                  <a:schemeClr val="tx1"/>
                </a:solidFill>
                <a:latin typeface="+mn-lt"/>
                <a:ea typeface="+mn-ea"/>
                <a:cs typeface="+mn-cs"/>
              </a:defRPr>
            </a:lvl5pPr>
            <a:lvl6pPr marL="1948815" algn="l" defTabSz="779526" rtl="0" eaLnBrk="1" latinLnBrk="0" hangingPunct="1">
              <a:defRPr sz="1535" kern="1200">
                <a:solidFill>
                  <a:schemeClr val="tx1"/>
                </a:solidFill>
                <a:latin typeface="+mn-lt"/>
                <a:ea typeface="+mn-ea"/>
                <a:cs typeface="+mn-cs"/>
              </a:defRPr>
            </a:lvl6pPr>
            <a:lvl7pPr marL="2338578" algn="l" defTabSz="779526" rtl="0" eaLnBrk="1" latinLnBrk="0" hangingPunct="1">
              <a:defRPr sz="1535" kern="1200">
                <a:solidFill>
                  <a:schemeClr val="tx1"/>
                </a:solidFill>
                <a:latin typeface="+mn-lt"/>
                <a:ea typeface="+mn-ea"/>
                <a:cs typeface="+mn-cs"/>
              </a:defRPr>
            </a:lvl7pPr>
            <a:lvl8pPr marL="2728341" algn="l" defTabSz="779526" rtl="0" eaLnBrk="1" latinLnBrk="0" hangingPunct="1">
              <a:defRPr sz="1535" kern="1200">
                <a:solidFill>
                  <a:schemeClr val="tx1"/>
                </a:solidFill>
                <a:latin typeface="+mn-lt"/>
                <a:ea typeface="+mn-ea"/>
                <a:cs typeface="+mn-cs"/>
              </a:defRPr>
            </a:lvl8pPr>
            <a:lvl9pPr marL="3118104" algn="l" defTabSz="779526" rtl="0" eaLnBrk="1" latinLnBrk="0" hangingPunct="1">
              <a:defRPr sz="1535" kern="1200">
                <a:solidFill>
                  <a:schemeClr val="tx1"/>
                </a:solidFill>
                <a:latin typeface="+mn-lt"/>
                <a:ea typeface="+mn-ea"/>
                <a:cs typeface="+mn-cs"/>
              </a:defRPr>
            </a:lvl9pPr>
          </a:lstStyle>
          <a:p>
            <a:endParaRPr lang="de-DE"/>
          </a:p>
        </p:txBody>
      </p:sp>
      <p:sp>
        <p:nvSpPr>
          <p:cNvPr id="6" name="Foliennummernplatzhalter 5"/>
          <p:cNvSpPr>
            <a:spLocks noGrp="1"/>
          </p:cNvSpPr>
          <p:nvPr>
            <p:ph type="sldNum" sz="quarter" idx="16"/>
          </p:nvPr>
        </p:nvSpPr>
        <p:spPr/>
        <p:txBody>
          <a:bodyPr/>
          <a:lstStyle>
            <a:defPPr>
              <a:defRPr lang="de-DE"/>
            </a:defPPr>
            <a:lvl1pPr marL="0" algn="l" defTabSz="585190" rtl="0" eaLnBrk="1" latinLnBrk="0" hangingPunct="1">
              <a:defRPr sz="1152" kern="1200">
                <a:solidFill>
                  <a:schemeClr val="tx1"/>
                </a:solidFill>
                <a:latin typeface="+mn-lt"/>
                <a:ea typeface="+mn-ea"/>
                <a:cs typeface="+mn-cs"/>
              </a:defRPr>
            </a:lvl1pPr>
            <a:lvl2pPr marL="292595" algn="l" defTabSz="585190" rtl="0" eaLnBrk="1" latinLnBrk="0" hangingPunct="1">
              <a:defRPr sz="1152" kern="1200">
                <a:solidFill>
                  <a:schemeClr val="tx1"/>
                </a:solidFill>
                <a:latin typeface="+mn-lt"/>
                <a:ea typeface="+mn-ea"/>
                <a:cs typeface="+mn-cs"/>
              </a:defRPr>
            </a:lvl2pPr>
            <a:lvl3pPr marL="585190" algn="l" defTabSz="585190" rtl="0" eaLnBrk="1" latinLnBrk="0" hangingPunct="1">
              <a:defRPr sz="1152" kern="1200">
                <a:solidFill>
                  <a:schemeClr val="tx1"/>
                </a:solidFill>
                <a:latin typeface="+mn-lt"/>
                <a:ea typeface="+mn-ea"/>
                <a:cs typeface="+mn-cs"/>
              </a:defRPr>
            </a:lvl3pPr>
            <a:lvl4pPr marL="877785" algn="l" defTabSz="585190" rtl="0" eaLnBrk="1" latinLnBrk="0" hangingPunct="1">
              <a:defRPr sz="1152" kern="1200">
                <a:solidFill>
                  <a:schemeClr val="tx1"/>
                </a:solidFill>
                <a:latin typeface="+mn-lt"/>
                <a:ea typeface="+mn-ea"/>
                <a:cs typeface="+mn-cs"/>
              </a:defRPr>
            </a:lvl4pPr>
            <a:lvl5pPr marL="1170380" algn="l" defTabSz="585190" rtl="0" eaLnBrk="1" latinLnBrk="0" hangingPunct="1">
              <a:defRPr sz="1152" kern="1200">
                <a:solidFill>
                  <a:schemeClr val="tx1"/>
                </a:solidFill>
                <a:latin typeface="+mn-lt"/>
                <a:ea typeface="+mn-ea"/>
                <a:cs typeface="+mn-cs"/>
              </a:defRPr>
            </a:lvl5pPr>
            <a:lvl6pPr marL="1462975" algn="l" defTabSz="585190" rtl="0" eaLnBrk="1" latinLnBrk="0" hangingPunct="1">
              <a:defRPr sz="1152" kern="1200">
                <a:solidFill>
                  <a:schemeClr val="tx1"/>
                </a:solidFill>
                <a:latin typeface="+mn-lt"/>
                <a:ea typeface="+mn-ea"/>
                <a:cs typeface="+mn-cs"/>
              </a:defRPr>
            </a:lvl6pPr>
            <a:lvl7pPr marL="1755571" algn="l" defTabSz="585190" rtl="0" eaLnBrk="1" latinLnBrk="0" hangingPunct="1">
              <a:defRPr sz="1152" kern="1200">
                <a:solidFill>
                  <a:schemeClr val="tx1"/>
                </a:solidFill>
                <a:latin typeface="+mn-lt"/>
                <a:ea typeface="+mn-ea"/>
                <a:cs typeface="+mn-cs"/>
              </a:defRPr>
            </a:lvl7pPr>
            <a:lvl8pPr marL="2048166" algn="l" defTabSz="585190" rtl="0" eaLnBrk="1" latinLnBrk="0" hangingPunct="1">
              <a:defRPr sz="1152" kern="1200">
                <a:solidFill>
                  <a:schemeClr val="tx1"/>
                </a:solidFill>
                <a:latin typeface="+mn-lt"/>
                <a:ea typeface="+mn-ea"/>
                <a:cs typeface="+mn-cs"/>
              </a:defRPr>
            </a:lvl8pPr>
            <a:lvl9pPr marL="2340761" algn="l" defTabSz="585190" rtl="0" eaLnBrk="1" latinLnBrk="0" hangingPunct="1">
              <a:defRPr sz="1152" kern="1200">
                <a:solidFill>
                  <a:schemeClr val="tx1"/>
                </a:solidFill>
                <a:latin typeface="+mn-lt"/>
                <a:ea typeface="+mn-ea"/>
                <a:cs typeface="+mn-cs"/>
              </a:defRPr>
            </a:lvl9pPr>
          </a:lstStyle>
          <a:p>
            <a:pPr>
              <a:defRPr/>
            </a:pPr>
            <a:fld id="{F36F506C-996F-4BA4-877D-B28CAA402847}" type="slidenum">
              <a:rPr lang="en-US">
                <a:solidFill>
                  <a:srgbClr val="6E7A82"/>
                </a:solidFill>
              </a:rPr>
              <a:pPr>
                <a:defRPr/>
              </a:pPr>
              <a:t>28</a:t>
            </a:fld>
            <a:endParaRPr lang="en-US">
              <a:solidFill>
                <a:srgbClr val="6E7A82"/>
              </a:solidFill>
            </a:endParaRPr>
          </a:p>
        </p:txBody>
      </p:sp>
      <p:pic>
        <p:nvPicPr>
          <p:cNvPr id="28675" name="Picture 10" descr="Konkurrenzzaehler"/>
          <p:cNvPicPr>
            <a:picLocks noChangeAspect="1" noChangeArrowheads="1"/>
          </p:cNvPicPr>
          <p:nvPr/>
        </p:nvPicPr>
        <p:blipFill>
          <a:blip r:embed="rId2">
            <a:lum contrast="12000"/>
            <a:extLst>
              <a:ext uri="{28A0092B-C50C-407E-A947-70E740481C1C}">
                <a14:useLocalDpi xmlns:a14="http://schemas.microsoft.com/office/drawing/2010/main" val="0"/>
              </a:ext>
            </a:extLst>
          </a:blip>
          <a:srcRect/>
          <a:stretch>
            <a:fillRect/>
          </a:stretch>
        </p:blipFill>
        <p:spPr bwMode="auto">
          <a:xfrm>
            <a:off x="1281641" y="1384787"/>
            <a:ext cx="1743497" cy="1405047"/>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28676" name="Picture 12" descr="Flow600_8Zoll_2"/>
          <p:cNvPicPr>
            <a:picLocks noChangeAspect="1" noChangeArrowheads="1"/>
          </p:cNvPicPr>
          <p:nvPr/>
        </p:nvPicPr>
        <p:blipFill>
          <a:blip r:embed="rId3">
            <a:lum bright="6000" contrast="12000"/>
            <a:extLst>
              <a:ext uri="{28A0092B-C50C-407E-A947-70E740481C1C}">
                <a14:useLocalDpi xmlns:a14="http://schemas.microsoft.com/office/drawing/2010/main" val="0"/>
              </a:ext>
            </a:extLst>
          </a:blip>
          <a:srcRect/>
          <a:stretch>
            <a:fillRect/>
          </a:stretch>
        </p:blipFill>
        <p:spPr bwMode="auto">
          <a:xfrm>
            <a:off x="4356298" y="1395513"/>
            <a:ext cx="1651734" cy="134069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07763" dir="18900000" algn="ctr" rotWithShape="0">
                    <a:schemeClr val="folHlink"/>
                  </a:outerShdw>
                </a:effectLst>
              </a14:hiddenEffects>
            </a:ext>
          </a:extLst>
        </p:spPr>
      </p:pic>
      <p:pic>
        <p:nvPicPr>
          <p:cNvPr id="28677"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98430" y="2975743"/>
            <a:ext cx="1244163" cy="165292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8678"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737651" y="2934033"/>
            <a:ext cx="1016543" cy="16517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Pfeil nach rechts 1"/>
          <p:cNvSpPr/>
          <p:nvPr/>
        </p:nvSpPr>
        <p:spPr>
          <a:xfrm>
            <a:off x="3166954" y="1763757"/>
            <a:ext cx="1088047" cy="793690"/>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50" tIns="27025" rIns="54050" bIns="40538" anchor="ctr"/>
          <a:lstStyle>
            <a:defPPr>
              <a:defRPr lang="de-DE"/>
            </a:defPPr>
            <a:lvl1pPr marL="0" algn="l" defTabSz="779526" rtl="0" eaLnBrk="1" latinLnBrk="0" hangingPunct="1">
              <a:defRPr sz="1535" kern="1200">
                <a:solidFill>
                  <a:schemeClr val="tx1"/>
                </a:solidFill>
                <a:latin typeface="+mn-lt"/>
                <a:ea typeface="+mn-ea"/>
                <a:cs typeface="+mn-cs"/>
              </a:defRPr>
            </a:lvl1pPr>
            <a:lvl2pPr marL="389763" algn="l" defTabSz="779526" rtl="0" eaLnBrk="1" latinLnBrk="0" hangingPunct="1">
              <a:defRPr sz="1535" kern="1200">
                <a:solidFill>
                  <a:schemeClr val="tx1"/>
                </a:solidFill>
                <a:latin typeface="+mn-lt"/>
                <a:ea typeface="+mn-ea"/>
                <a:cs typeface="+mn-cs"/>
              </a:defRPr>
            </a:lvl2pPr>
            <a:lvl3pPr marL="779526" algn="l" defTabSz="779526" rtl="0" eaLnBrk="1" latinLnBrk="0" hangingPunct="1">
              <a:defRPr sz="1535" kern="1200">
                <a:solidFill>
                  <a:schemeClr val="tx1"/>
                </a:solidFill>
                <a:latin typeface="+mn-lt"/>
                <a:ea typeface="+mn-ea"/>
                <a:cs typeface="+mn-cs"/>
              </a:defRPr>
            </a:lvl3pPr>
            <a:lvl4pPr marL="1169289" algn="l" defTabSz="779526" rtl="0" eaLnBrk="1" latinLnBrk="0" hangingPunct="1">
              <a:defRPr sz="1535" kern="1200">
                <a:solidFill>
                  <a:schemeClr val="tx1"/>
                </a:solidFill>
                <a:latin typeface="+mn-lt"/>
                <a:ea typeface="+mn-ea"/>
                <a:cs typeface="+mn-cs"/>
              </a:defRPr>
            </a:lvl4pPr>
            <a:lvl5pPr marL="1559052" algn="l" defTabSz="779526" rtl="0" eaLnBrk="1" latinLnBrk="0" hangingPunct="1">
              <a:defRPr sz="1535" kern="1200">
                <a:solidFill>
                  <a:schemeClr val="tx1"/>
                </a:solidFill>
                <a:latin typeface="+mn-lt"/>
                <a:ea typeface="+mn-ea"/>
                <a:cs typeface="+mn-cs"/>
              </a:defRPr>
            </a:lvl5pPr>
            <a:lvl6pPr marL="1948815" algn="l" defTabSz="779526" rtl="0" eaLnBrk="1" latinLnBrk="0" hangingPunct="1">
              <a:defRPr sz="1535" kern="1200">
                <a:solidFill>
                  <a:schemeClr val="tx1"/>
                </a:solidFill>
                <a:latin typeface="+mn-lt"/>
                <a:ea typeface="+mn-ea"/>
                <a:cs typeface="+mn-cs"/>
              </a:defRPr>
            </a:lvl6pPr>
            <a:lvl7pPr marL="2338578" algn="l" defTabSz="779526" rtl="0" eaLnBrk="1" latinLnBrk="0" hangingPunct="1">
              <a:defRPr sz="1535" kern="1200">
                <a:solidFill>
                  <a:schemeClr val="tx1"/>
                </a:solidFill>
                <a:latin typeface="+mn-lt"/>
                <a:ea typeface="+mn-ea"/>
                <a:cs typeface="+mn-cs"/>
              </a:defRPr>
            </a:lvl7pPr>
            <a:lvl8pPr marL="2728341" algn="l" defTabSz="779526" rtl="0" eaLnBrk="1" latinLnBrk="0" hangingPunct="1">
              <a:defRPr sz="1535" kern="1200">
                <a:solidFill>
                  <a:schemeClr val="tx1"/>
                </a:solidFill>
                <a:latin typeface="+mn-lt"/>
                <a:ea typeface="+mn-ea"/>
                <a:cs typeface="+mn-cs"/>
              </a:defRPr>
            </a:lvl8pPr>
            <a:lvl9pPr marL="3118104" algn="l" defTabSz="779526" rtl="0" eaLnBrk="1" latinLnBrk="0" hangingPunct="1">
              <a:defRPr sz="1535" kern="1200">
                <a:solidFill>
                  <a:schemeClr val="tx1"/>
                </a:solidFill>
                <a:latin typeface="+mn-lt"/>
                <a:ea typeface="+mn-ea"/>
                <a:cs typeface="+mn-cs"/>
              </a:defRPr>
            </a:lvl9pPr>
          </a:lstStyle>
          <a:p>
            <a:pPr algn="ctr" fontAlgn="base">
              <a:spcBef>
                <a:spcPct val="0"/>
              </a:spcBef>
              <a:spcAft>
                <a:spcPct val="0"/>
              </a:spcAft>
              <a:defRPr/>
            </a:pPr>
            <a:r>
              <a:rPr lang="de-DE" sz="1802" b="1">
                <a:solidFill>
                  <a:srgbClr val="FFFFFF"/>
                </a:solidFill>
              </a:rPr>
              <a:t>2004</a:t>
            </a:r>
          </a:p>
        </p:txBody>
      </p:sp>
      <p:sp>
        <p:nvSpPr>
          <p:cNvPr id="12" name="Pfeil nach rechts 11"/>
          <p:cNvSpPr/>
          <p:nvPr/>
        </p:nvSpPr>
        <p:spPr>
          <a:xfrm>
            <a:off x="3220582" y="3492954"/>
            <a:ext cx="1080897" cy="806799"/>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50" tIns="27025" rIns="54050" bIns="40538" anchor="ctr"/>
          <a:lstStyle>
            <a:defPPr>
              <a:defRPr lang="de-DE"/>
            </a:defPPr>
            <a:lvl1pPr marL="0" algn="l" defTabSz="779526" rtl="0" eaLnBrk="1" latinLnBrk="0" hangingPunct="1">
              <a:defRPr sz="1535" kern="1200">
                <a:solidFill>
                  <a:schemeClr val="tx1"/>
                </a:solidFill>
                <a:latin typeface="+mn-lt"/>
                <a:ea typeface="+mn-ea"/>
                <a:cs typeface="+mn-cs"/>
              </a:defRPr>
            </a:lvl1pPr>
            <a:lvl2pPr marL="389763" algn="l" defTabSz="779526" rtl="0" eaLnBrk="1" latinLnBrk="0" hangingPunct="1">
              <a:defRPr sz="1535" kern="1200">
                <a:solidFill>
                  <a:schemeClr val="tx1"/>
                </a:solidFill>
                <a:latin typeface="+mn-lt"/>
                <a:ea typeface="+mn-ea"/>
                <a:cs typeface="+mn-cs"/>
              </a:defRPr>
            </a:lvl2pPr>
            <a:lvl3pPr marL="779526" algn="l" defTabSz="779526" rtl="0" eaLnBrk="1" latinLnBrk="0" hangingPunct="1">
              <a:defRPr sz="1535" kern="1200">
                <a:solidFill>
                  <a:schemeClr val="tx1"/>
                </a:solidFill>
                <a:latin typeface="+mn-lt"/>
                <a:ea typeface="+mn-ea"/>
                <a:cs typeface="+mn-cs"/>
              </a:defRPr>
            </a:lvl3pPr>
            <a:lvl4pPr marL="1169289" algn="l" defTabSz="779526" rtl="0" eaLnBrk="1" latinLnBrk="0" hangingPunct="1">
              <a:defRPr sz="1535" kern="1200">
                <a:solidFill>
                  <a:schemeClr val="tx1"/>
                </a:solidFill>
                <a:latin typeface="+mn-lt"/>
                <a:ea typeface="+mn-ea"/>
                <a:cs typeface="+mn-cs"/>
              </a:defRPr>
            </a:lvl4pPr>
            <a:lvl5pPr marL="1559052" algn="l" defTabSz="779526" rtl="0" eaLnBrk="1" latinLnBrk="0" hangingPunct="1">
              <a:defRPr sz="1535" kern="1200">
                <a:solidFill>
                  <a:schemeClr val="tx1"/>
                </a:solidFill>
                <a:latin typeface="+mn-lt"/>
                <a:ea typeface="+mn-ea"/>
                <a:cs typeface="+mn-cs"/>
              </a:defRPr>
            </a:lvl5pPr>
            <a:lvl6pPr marL="1948815" algn="l" defTabSz="779526" rtl="0" eaLnBrk="1" latinLnBrk="0" hangingPunct="1">
              <a:defRPr sz="1535" kern="1200">
                <a:solidFill>
                  <a:schemeClr val="tx1"/>
                </a:solidFill>
                <a:latin typeface="+mn-lt"/>
                <a:ea typeface="+mn-ea"/>
                <a:cs typeface="+mn-cs"/>
              </a:defRPr>
            </a:lvl6pPr>
            <a:lvl7pPr marL="2338578" algn="l" defTabSz="779526" rtl="0" eaLnBrk="1" latinLnBrk="0" hangingPunct="1">
              <a:defRPr sz="1535" kern="1200">
                <a:solidFill>
                  <a:schemeClr val="tx1"/>
                </a:solidFill>
                <a:latin typeface="+mn-lt"/>
                <a:ea typeface="+mn-ea"/>
                <a:cs typeface="+mn-cs"/>
              </a:defRPr>
            </a:lvl7pPr>
            <a:lvl8pPr marL="2728341" algn="l" defTabSz="779526" rtl="0" eaLnBrk="1" latinLnBrk="0" hangingPunct="1">
              <a:defRPr sz="1535" kern="1200">
                <a:solidFill>
                  <a:schemeClr val="tx1"/>
                </a:solidFill>
                <a:latin typeface="+mn-lt"/>
                <a:ea typeface="+mn-ea"/>
                <a:cs typeface="+mn-cs"/>
              </a:defRPr>
            </a:lvl8pPr>
            <a:lvl9pPr marL="3118104" algn="l" defTabSz="779526" rtl="0" eaLnBrk="1" latinLnBrk="0" hangingPunct="1">
              <a:defRPr sz="1535" kern="1200">
                <a:solidFill>
                  <a:schemeClr val="tx1"/>
                </a:solidFill>
                <a:latin typeface="+mn-lt"/>
                <a:ea typeface="+mn-ea"/>
                <a:cs typeface="+mn-cs"/>
              </a:defRPr>
            </a:lvl9pPr>
          </a:lstStyle>
          <a:p>
            <a:pPr algn="ctr" fontAlgn="base">
              <a:spcBef>
                <a:spcPct val="0"/>
              </a:spcBef>
              <a:spcAft>
                <a:spcPct val="0"/>
              </a:spcAft>
              <a:defRPr/>
            </a:pPr>
            <a:r>
              <a:rPr lang="de-DE" sz="1802" b="1">
                <a:solidFill>
                  <a:srgbClr val="FFFFFF"/>
                </a:solidFill>
              </a:rPr>
              <a:t>2013</a:t>
            </a:r>
          </a:p>
        </p:txBody>
      </p:sp>
      <p:sp>
        <p:nvSpPr>
          <p:cNvPr id="3" name="Textfeld 2"/>
          <p:cNvSpPr txBox="1"/>
          <p:nvPr/>
        </p:nvSpPr>
        <p:spPr>
          <a:xfrm>
            <a:off x="1197029" y="844935"/>
            <a:ext cx="2538379" cy="622862"/>
          </a:xfrm>
          <a:prstGeom prst="rect">
            <a:avLst/>
          </a:prstGeom>
          <a:noFill/>
        </p:spPr>
        <p:txBody>
          <a:bodyPr wrap="square" lIns="54050" tIns="27025" rIns="54050" bIns="40538">
            <a:spAutoFit/>
          </a:bodyPr>
          <a:lstStyle>
            <a:defPPr>
              <a:defRPr lang="de-DE"/>
            </a:defPPr>
            <a:lvl1pPr marL="0" algn="l" defTabSz="779526" rtl="0" eaLnBrk="1" latinLnBrk="0" hangingPunct="1">
              <a:defRPr sz="1535" kern="1200">
                <a:solidFill>
                  <a:schemeClr val="tx1"/>
                </a:solidFill>
                <a:latin typeface="+mn-lt"/>
                <a:ea typeface="+mn-ea"/>
                <a:cs typeface="+mn-cs"/>
              </a:defRPr>
            </a:lvl1pPr>
            <a:lvl2pPr marL="389763" algn="l" defTabSz="779526" rtl="0" eaLnBrk="1" latinLnBrk="0" hangingPunct="1">
              <a:defRPr sz="1535" kern="1200">
                <a:solidFill>
                  <a:schemeClr val="tx1"/>
                </a:solidFill>
                <a:latin typeface="+mn-lt"/>
                <a:ea typeface="+mn-ea"/>
                <a:cs typeface="+mn-cs"/>
              </a:defRPr>
            </a:lvl2pPr>
            <a:lvl3pPr marL="779526" algn="l" defTabSz="779526" rtl="0" eaLnBrk="1" latinLnBrk="0" hangingPunct="1">
              <a:defRPr sz="1535" kern="1200">
                <a:solidFill>
                  <a:schemeClr val="tx1"/>
                </a:solidFill>
                <a:latin typeface="+mn-lt"/>
                <a:ea typeface="+mn-ea"/>
                <a:cs typeface="+mn-cs"/>
              </a:defRPr>
            </a:lvl3pPr>
            <a:lvl4pPr marL="1169289" algn="l" defTabSz="779526" rtl="0" eaLnBrk="1" latinLnBrk="0" hangingPunct="1">
              <a:defRPr sz="1535" kern="1200">
                <a:solidFill>
                  <a:schemeClr val="tx1"/>
                </a:solidFill>
                <a:latin typeface="+mn-lt"/>
                <a:ea typeface="+mn-ea"/>
                <a:cs typeface="+mn-cs"/>
              </a:defRPr>
            </a:lvl4pPr>
            <a:lvl5pPr marL="1559052" algn="l" defTabSz="779526" rtl="0" eaLnBrk="1" latinLnBrk="0" hangingPunct="1">
              <a:defRPr sz="1535" kern="1200">
                <a:solidFill>
                  <a:schemeClr val="tx1"/>
                </a:solidFill>
                <a:latin typeface="+mn-lt"/>
                <a:ea typeface="+mn-ea"/>
                <a:cs typeface="+mn-cs"/>
              </a:defRPr>
            </a:lvl5pPr>
            <a:lvl6pPr marL="1948815" algn="l" defTabSz="779526" rtl="0" eaLnBrk="1" latinLnBrk="0" hangingPunct="1">
              <a:defRPr sz="1535" kern="1200">
                <a:solidFill>
                  <a:schemeClr val="tx1"/>
                </a:solidFill>
                <a:latin typeface="+mn-lt"/>
                <a:ea typeface="+mn-ea"/>
                <a:cs typeface="+mn-cs"/>
              </a:defRPr>
            </a:lvl6pPr>
            <a:lvl7pPr marL="2338578" algn="l" defTabSz="779526" rtl="0" eaLnBrk="1" latinLnBrk="0" hangingPunct="1">
              <a:defRPr sz="1535" kern="1200">
                <a:solidFill>
                  <a:schemeClr val="tx1"/>
                </a:solidFill>
                <a:latin typeface="+mn-lt"/>
                <a:ea typeface="+mn-ea"/>
                <a:cs typeface="+mn-cs"/>
              </a:defRPr>
            </a:lvl7pPr>
            <a:lvl8pPr marL="2728341" algn="l" defTabSz="779526" rtl="0" eaLnBrk="1" latinLnBrk="0" hangingPunct="1">
              <a:defRPr sz="1535" kern="1200">
                <a:solidFill>
                  <a:schemeClr val="tx1"/>
                </a:solidFill>
                <a:latin typeface="+mn-lt"/>
                <a:ea typeface="+mn-ea"/>
                <a:cs typeface="+mn-cs"/>
              </a:defRPr>
            </a:lvl8pPr>
            <a:lvl9pPr marL="3118104" algn="l" defTabSz="779526" rtl="0" eaLnBrk="1" latinLnBrk="0" hangingPunct="1">
              <a:defRPr sz="1535" kern="1200">
                <a:solidFill>
                  <a:schemeClr val="tx1"/>
                </a:solidFill>
                <a:latin typeface="+mn-lt"/>
                <a:ea typeface="+mn-ea"/>
                <a:cs typeface="+mn-cs"/>
              </a:defRPr>
            </a:lvl9pPr>
          </a:lstStyle>
          <a:p>
            <a:pPr fontAlgn="base">
              <a:spcBef>
                <a:spcPts val="450"/>
              </a:spcBef>
              <a:spcAft>
                <a:spcPct val="0"/>
              </a:spcAft>
              <a:buClr>
                <a:srgbClr val="6E7A82"/>
              </a:buClr>
              <a:defRPr/>
            </a:pPr>
            <a:r>
              <a:rPr lang="de-DE" sz="1802" err="1">
                <a:solidFill>
                  <a:srgbClr val="007FC3"/>
                </a:solidFill>
                <a:cs typeface="Arial" charset="0"/>
              </a:rPr>
              <a:t>Accepted</a:t>
            </a:r>
            <a:r>
              <a:rPr lang="de-DE" sz="1802">
                <a:solidFill>
                  <a:srgbClr val="007FC3"/>
                </a:solidFill>
                <a:cs typeface="Arial" charset="0"/>
              </a:rPr>
              <a:t> </a:t>
            </a:r>
            <a:r>
              <a:rPr lang="de-DE" sz="1802" err="1">
                <a:solidFill>
                  <a:srgbClr val="007FC3"/>
                </a:solidFill>
                <a:cs typeface="Arial" charset="0"/>
              </a:rPr>
              <a:t>competitor</a:t>
            </a:r>
            <a:r>
              <a:rPr lang="de-DE" sz="1802">
                <a:solidFill>
                  <a:srgbClr val="007FC3"/>
                </a:solidFill>
                <a:cs typeface="Arial" charset="0"/>
              </a:rPr>
              <a:t> </a:t>
            </a:r>
            <a:r>
              <a:rPr lang="de-DE" sz="1802" err="1">
                <a:solidFill>
                  <a:srgbClr val="007FC3"/>
                </a:solidFill>
                <a:cs typeface="Arial" charset="0"/>
              </a:rPr>
              <a:t>product</a:t>
            </a:r>
            <a:endParaRPr lang="de-DE" sz="1802">
              <a:solidFill>
                <a:srgbClr val="007FC3"/>
              </a:solidFill>
              <a:cs typeface="Arial" charset="0"/>
            </a:endParaRPr>
          </a:p>
        </p:txBody>
      </p:sp>
      <p:sp>
        <p:nvSpPr>
          <p:cNvPr id="17" name="Textfeld 16"/>
          <p:cNvSpPr txBox="1"/>
          <p:nvPr/>
        </p:nvSpPr>
        <p:spPr>
          <a:xfrm>
            <a:off x="4409925" y="844935"/>
            <a:ext cx="1425306" cy="622862"/>
          </a:xfrm>
          <a:prstGeom prst="rect">
            <a:avLst/>
          </a:prstGeom>
          <a:noFill/>
        </p:spPr>
        <p:txBody>
          <a:bodyPr wrap="square" lIns="54050" tIns="27025" rIns="54050" bIns="40538">
            <a:spAutoFit/>
          </a:bodyPr>
          <a:lstStyle>
            <a:defPPr>
              <a:defRPr lang="de-DE"/>
            </a:defPPr>
            <a:lvl1pPr marL="0" algn="l" defTabSz="779526" rtl="0" eaLnBrk="1" latinLnBrk="0" hangingPunct="1">
              <a:defRPr sz="1535" kern="1200">
                <a:solidFill>
                  <a:schemeClr val="tx1"/>
                </a:solidFill>
                <a:latin typeface="+mn-lt"/>
                <a:ea typeface="+mn-ea"/>
                <a:cs typeface="+mn-cs"/>
              </a:defRPr>
            </a:lvl1pPr>
            <a:lvl2pPr marL="389763" algn="l" defTabSz="779526" rtl="0" eaLnBrk="1" latinLnBrk="0" hangingPunct="1">
              <a:defRPr sz="1535" kern="1200">
                <a:solidFill>
                  <a:schemeClr val="tx1"/>
                </a:solidFill>
                <a:latin typeface="+mn-lt"/>
                <a:ea typeface="+mn-ea"/>
                <a:cs typeface="+mn-cs"/>
              </a:defRPr>
            </a:lvl2pPr>
            <a:lvl3pPr marL="779526" algn="l" defTabSz="779526" rtl="0" eaLnBrk="1" latinLnBrk="0" hangingPunct="1">
              <a:defRPr sz="1535" kern="1200">
                <a:solidFill>
                  <a:schemeClr val="tx1"/>
                </a:solidFill>
                <a:latin typeface="+mn-lt"/>
                <a:ea typeface="+mn-ea"/>
                <a:cs typeface="+mn-cs"/>
              </a:defRPr>
            </a:lvl3pPr>
            <a:lvl4pPr marL="1169289" algn="l" defTabSz="779526" rtl="0" eaLnBrk="1" latinLnBrk="0" hangingPunct="1">
              <a:defRPr sz="1535" kern="1200">
                <a:solidFill>
                  <a:schemeClr val="tx1"/>
                </a:solidFill>
                <a:latin typeface="+mn-lt"/>
                <a:ea typeface="+mn-ea"/>
                <a:cs typeface="+mn-cs"/>
              </a:defRPr>
            </a:lvl4pPr>
            <a:lvl5pPr marL="1559052" algn="l" defTabSz="779526" rtl="0" eaLnBrk="1" latinLnBrk="0" hangingPunct="1">
              <a:defRPr sz="1535" kern="1200">
                <a:solidFill>
                  <a:schemeClr val="tx1"/>
                </a:solidFill>
                <a:latin typeface="+mn-lt"/>
                <a:ea typeface="+mn-ea"/>
                <a:cs typeface="+mn-cs"/>
              </a:defRPr>
            </a:lvl5pPr>
            <a:lvl6pPr marL="1948815" algn="l" defTabSz="779526" rtl="0" eaLnBrk="1" latinLnBrk="0" hangingPunct="1">
              <a:defRPr sz="1535" kern="1200">
                <a:solidFill>
                  <a:schemeClr val="tx1"/>
                </a:solidFill>
                <a:latin typeface="+mn-lt"/>
                <a:ea typeface="+mn-ea"/>
                <a:cs typeface="+mn-cs"/>
              </a:defRPr>
            </a:lvl6pPr>
            <a:lvl7pPr marL="2338578" algn="l" defTabSz="779526" rtl="0" eaLnBrk="1" latinLnBrk="0" hangingPunct="1">
              <a:defRPr sz="1535" kern="1200">
                <a:solidFill>
                  <a:schemeClr val="tx1"/>
                </a:solidFill>
                <a:latin typeface="+mn-lt"/>
                <a:ea typeface="+mn-ea"/>
                <a:cs typeface="+mn-cs"/>
              </a:defRPr>
            </a:lvl7pPr>
            <a:lvl8pPr marL="2728341" algn="l" defTabSz="779526" rtl="0" eaLnBrk="1" latinLnBrk="0" hangingPunct="1">
              <a:defRPr sz="1535" kern="1200">
                <a:solidFill>
                  <a:schemeClr val="tx1"/>
                </a:solidFill>
                <a:latin typeface="+mn-lt"/>
                <a:ea typeface="+mn-ea"/>
                <a:cs typeface="+mn-cs"/>
              </a:defRPr>
            </a:lvl8pPr>
            <a:lvl9pPr marL="3118104" algn="l" defTabSz="779526" rtl="0" eaLnBrk="1" latinLnBrk="0" hangingPunct="1">
              <a:defRPr sz="1535" kern="1200">
                <a:solidFill>
                  <a:schemeClr val="tx1"/>
                </a:solidFill>
                <a:latin typeface="+mn-lt"/>
                <a:ea typeface="+mn-ea"/>
                <a:cs typeface="+mn-cs"/>
              </a:defRPr>
            </a:lvl9pPr>
          </a:lstStyle>
          <a:p>
            <a:pPr fontAlgn="base">
              <a:spcBef>
                <a:spcPts val="450"/>
              </a:spcBef>
              <a:spcAft>
                <a:spcPct val="0"/>
              </a:spcAft>
              <a:buClr>
                <a:srgbClr val="6E7A82"/>
              </a:buClr>
              <a:defRPr/>
            </a:pPr>
            <a:r>
              <a:rPr lang="de-DE" sz="1802">
                <a:solidFill>
                  <a:srgbClr val="007FC3"/>
                </a:solidFill>
                <a:cs typeface="Arial" charset="0"/>
              </a:rPr>
              <a:t>SICK </a:t>
            </a:r>
            <a:r>
              <a:rPr lang="de-DE" sz="1802" err="1">
                <a:solidFill>
                  <a:srgbClr val="007FC3"/>
                </a:solidFill>
                <a:cs typeface="Arial" charset="0"/>
              </a:rPr>
              <a:t>innovation</a:t>
            </a:r>
            <a:endParaRPr lang="de-DE" sz="1802">
              <a:solidFill>
                <a:srgbClr val="007FC3"/>
              </a:solidFill>
              <a:cs typeface="Arial" charset="0"/>
            </a:endParaRPr>
          </a:p>
        </p:txBody>
      </p:sp>
      <p:pic>
        <p:nvPicPr>
          <p:cNvPr id="28683" name="Picture 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670632" y="956957"/>
            <a:ext cx="1587381" cy="1109498"/>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8684"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734986" y="2160602"/>
            <a:ext cx="1515877" cy="1135716"/>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8685" name="Picture 2" descr="Prüfstand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701617" y="3419066"/>
            <a:ext cx="1549246" cy="11011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Fußzeilenplatzhalter 2"/>
          <p:cNvSpPr>
            <a:spLocks noGrp="1"/>
          </p:cNvSpPr>
          <p:nvPr>
            <p:ph type="ftr" sz="quarter" idx="4294967295"/>
          </p:nvPr>
        </p:nvSpPr>
        <p:spPr>
          <a:xfrm>
            <a:off x="2024894" y="4994749"/>
            <a:ext cx="5094213" cy="135125"/>
          </a:xfrm>
          <a:prstGeom prst="rect">
            <a:avLst/>
          </a:prstGeom>
        </p:spPr>
        <p:txBody>
          <a:bodyPr/>
          <a:lstStyle>
            <a:defPPr>
              <a:defRPr lang="de-DE"/>
            </a:defPPr>
            <a:lvl1pPr marL="0" algn="l" defTabSz="585190" rtl="0" eaLnBrk="1" latinLnBrk="0" hangingPunct="1">
              <a:defRPr sz="1152" kern="1200">
                <a:solidFill>
                  <a:schemeClr val="tx1"/>
                </a:solidFill>
                <a:latin typeface="+mn-lt"/>
                <a:ea typeface="+mn-ea"/>
                <a:cs typeface="+mn-cs"/>
              </a:defRPr>
            </a:lvl1pPr>
            <a:lvl2pPr marL="292595" algn="l" defTabSz="585190" rtl="0" eaLnBrk="1" latinLnBrk="0" hangingPunct="1">
              <a:defRPr sz="1152" kern="1200">
                <a:solidFill>
                  <a:schemeClr val="tx1"/>
                </a:solidFill>
                <a:latin typeface="+mn-lt"/>
                <a:ea typeface="+mn-ea"/>
                <a:cs typeface="+mn-cs"/>
              </a:defRPr>
            </a:lvl2pPr>
            <a:lvl3pPr marL="585190" algn="l" defTabSz="585190" rtl="0" eaLnBrk="1" latinLnBrk="0" hangingPunct="1">
              <a:defRPr sz="1152" kern="1200">
                <a:solidFill>
                  <a:schemeClr val="tx1"/>
                </a:solidFill>
                <a:latin typeface="+mn-lt"/>
                <a:ea typeface="+mn-ea"/>
                <a:cs typeface="+mn-cs"/>
              </a:defRPr>
            </a:lvl3pPr>
            <a:lvl4pPr marL="877785" algn="l" defTabSz="585190" rtl="0" eaLnBrk="1" latinLnBrk="0" hangingPunct="1">
              <a:defRPr sz="1152" kern="1200">
                <a:solidFill>
                  <a:schemeClr val="tx1"/>
                </a:solidFill>
                <a:latin typeface="+mn-lt"/>
                <a:ea typeface="+mn-ea"/>
                <a:cs typeface="+mn-cs"/>
              </a:defRPr>
            </a:lvl4pPr>
            <a:lvl5pPr marL="1170380" algn="l" defTabSz="585190" rtl="0" eaLnBrk="1" latinLnBrk="0" hangingPunct="1">
              <a:defRPr sz="1152" kern="1200">
                <a:solidFill>
                  <a:schemeClr val="tx1"/>
                </a:solidFill>
                <a:latin typeface="+mn-lt"/>
                <a:ea typeface="+mn-ea"/>
                <a:cs typeface="+mn-cs"/>
              </a:defRPr>
            </a:lvl5pPr>
            <a:lvl6pPr marL="1462975" algn="l" defTabSz="585190" rtl="0" eaLnBrk="1" latinLnBrk="0" hangingPunct="1">
              <a:defRPr sz="1152" kern="1200">
                <a:solidFill>
                  <a:schemeClr val="tx1"/>
                </a:solidFill>
                <a:latin typeface="+mn-lt"/>
                <a:ea typeface="+mn-ea"/>
                <a:cs typeface="+mn-cs"/>
              </a:defRPr>
            </a:lvl6pPr>
            <a:lvl7pPr marL="1755571" algn="l" defTabSz="585190" rtl="0" eaLnBrk="1" latinLnBrk="0" hangingPunct="1">
              <a:defRPr sz="1152" kern="1200">
                <a:solidFill>
                  <a:schemeClr val="tx1"/>
                </a:solidFill>
                <a:latin typeface="+mn-lt"/>
                <a:ea typeface="+mn-ea"/>
                <a:cs typeface="+mn-cs"/>
              </a:defRPr>
            </a:lvl7pPr>
            <a:lvl8pPr marL="2048166" algn="l" defTabSz="585190" rtl="0" eaLnBrk="1" latinLnBrk="0" hangingPunct="1">
              <a:defRPr sz="1152" kern="1200">
                <a:solidFill>
                  <a:schemeClr val="tx1"/>
                </a:solidFill>
                <a:latin typeface="+mn-lt"/>
                <a:ea typeface="+mn-ea"/>
                <a:cs typeface="+mn-cs"/>
              </a:defRPr>
            </a:lvl8pPr>
            <a:lvl9pPr marL="2340761" algn="l" defTabSz="585190" rtl="0" eaLnBrk="1" latinLnBrk="0" hangingPunct="1">
              <a:defRPr sz="1152" kern="1200">
                <a:solidFill>
                  <a:schemeClr val="tx1"/>
                </a:solidFill>
                <a:latin typeface="+mn-lt"/>
                <a:ea typeface="+mn-ea"/>
                <a:cs typeface="+mn-cs"/>
              </a:defRPr>
            </a:lvl9pPr>
          </a:lstStyle>
          <a:p>
            <a:r>
              <a:rPr lang="de-DE" sz="676">
                <a:solidFill>
                  <a:schemeClr val="tx2"/>
                </a:solidFill>
              </a:rPr>
              <a:t>Alexander Schütze | FLOW Solution - FLOWSIC500</a:t>
            </a:r>
          </a:p>
        </p:txBody>
      </p:sp>
      <p:sp>
        <p:nvSpPr>
          <p:cNvPr id="24" name="Datumsplatzhalter 7"/>
          <p:cNvSpPr>
            <a:spLocks noGrp="1"/>
          </p:cNvSpPr>
          <p:nvPr>
            <p:ph type="dt" sz="half" idx="4294967295"/>
          </p:nvPr>
        </p:nvSpPr>
        <p:spPr>
          <a:xfrm>
            <a:off x="1248375" y="4994749"/>
            <a:ext cx="677871" cy="135125"/>
          </a:xfrm>
          <a:prstGeom prst="rect">
            <a:avLst/>
          </a:prstGeom>
        </p:spPr>
        <p:txBody>
          <a:bodyPr/>
          <a:lstStyle>
            <a:defPPr>
              <a:defRPr lang="de-DE"/>
            </a:defPPr>
            <a:lvl1pPr marL="0" algn="l" defTabSz="585190" rtl="0" eaLnBrk="1" latinLnBrk="0" hangingPunct="1">
              <a:defRPr sz="1152" kern="1200">
                <a:solidFill>
                  <a:schemeClr val="tx1"/>
                </a:solidFill>
                <a:latin typeface="+mn-lt"/>
                <a:ea typeface="+mn-ea"/>
                <a:cs typeface="+mn-cs"/>
              </a:defRPr>
            </a:lvl1pPr>
            <a:lvl2pPr marL="292595" algn="l" defTabSz="585190" rtl="0" eaLnBrk="1" latinLnBrk="0" hangingPunct="1">
              <a:defRPr sz="1152" kern="1200">
                <a:solidFill>
                  <a:schemeClr val="tx1"/>
                </a:solidFill>
                <a:latin typeface="+mn-lt"/>
                <a:ea typeface="+mn-ea"/>
                <a:cs typeface="+mn-cs"/>
              </a:defRPr>
            </a:lvl2pPr>
            <a:lvl3pPr marL="585190" algn="l" defTabSz="585190" rtl="0" eaLnBrk="1" latinLnBrk="0" hangingPunct="1">
              <a:defRPr sz="1152" kern="1200">
                <a:solidFill>
                  <a:schemeClr val="tx1"/>
                </a:solidFill>
                <a:latin typeface="+mn-lt"/>
                <a:ea typeface="+mn-ea"/>
                <a:cs typeface="+mn-cs"/>
              </a:defRPr>
            </a:lvl3pPr>
            <a:lvl4pPr marL="877785" algn="l" defTabSz="585190" rtl="0" eaLnBrk="1" latinLnBrk="0" hangingPunct="1">
              <a:defRPr sz="1152" kern="1200">
                <a:solidFill>
                  <a:schemeClr val="tx1"/>
                </a:solidFill>
                <a:latin typeface="+mn-lt"/>
                <a:ea typeface="+mn-ea"/>
                <a:cs typeface="+mn-cs"/>
              </a:defRPr>
            </a:lvl4pPr>
            <a:lvl5pPr marL="1170380" algn="l" defTabSz="585190" rtl="0" eaLnBrk="1" latinLnBrk="0" hangingPunct="1">
              <a:defRPr sz="1152" kern="1200">
                <a:solidFill>
                  <a:schemeClr val="tx1"/>
                </a:solidFill>
                <a:latin typeface="+mn-lt"/>
                <a:ea typeface="+mn-ea"/>
                <a:cs typeface="+mn-cs"/>
              </a:defRPr>
            </a:lvl5pPr>
            <a:lvl6pPr marL="1462975" algn="l" defTabSz="585190" rtl="0" eaLnBrk="1" latinLnBrk="0" hangingPunct="1">
              <a:defRPr sz="1152" kern="1200">
                <a:solidFill>
                  <a:schemeClr val="tx1"/>
                </a:solidFill>
                <a:latin typeface="+mn-lt"/>
                <a:ea typeface="+mn-ea"/>
                <a:cs typeface="+mn-cs"/>
              </a:defRPr>
            </a:lvl6pPr>
            <a:lvl7pPr marL="1755571" algn="l" defTabSz="585190" rtl="0" eaLnBrk="1" latinLnBrk="0" hangingPunct="1">
              <a:defRPr sz="1152" kern="1200">
                <a:solidFill>
                  <a:schemeClr val="tx1"/>
                </a:solidFill>
                <a:latin typeface="+mn-lt"/>
                <a:ea typeface="+mn-ea"/>
                <a:cs typeface="+mn-cs"/>
              </a:defRPr>
            </a:lvl7pPr>
            <a:lvl8pPr marL="2048166" algn="l" defTabSz="585190" rtl="0" eaLnBrk="1" latinLnBrk="0" hangingPunct="1">
              <a:defRPr sz="1152" kern="1200">
                <a:solidFill>
                  <a:schemeClr val="tx1"/>
                </a:solidFill>
                <a:latin typeface="+mn-lt"/>
                <a:ea typeface="+mn-ea"/>
                <a:cs typeface="+mn-cs"/>
              </a:defRPr>
            </a:lvl8pPr>
            <a:lvl9pPr marL="2340761" algn="l" defTabSz="585190" rtl="0" eaLnBrk="1" latinLnBrk="0" hangingPunct="1">
              <a:defRPr sz="1152" kern="1200">
                <a:solidFill>
                  <a:schemeClr val="tx1"/>
                </a:solidFill>
                <a:latin typeface="+mn-lt"/>
                <a:ea typeface="+mn-ea"/>
                <a:cs typeface="+mn-cs"/>
              </a:defRPr>
            </a:lvl9pPr>
          </a:lstStyle>
          <a:p>
            <a:r>
              <a:rPr lang="en-US" sz="676"/>
              <a:t>September 2017</a:t>
            </a:r>
            <a:endParaRPr lang="de-DE" sz="676"/>
          </a:p>
        </p:txBody>
      </p:sp>
    </p:spTree>
    <p:extLst>
      <p:ext uri="{BB962C8B-B14F-4D97-AF65-F5344CB8AC3E}">
        <p14:creationId xmlns:p14="http://schemas.microsoft.com/office/powerpoint/2010/main" val="2078270277"/>
      </p:ext>
    </p:extLst>
  </p:cSld>
  <p:clrMapOvr>
    <a:masterClrMapping/>
  </p:clrMapOvr>
  <p:transition spd="med">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defPPr>
              <a:defRPr lang="de-DE"/>
            </a:defPPr>
            <a:lvl1pPr marL="0" algn="l" defTabSz="779526" rtl="0" eaLnBrk="1" latinLnBrk="0" hangingPunct="1">
              <a:defRPr sz="1535" kern="1200">
                <a:solidFill>
                  <a:schemeClr val="tx1"/>
                </a:solidFill>
                <a:latin typeface="+mn-lt"/>
                <a:ea typeface="+mn-ea"/>
                <a:cs typeface="+mn-cs"/>
              </a:defRPr>
            </a:lvl1pPr>
            <a:lvl2pPr marL="389763" algn="l" defTabSz="779526" rtl="0" eaLnBrk="1" latinLnBrk="0" hangingPunct="1">
              <a:defRPr sz="1535" kern="1200">
                <a:solidFill>
                  <a:schemeClr val="tx1"/>
                </a:solidFill>
                <a:latin typeface="+mn-lt"/>
                <a:ea typeface="+mn-ea"/>
                <a:cs typeface="+mn-cs"/>
              </a:defRPr>
            </a:lvl2pPr>
            <a:lvl3pPr marL="779526" algn="l" defTabSz="779526" rtl="0" eaLnBrk="1" latinLnBrk="0" hangingPunct="1">
              <a:defRPr sz="1535" kern="1200">
                <a:solidFill>
                  <a:schemeClr val="tx1"/>
                </a:solidFill>
                <a:latin typeface="+mn-lt"/>
                <a:ea typeface="+mn-ea"/>
                <a:cs typeface="+mn-cs"/>
              </a:defRPr>
            </a:lvl3pPr>
            <a:lvl4pPr marL="1169289" algn="l" defTabSz="779526" rtl="0" eaLnBrk="1" latinLnBrk="0" hangingPunct="1">
              <a:defRPr sz="1535" kern="1200">
                <a:solidFill>
                  <a:schemeClr val="tx1"/>
                </a:solidFill>
                <a:latin typeface="+mn-lt"/>
                <a:ea typeface="+mn-ea"/>
                <a:cs typeface="+mn-cs"/>
              </a:defRPr>
            </a:lvl4pPr>
            <a:lvl5pPr marL="1559052" algn="l" defTabSz="779526" rtl="0" eaLnBrk="1" latinLnBrk="0" hangingPunct="1">
              <a:defRPr sz="1535" kern="1200">
                <a:solidFill>
                  <a:schemeClr val="tx1"/>
                </a:solidFill>
                <a:latin typeface="+mn-lt"/>
                <a:ea typeface="+mn-ea"/>
                <a:cs typeface="+mn-cs"/>
              </a:defRPr>
            </a:lvl5pPr>
            <a:lvl6pPr marL="1948815" algn="l" defTabSz="779526" rtl="0" eaLnBrk="1" latinLnBrk="0" hangingPunct="1">
              <a:defRPr sz="1535" kern="1200">
                <a:solidFill>
                  <a:schemeClr val="tx1"/>
                </a:solidFill>
                <a:latin typeface="+mn-lt"/>
                <a:ea typeface="+mn-ea"/>
                <a:cs typeface="+mn-cs"/>
              </a:defRPr>
            </a:lvl6pPr>
            <a:lvl7pPr marL="2338578" algn="l" defTabSz="779526" rtl="0" eaLnBrk="1" latinLnBrk="0" hangingPunct="1">
              <a:defRPr sz="1535" kern="1200">
                <a:solidFill>
                  <a:schemeClr val="tx1"/>
                </a:solidFill>
                <a:latin typeface="+mn-lt"/>
                <a:ea typeface="+mn-ea"/>
                <a:cs typeface="+mn-cs"/>
              </a:defRPr>
            </a:lvl7pPr>
            <a:lvl8pPr marL="2728341" algn="l" defTabSz="779526" rtl="0" eaLnBrk="1" latinLnBrk="0" hangingPunct="1">
              <a:defRPr sz="1535" kern="1200">
                <a:solidFill>
                  <a:schemeClr val="tx1"/>
                </a:solidFill>
                <a:latin typeface="+mn-lt"/>
                <a:ea typeface="+mn-ea"/>
                <a:cs typeface="+mn-cs"/>
              </a:defRPr>
            </a:lvl8pPr>
            <a:lvl9pPr marL="3118104" algn="l" defTabSz="779526" rtl="0" eaLnBrk="1" latinLnBrk="0" hangingPunct="1">
              <a:defRPr sz="1535" kern="1200">
                <a:solidFill>
                  <a:schemeClr val="tx1"/>
                </a:solidFill>
                <a:latin typeface="+mn-lt"/>
                <a:ea typeface="+mn-ea"/>
                <a:cs typeface="+mn-cs"/>
              </a:defRPr>
            </a:lvl9pPr>
          </a:lstStyle>
          <a:p>
            <a:pPr eaLnBrk="1" fontAlgn="auto" hangingPunct="1">
              <a:spcAft>
                <a:spcPts val="0"/>
              </a:spcAft>
              <a:defRPr/>
            </a:pPr>
            <a:r>
              <a:rPr lang="de-DE" err="1"/>
              <a:t>Product</a:t>
            </a:r>
            <a:r>
              <a:rPr lang="de-DE"/>
              <a:t> </a:t>
            </a:r>
            <a:r>
              <a:rPr lang="de-DE" err="1"/>
              <a:t>Protfolio</a:t>
            </a:r>
            <a:r>
              <a:rPr lang="de-DE"/>
              <a:t> </a:t>
            </a:r>
            <a:r>
              <a:rPr lang="de-DE" err="1"/>
              <a:t>Ultrasonic</a:t>
            </a:r>
            <a:endParaRPr lang="de-DE"/>
          </a:p>
        </p:txBody>
      </p:sp>
      <p:pic>
        <p:nvPicPr>
          <p:cNvPr id="34" name="Content Placeholder 6" descr="NaturalGas_150.bmp"/>
          <p:cNvPicPr>
            <a:picLocks noGrp="1" noChangeAspect="1"/>
          </p:cNvPicPr>
          <p:nvPr>
            <p:ph idx="1"/>
          </p:nvPr>
        </p:nvPicPr>
        <p:blipFill rotWithShape="1">
          <a:blip r:embed="rId2" cstate="screen">
            <a:duotone>
              <a:schemeClr val="accent4">
                <a:shade val="45000"/>
                <a:satMod val="135000"/>
              </a:schemeClr>
              <a:prstClr val="white"/>
            </a:duotone>
            <a:extLst>
              <a:ext uri="{28A0092B-C50C-407E-A947-70E740481C1C}">
                <a14:useLocalDpi xmlns:a14="http://schemas.microsoft.com/office/drawing/2010/main"/>
              </a:ext>
            </a:extLst>
          </a:blip>
          <a:stretch/>
        </p:blipFill>
        <p:spPr>
          <a:xfrm>
            <a:off x="1409549" y="1080387"/>
            <a:ext cx="6324902" cy="3501122"/>
          </a:xfrm>
          <a:effectLst>
            <a:outerShdw blurRad="190500" algn="tl" rotWithShape="0">
              <a:srgbClr val="000000">
                <a:alpha val="70000"/>
              </a:srgbClr>
            </a:outerShdw>
          </a:effectLst>
        </p:spPr>
      </p:pic>
      <p:sp>
        <p:nvSpPr>
          <p:cNvPr id="5" name="Textplatzhalter 4"/>
          <p:cNvSpPr>
            <a:spLocks noGrp="1"/>
          </p:cNvSpPr>
          <p:nvPr>
            <p:ph type="body" idx="13"/>
          </p:nvPr>
        </p:nvSpPr>
        <p:spPr/>
        <p:txBody>
          <a:bodyPr rtlCol="0">
            <a:noAutofit/>
          </a:bodyPr>
          <a:lstStyle>
            <a:defPPr>
              <a:defRPr lang="de-DE"/>
            </a:defPPr>
            <a:lvl1pPr marL="0" algn="l" defTabSz="779526" rtl="0" eaLnBrk="1" latinLnBrk="0" hangingPunct="1">
              <a:defRPr sz="1535" kern="1200">
                <a:solidFill>
                  <a:schemeClr val="tx1"/>
                </a:solidFill>
                <a:latin typeface="+mn-lt"/>
                <a:ea typeface="+mn-ea"/>
                <a:cs typeface="+mn-cs"/>
              </a:defRPr>
            </a:lvl1pPr>
            <a:lvl2pPr marL="389763" algn="l" defTabSz="779526" rtl="0" eaLnBrk="1" latinLnBrk="0" hangingPunct="1">
              <a:defRPr sz="1535" kern="1200">
                <a:solidFill>
                  <a:schemeClr val="tx1"/>
                </a:solidFill>
                <a:latin typeface="+mn-lt"/>
                <a:ea typeface="+mn-ea"/>
                <a:cs typeface="+mn-cs"/>
              </a:defRPr>
            </a:lvl2pPr>
            <a:lvl3pPr marL="779526" algn="l" defTabSz="779526" rtl="0" eaLnBrk="1" latinLnBrk="0" hangingPunct="1">
              <a:defRPr sz="1535" kern="1200">
                <a:solidFill>
                  <a:schemeClr val="tx1"/>
                </a:solidFill>
                <a:latin typeface="+mn-lt"/>
                <a:ea typeface="+mn-ea"/>
                <a:cs typeface="+mn-cs"/>
              </a:defRPr>
            </a:lvl3pPr>
            <a:lvl4pPr marL="1169289" algn="l" defTabSz="779526" rtl="0" eaLnBrk="1" latinLnBrk="0" hangingPunct="1">
              <a:defRPr sz="1535" kern="1200">
                <a:solidFill>
                  <a:schemeClr val="tx1"/>
                </a:solidFill>
                <a:latin typeface="+mn-lt"/>
                <a:ea typeface="+mn-ea"/>
                <a:cs typeface="+mn-cs"/>
              </a:defRPr>
            </a:lvl4pPr>
            <a:lvl5pPr marL="1559052" algn="l" defTabSz="779526" rtl="0" eaLnBrk="1" latinLnBrk="0" hangingPunct="1">
              <a:defRPr sz="1535" kern="1200">
                <a:solidFill>
                  <a:schemeClr val="tx1"/>
                </a:solidFill>
                <a:latin typeface="+mn-lt"/>
                <a:ea typeface="+mn-ea"/>
                <a:cs typeface="+mn-cs"/>
              </a:defRPr>
            </a:lvl5pPr>
            <a:lvl6pPr marL="1948815" algn="l" defTabSz="779526" rtl="0" eaLnBrk="1" latinLnBrk="0" hangingPunct="1">
              <a:defRPr sz="1535" kern="1200">
                <a:solidFill>
                  <a:schemeClr val="tx1"/>
                </a:solidFill>
                <a:latin typeface="+mn-lt"/>
                <a:ea typeface="+mn-ea"/>
                <a:cs typeface="+mn-cs"/>
              </a:defRPr>
            </a:lvl6pPr>
            <a:lvl7pPr marL="2338578" algn="l" defTabSz="779526" rtl="0" eaLnBrk="1" latinLnBrk="0" hangingPunct="1">
              <a:defRPr sz="1535" kern="1200">
                <a:solidFill>
                  <a:schemeClr val="tx1"/>
                </a:solidFill>
                <a:latin typeface="+mn-lt"/>
                <a:ea typeface="+mn-ea"/>
                <a:cs typeface="+mn-cs"/>
              </a:defRPr>
            </a:lvl7pPr>
            <a:lvl8pPr marL="2728341" algn="l" defTabSz="779526" rtl="0" eaLnBrk="1" latinLnBrk="0" hangingPunct="1">
              <a:defRPr sz="1535" kern="1200">
                <a:solidFill>
                  <a:schemeClr val="tx1"/>
                </a:solidFill>
                <a:latin typeface="+mn-lt"/>
                <a:ea typeface="+mn-ea"/>
                <a:cs typeface="+mn-cs"/>
              </a:defRPr>
            </a:lvl8pPr>
            <a:lvl9pPr marL="3118104" algn="l" defTabSz="779526" rtl="0" eaLnBrk="1" latinLnBrk="0" hangingPunct="1">
              <a:defRPr sz="1535" kern="1200">
                <a:solidFill>
                  <a:schemeClr val="tx1"/>
                </a:solidFill>
                <a:latin typeface="+mn-lt"/>
                <a:ea typeface="+mn-ea"/>
                <a:cs typeface="+mn-cs"/>
              </a:defRPr>
            </a:lvl9pPr>
          </a:lstStyle>
          <a:p>
            <a:pPr eaLnBrk="1" fontAlgn="auto" hangingPunct="1">
              <a:spcAft>
                <a:spcPts val="0"/>
              </a:spcAft>
              <a:buClr>
                <a:schemeClr val="accent4"/>
              </a:buClr>
              <a:defRPr/>
            </a:pPr>
            <a:r>
              <a:rPr lang="de-DE" err="1">
                <a:solidFill>
                  <a:schemeClr val="tx1"/>
                </a:solidFill>
              </a:rPr>
              <a:t>SICk</a:t>
            </a:r>
            <a:r>
              <a:rPr lang="de-DE">
                <a:solidFill>
                  <a:schemeClr val="tx1"/>
                </a:solidFill>
              </a:rPr>
              <a:t> </a:t>
            </a:r>
            <a:r>
              <a:rPr lang="de-DE" err="1">
                <a:solidFill>
                  <a:schemeClr val="tx1"/>
                </a:solidFill>
              </a:rPr>
              <a:t>flow</a:t>
            </a:r>
            <a:r>
              <a:rPr lang="de-DE">
                <a:solidFill>
                  <a:schemeClr val="tx1"/>
                </a:solidFill>
              </a:rPr>
              <a:t> </a:t>
            </a:r>
            <a:r>
              <a:rPr lang="de-DE" err="1">
                <a:solidFill>
                  <a:schemeClr val="tx1"/>
                </a:solidFill>
              </a:rPr>
              <a:t>solutions</a:t>
            </a:r>
            <a:r>
              <a:rPr lang="de-DE">
                <a:solidFill>
                  <a:schemeClr val="tx1"/>
                </a:solidFill>
              </a:rPr>
              <a:t> </a:t>
            </a:r>
            <a:r>
              <a:rPr lang="de-DE" err="1">
                <a:solidFill>
                  <a:schemeClr val="tx1"/>
                </a:solidFill>
              </a:rPr>
              <a:t>for</a:t>
            </a:r>
            <a:r>
              <a:rPr lang="de-DE">
                <a:solidFill>
                  <a:schemeClr val="tx1"/>
                </a:solidFill>
              </a:rPr>
              <a:t> </a:t>
            </a:r>
            <a:r>
              <a:rPr lang="de-DE" err="1">
                <a:solidFill>
                  <a:schemeClr val="tx1"/>
                </a:solidFill>
              </a:rPr>
              <a:t>Oil</a:t>
            </a:r>
            <a:r>
              <a:rPr lang="de-DE">
                <a:solidFill>
                  <a:schemeClr val="tx1"/>
                </a:solidFill>
              </a:rPr>
              <a:t> </a:t>
            </a:r>
            <a:r>
              <a:rPr lang="de-DE" err="1">
                <a:solidFill>
                  <a:schemeClr val="tx1"/>
                </a:solidFill>
              </a:rPr>
              <a:t>and</a:t>
            </a:r>
            <a:r>
              <a:rPr lang="de-DE">
                <a:solidFill>
                  <a:schemeClr val="tx1"/>
                </a:solidFill>
              </a:rPr>
              <a:t> gas </a:t>
            </a:r>
            <a:r>
              <a:rPr lang="de-DE" err="1">
                <a:solidFill>
                  <a:schemeClr val="tx1"/>
                </a:solidFill>
              </a:rPr>
              <a:t>market</a:t>
            </a:r>
            <a:endParaRPr lang="de-DE">
              <a:solidFill>
                <a:schemeClr val="tx1"/>
              </a:solidFill>
            </a:endParaRPr>
          </a:p>
        </p:txBody>
      </p:sp>
      <p:sp>
        <p:nvSpPr>
          <p:cNvPr id="8" name="Foliennummernplatzhalter 7"/>
          <p:cNvSpPr>
            <a:spLocks noGrp="1"/>
          </p:cNvSpPr>
          <p:nvPr>
            <p:ph type="sldNum" sz="quarter" idx="16"/>
          </p:nvPr>
        </p:nvSpPr>
        <p:spPr>
          <a:prstGeom prst="rect">
            <a:avLst/>
          </a:prstGeom>
        </p:spPr>
        <p:txBody>
          <a:bodyPr/>
          <a:lstStyle>
            <a:defPPr>
              <a:defRPr lang="de-DE"/>
            </a:defPPr>
            <a:lvl1pPr marL="0" algn="l" defTabSz="585190" rtl="0" eaLnBrk="1" latinLnBrk="0" hangingPunct="1">
              <a:defRPr sz="1152" kern="1200">
                <a:solidFill>
                  <a:schemeClr val="tx1"/>
                </a:solidFill>
                <a:latin typeface="+mn-lt"/>
                <a:ea typeface="+mn-ea"/>
                <a:cs typeface="+mn-cs"/>
              </a:defRPr>
            </a:lvl1pPr>
            <a:lvl2pPr marL="292595" algn="l" defTabSz="585190" rtl="0" eaLnBrk="1" latinLnBrk="0" hangingPunct="1">
              <a:defRPr sz="1152" kern="1200">
                <a:solidFill>
                  <a:schemeClr val="tx1"/>
                </a:solidFill>
                <a:latin typeface="+mn-lt"/>
                <a:ea typeface="+mn-ea"/>
                <a:cs typeface="+mn-cs"/>
              </a:defRPr>
            </a:lvl2pPr>
            <a:lvl3pPr marL="585190" algn="l" defTabSz="585190" rtl="0" eaLnBrk="1" latinLnBrk="0" hangingPunct="1">
              <a:defRPr sz="1152" kern="1200">
                <a:solidFill>
                  <a:schemeClr val="tx1"/>
                </a:solidFill>
                <a:latin typeface="+mn-lt"/>
                <a:ea typeface="+mn-ea"/>
                <a:cs typeface="+mn-cs"/>
              </a:defRPr>
            </a:lvl3pPr>
            <a:lvl4pPr marL="877785" algn="l" defTabSz="585190" rtl="0" eaLnBrk="1" latinLnBrk="0" hangingPunct="1">
              <a:defRPr sz="1152" kern="1200">
                <a:solidFill>
                  <a:schemeClr val="tx1"/>
                </a:solidFill>
                <a:latin typeface="+mn-lt"/>
                <a:ea typeface="+mn-ea"/>
                <a:cs typeface="+mn-cs"/>
              </a:defRPr>
            </a:lvl4pPr>
            <a:lvl5pPr marL="1170380" algn="l" defTabSz="585190" rtl="0" eaLnBrk="1" latinLnBrk="0" hangingPunct="1">
              <a:defRPr sz="1152" kern="1200">
                <a:solidFill>
                  <a:schemeClr val="tx1"/>
                </a:solidFill>
                <a:latin typeface="+mn-lt"/>
                <a:ea typeface="+mn-ea"/>
                <a:cs typeface="+mn-cs"/>
              </a:defRPr>
            </a:lvl5pPr>
            <a:lvl6pPr marL="1462975" algn="l" defTabSz="585190" rtl="0" eaLnBrk="1" latinLnBrk="0" hangingPunct="1">
              <a:defRPr sz="1152" kern="1200">
                <a:solidFill>
                  <a:schemeClr val="tx1"/>
                </a:solidFill>
                <a:latin typeface="+mn-lt"/>
                <a:ea typeface="+mn-ea"/>
                <a:cs typeface="+mn-cs"/>
              </a:defRPr>
            </a:lvl6pPr>
            <a:lvl7pPr marL="1755571" algn="l" defTabSz="585190" rtl="0" eaLnBrk="1" latinLnBrk="0" hangingPunct="1">
              <a:defRPr sz="1152" kern="1200">
                <a:solidFill>
                  <a:schemeClr val="tx1"/>
                </a:solidFill>
                <a:latin typeface="+mn-lt"/>
                <a:ea typeface="+mn-ea"/>
                <a:cs typeface="+mn-cs"/>
              </a:defRPr>
            </a:lvl7pPr>
            <a:lvl8pPr marL="2048166" algn="l" defTabSz="585190" rtl="0" eaLnBrk="1" latinLnBrk="0" hangingPunct="1">
              <a:defRPr sz="1152" kern="1200">
                <a:solidFill>
                  <a:schemeClr val="tx1"/>
                </a:solidFill>
                <a:latin typeface="+mn-lt"/>
                <a:ea typeface="+mn-ea"/>
                <a:cs typeface="+mn-cs"/>
              </a:defRPr>
            </a:lvl8pPr>
            <a:lvl9pPr marL="2340761" algn="l" defTabSz="585190" rtl="0" eaLnBrk="1" latinLnBrk="0" hangingPunct="1">
              <a:defRPr sz="1152" kern="1200">
                <a:solidFill>
                  <a:schemeClr val="tx1"/>
                </a:solidFill>
                <a:latin typeface="+mn-lt"/>
                <a:ea typeface="+mn-ea"/>
                <a:cs typeface="+mn-cs"/>
              </a:defRPr>
            </a:lvl9pPr>
          </a:lstStyle>
          <a:p>
            <a:pPr>
              <a:defRPr/>
            </a:pPr>
            <a:fld id="{5B7E7805-00CC-4FFF-B11C-16563E928CAE}" type="slidenum">
              <a:rPr lang="en-US" smtClean="0"/>
              <a:pPr>
                <a:defRPr/>
              </a:pPr>
              <a:t>29</a:t>
            </a:fld>
            <a:endParaRPr lang="en-US"/>
          </a:p>
        </p:txBody>
      </p:sp>
      <p:sp>
        <p:nvSpPr>
          <p:cNvPr id="35" name="Rechteck 34"/>
          <p:cNvSpPr/>
          <p:nvPr/>
        </p:nvSpPr>
        <p:spPr bwMode="auto">
          <a:xfrm>
            <a:off x="2578241" y="694777"/>
            <a:ext cx="3730107" cy="4275918"/>
          </a:xfrm>
          <a:prstGeom prst="rect">
            <a:avLst/>
          </a:prstGeom>
          <a:ln w="57150">
            <a:solidFill>
              <a:schemeClr val="accent1"/>
            </a:solidFill>
            <a:prstDash val="solid"/>
          </a:ln>
        </p:spPr>
        <p:style>
          <a:lnRef idx="2">
            <a:schemeClr val="accent4"/>
          </a:lnRef>
          <a:fillRef idx="1">
            <a:schemeClr val="lt1"/>
          </a:fillRef>
          <a:effectRef idx="0">
            <a:schemeClr val="accent4"/>
          </a:effectRef>
          <a:fontRef idx="minor">
            <a:schemeClr val="dk1"/>
          </a:fontRef>
        </p:style>
        <p:txBody>
          <a:bodyPr wrap="none" anchor="ctr"/>
          <a:lstStyle>
            <a:defPPr>
              <a:defRPr lang="de-DE"/>
            </a:defPPr>
            <a:lvl1pPr marL="0" algn="l" defTabSz="779526" rtl="0" eaLnBrk="1" latinLnBrk="0" hangingPunct="1">
              <a:defRPr sz="1535" kern="1200">
                <a:solidFill>
                  <a:schemeClr val="tx1"/>
                </a:solidFill>
                <a:latin typeface="+mn-lt"/>
                <a:ea typeface="+mn-ea"/>
                <a:cs typeface="+mn-cs"/>
              </a:defRPr>
            </a:lvl1pPr>
            <a:lvl2pPr marL="389763" algn="l" defTabSz="779526" rtl="0" eaLnBrk="1" latinLnBrk="0" hangingPunct="1">
              <a:defRPr sz="1535" kern="1200">
                <a:solidFill>
                  <a:schemeClr val="tx1"/>
                </a:solidFill>
                <a:latin typeface="+mn-lt"/>
                <a:ea typeface="+mn-ea"/>
                <a:cs typeface="+mn-cs"/>
              </a:defRPr>
            </a:lvl2pPr>
            <a:lvl3pPr marL="779526" algn="l" defTabSz="779526" rtl="0" eaLnBrk="1" latinLnBrk="0" hangingPunct="1">
              <a:defRPr sz="1535" kern="1200">
                <a:solidFill>
                  <a:schemeClr val="tx1"/>
                </a:solidFill>
                <a:latin typeface="+mn-lt"/>
                <a:ea typeface="+mn-ea"/>
                <a:cs typeface="+mn-cs"/>
              </a:defRPr>
            </a:lvl3pPr>
            <a:lvl4pPr marL="1169289" algn="l" defTabSz="779526" rtl="0" eaLnBrk="1" latinLnBrk="0" hangingPunct="1">
              <a:defRPr sz="1535" kern="1200">
                <a:solidFill>
                  <a:schemeClr val="tx1"/>
                </a:solidFill>
                <a:latin typeface="+mn-lt"/>
                <a:ea typeface="+mn-ea"/>
                <a:cs typeface="+mn-cs"/>
              </a:defRPr>
            </a:lvl4pPr>
            <a:lvl5pPr marL="1559052" algn="l" defTabSz="779526" rtl="0" eaLnBrk="1" latinLnBrk="0" hangingPunct="1">
              <a:defRPr sz="1535" kern="1200">
                <a:solidFill>
                  <a:schemeClr val="tx1"/>
                </a:solidFill>
                <a:latin typeface="+mn-lt"/>
                <a:ea typeface="+mn-ea"/>
                <a:cs typeface="+mn-cs"/>
              </a:defRPr>
            </a:lvl5pPr>
            <a:lvl6pPr marL="1948815" algn="l" defTabSz="779526" rtl="0" eaLnBrk="1" latinLnBrk="0" hangingPunct="1">
              <a:defRPr sz="1535" kern="1200">
                <a:solidFill>
                  <a:schemeClr val="tx1"/>
                </a:solidFill>
                <a:latin typeface="+mn-lt"/>
                <a:ea typeface="+mn-ea"/>
                <a:cs typeface="+mn-cs"/>
              </a:defRPr>
            </a:lvl6pPr>
            <a:lvl7pPr marL="2338578" algn="l" defTabSz="779526" rtl="0" eaLnBrk="1" latinLnBrk="0" hangingPunct="1">
              <a:defRPr sz="1535" kern="1200">
                <a:solidFill>
                  <a:schemeClr val="tx1"/>
                </a:solidFill>
                <a:latin typeface="+mn-lt"/>
                <a:ea typeface="+mn-ea"/>
                <a:cs typeface="+mn-cs"/>
              </a:defRPr>
            </a:lvl7pPr>
            <a:lvl8pPr marL="2728341" algn="l" defTabSz="779526" rtl="0" eaLnBrk="1" latinLnBrk="0" hangingPunct="1">
              <a:defRPr sz="1535" kern="1200">
                <a:solidFill>
                  <a:schemeClr val="tx1"/>
                </a:solidFill>
                <a:latin typeface="+mn-lt"/>
                <a:ea typeface="+mn-ea"/>
                <a:cs typeface="+mn-cs"/>
              </a:defRPr>
            </a:lvl8pPr>
            <a:lvl9pPr marL="3118104" algn="l" defTabSz="779526" rtl="0" eaLnBrk="1" latinLnBrk="0" hangingPunct="1">
              <a:defRPr sz="1535" kern="1200">
                <a:solidFill>
                  <a:schemeClr val="tx1"/>
                </a:solidFill>
                <a:latin typeface="+mn-lt"/>
                <a:ea typeface="+mn-ea"/>
                <a:cs typeface="+mn-cs"/>
              </a:defRPr>
            </a:lvl9pPr>
          </a:lstStyle>
          <a:p>
            <a:pPr algn="ctr" fontAlgn="auto">
              <a:spcBef>
                <a:spcPct val="50000"/>
              </a:spcBef>
              <a:spcAft>
                <a:spcPts val="0"/>
              </a:spcAft>
              <a:buClr>
                <a:srgbClr val="0084C2"/>
              </a:buClr>
              <a:buSzPct val="130000"/>
              <a:buFont typeface="Arial" pitchFamily="34" charset="0"/>
              <a:buNone/>
              <a:defRPr/>
            </a:pPr>
            <a:endParaRPr lang="de-DE" sz="1152">
              <a:solidFill>
                <a:schemeClr val="tx1"/>
              </a:solidFill>
            </a:endParaRPr>
          </a:p>
        </p:txBody>
      </p:sp>
      <p:sp>
        <p:nvSpPr>
          <p:cNvPr id="16" name="Freihandform 15"/>
          <p:cNvSpPr/>
          <p:nvPr/>
        </p:nvSpPr>
        <p:spPr>
          <a:xfrm>
            <a:off x="1983568" y="732913"/>
            <a:ext cx="1302558" cy="781773"/>
          </a:xfrm>
          <a:custGeom>
            <a:avLst/>
            <a:gdLst>
              <a:gd name="connsiteX0" fmla="*/ 0 w 1734839"/>
              <a:gd name="connsiteY0" fmla="*/ 104090 h 1040903"/>
              <a:gd name="connsiteX1" fmla="*/ 104090 w 1734839"/>
              <a:gd name="connsiteY1" fmla="*/ 0 h 1040903"/>
              <a:gd name="connsiteX2" fmla="*/ 1630749 w 1734839"/>
              <a:gd name="connsiteY2" fmla="*/ 0 h 1040903"/>
              <a:gd name="connsiteX3" fmla="*/ 1734839 w 1734839"/>
              <a:gd name="connsiteY3" fmla="*/ 104090 h 1040903"/>
              <a:gd name="connsiteX4" fmla="*/ 1734839 w 1734839"/>
              <a:gd name="connsiteY4" fmla="*/ 936813 h 1040903"/>
              <a:gd name="connsiteX5" fmla="*/ 1630749 w 1734839"/>
              <a:gd name="connsiteY5" fmla="*/ 1040903 h 1040903"/>
              <a:gd name="connsiteX6" fmla="*/ 104090 w 1734839"/>
              <a:gd name="connsiteY6" fmla="*/ 1040903 h 1040903"/>
              <a:gd name="connsiteX7" fmla="*/ 0 w 1734839"/>
              <a:gd name="connsiteY7" fmla="*/ 936813 h 1040903"/>
              <a:gd name="connsiteX8" fmla="*/ 0 w 1734839"/>
              <a:gd name="connsiteY8" fmla="*/ 104090 h 1040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34839" h="1040903">
                <a:moveTo>
                  <a:pt x="0" y="104090"/>
                </a:moveTo>
                <a:cubicBezTo>
                  <a:pt x="0" y="46603"/>
                  <a:pt x="46603" y="0"/>
                  <a:pt x="104090" y="0"/>
                </a:cubicBezTo>
                <a:lnTo>
                  <a:pt x="1630749" y="0"/>
                </a:lnTo>
                <a:cubicBezTo>
                  <a:pt x="1688236" y="0"/>
                  <a:pt x="1734839" y="46603"/>
                  <a:pt x="1734839" y="104090"/>
                </a:cubicBezTo>
                <a:lnTo>
                  <a:pt x="1734839" y="936813"/>
                </a:lnTo>
                <a:cubicBezTo>
                  <a:pt x="1734839" y="994300"/>
                  <a:pt x="1688236" y="1040903"/>
                  <a:pt x="1630749" y="1040903"/>
                </a:cubicBezTo>
                <a:lnTo>
                  <a:pt x="104090" y="1040903"/>
                </a:lnTo>
                <a:cubicBezTo>
                  <a:pt x="46603" y="1040903"/>
                  <a:pt x="0" y="994300"/>
                  <a:pt x="0" y="936813"/>
                </a:cubicBezTo>
                <a:lnTo>
                  <a:pt x="0" y="10409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94390" tIns="94390" rIns="94390" bIns="94390" spcCol="1270" anchor="ctr"/>
          <a:lstStyle>
            <a:defPPr>
              <a:defRPr lang="de-DE"/>
            </a:defPPr>
            <a:lvl1pPr marL="0" algn="l" defTabSz="779526" rtl="0" eaLnBrk="1" latinLnBrk="0" hangingPunct="1">
              <a:defRPr sz="1535" kern="1200">
                <a:solidFill>
                  <a:schemeClr val="tx1"/>
                </a:solidFill>
                <a:latin typeface="+mn-lt"/>
                <a:ea typeface="+mn-ea"/>
                <a:cs typeface="+mn-cs"/>
              </a:defRPr>
            </a:lvl1pPr>
            <a:lvl2pPr marL="389763" algn="l" defTabSz="779526" rtl="0" eaLnBrk="1" latinLnBrk="0" hangingPunct="1">
              <a:defRPr sz="1535" kern="1200">
                <a:solidFill>
                  <a:schemeClr val="tx1"/>
                </a:solidFill>
                <a:latin typeface="+mn-lt"/>
                <a:ea typeface="+mn-ea"/>
                <a:cs typeface="+mn-cs"/>
              </a:defRPr>
            </a:lvl2pPr>
            <a:lvl3pPr marL="779526" algn="l" defTabSz="779526" rtl="0" eaLnBrk="1" latinLnBrk="0" hangingPunct="1">
              <a:defRPr sz="1535" kern="1200">
                <a:solidFill>
                  <a:schemeClr val="tx1"/>
                </a:solidFill>
                <a:latin typeface="+mn-lt"/>
                <a:ea typeface="+mn-ea"/>
                <a:cs typeface="+mn-cs"/>
              </a:defRPr>
            </a:lvl3pPr>
            <a:lvl4pPr marL="1169289" algn="l" defTabSz="779526" rtl="0" eaLnBrk="1" latinLnBrk="0" hangingPunct="1">
              <a:defRPr sz="1535" kern="1200">
                <a:solidFill>
                  <a:schemeClr val="tx1"/>
                </a:solidFill>
                <a:latin typeface="+mn-lt"/>
                <a:ea typeface="+mn-ea"/>
                <a:cs typeface="+mn-cs"/>
              </a:defRPr>
            </a:lvl4pPr>
            <a:lvl5pPr marL="1559052" algn="l" defTabSz="779526" rtl="0" eaLnBrk="1" latinLnBrk="0" hangingPunct="1">
              <a:defRPr sz="1535" kern="1200">
                <a:solidFill>
                  <a:schemeClr val="tx1"/>
                </a:solidFill>
                <a:latin typeface="+mn-lt"/>
                <a:ea typeface="+mn-ea"/>
                <a:cs typeface="+mn-cs"/>
              </a:defRPr>
            </a:lvl5pPr>
            <a:lvl6pPr marL="1948815" algn="l" defTabSz="779526" rtl="0" eaLnBrk="1" latinLnBrk="0" hangingPunct="1">
              <a:defRPr sz="1535" kern="1200">
                <a:solidFill>
                  <a:schemeClr val="tx1"/>
                </a:solidFill>
                <a:latin typeface="+mn-lt"/>
                <a:ea typeface="+mn-ea"/>
                <a:cs typeface="+mn-cs"/>
              </a:defRPr>
            </a:lvl6pPr>
            <a:lvl7pPr marL="2338578" algn="l" defTabSz="779526" rtl="0" eaLnBrk="1" latinLnBrk="0" hangingPunct="1">
              <a:defRPr sz="1535" kern="1200">
                <a:solidFill>
                  <a:schemeClr val="tx1"/>
                </a:solidFill>
                <a:latin typeface="+mn-lt"/>
                <a:ea typeface="+mn-ea"/>
                <a:cs typeface="+mn-cs"/>
              </a:defRPr>
            </a:lvl7pPr>
            <a:lvl8pPr marL="2728341" algn="l" defTabSz="779526" rtl="0" eaLnBrk="1" latinLnBrk="0" hangingPunct="1">
              <a:defRPr sz="1535" kern="1200">
                <a:solidFill>
                  <a:schemeClr val="tx1"/>
                </a:solidFill>
                <a:latin typeface="+mn-lt"/>
                <a:ea typeface="+mn-ea"/>
                <a:cs typeface="+mn-cs"/>
              </a:defRPr>
            </a:lvl8pPr>
            <a:lvl9pPr marL="3118104" algn="l" defTabSz="779526" rtl="0" eaLnBrk="1" latinLnBrk="0" hangingPunct="1">
              <a:defRPr sz="1535" kern="1200">
                <a:solidFill>
                  <a:schemeClr val="tx1"/>
                </a:solidFill>
                <a:latin typeface="+mn-lt"/>
                <a:ea typeface="+mn-ea"/>
                <a:cs typeface="+mn-cs"/>
              </a:defRPr>
            </a:lvl9pPr>
          </a:lstStyle>
          <a:p>
            <a:pPr algn="ctr" defTabSz="834215">
              <a:lnSpc>
                <a:spcPct val="90000"/>
              </a:lnSpc>
              <a:spcAft>
                <a:spcPct val="35000"/>
              </a:spcAft>
              <a:defRPr/>
            </a:pPr>
            <a:r>
              <a:rPr lang="de-DE" sz="1877" err="1"/>
              <a:t>Upstream</a:t>
            </a:r>
            <a:endParaRPr lang="de-DE" sz="1877"/>
          </a:p>
        </p:txBody>
      </p:sp>
      <p:sp>
        <p:nvSpPr>
          <p:cNvPr id="17" name="Freihandform 16"/>
          <p:cNvSpPr/>
          <p:nvPr/>
        </p:nvSpPr>
        <p:spPr>
          <a:xfrm rot="23118">
            <a:off x="3418408" y="968874"/>
            <a:ext cx="278864" cy="322958"/>
          </a:xfrm>
          <a:custGeom>
            <a:avLst/>
            <a:gdLst>
              <a:gd name="connsiteX0" fmla="*/ 0 w 372632"/>
              <a:gd name="connsiteY0" fmla="*/ 86048 h 430240"/>
              <a:gd name="connsiteX1" fmla="*/ 186316 w 372632"/>
              <a:gd name="connsiteY1" fmla="*/ 86048 h 430240"/>
              <a:gd name="connsiteX2" fmla="*/ 186316 w 372632"/>
              <a:gd name="connsiteY2" fmla="*/ 0 h 430240"/>
              <a:gd name="connsiteX3" fmla="*/ 372632 w 372632"/>
              <a:gd name="connsiteY3" fmla="*/ 215120 h 430240"/>
              <a:gd name="connsiteX4" fmla="*/ 186316 w 372632"/>
              <a:gd name="connsiteY4" fmla="*/ 430240 h 430240"/>
              <a:gd name="connsiteX5" fmla="*/ 186316 w 372632"/>
              <a:gd name="connsiteY5" fmla="*/ 344192 h 430240"/>
              <a:gd name="connsiteX6" fmla="*/ 0 w 372632"/>
              <a:gd name="connsiteY6" fmla="*/ 344192 h 430240"/>
              <a:gd name="connsiteX7" fmla="*/ 0 w 372632"/>
              <a:gd name="connsiteY7" fmla="*/ 86048 h 430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2632" h="430240">
                <a:moveTo>
                  <a:pt x="0" y="86048"/>
                </a:moveTo>
                <a:lnTo>
                  <a:pt x="186316" y="86048"/>
                </a:lnTo>
                <a:lnTo>
                  <a:pt x="186316" y="0"/>
                </a:lnTo>
                <a:lnTo>
                  <a:pt x="372632" y="215120"/>
                </a:lnTo>
                <a:lnTo>
                  <a:pt x="186316" y="430240"/>
                </a:lnTo>
                <a:lnTo>
                  <a:pt x="186316" y="344192"/>
                </a:lnTo>
                <a:lnTo>
                  <a:pt x="0" y="344192"/>
                </a:lnTo>
                <a:lnTo>
                  <a:pt x="0" y="86048"/>
                </a:lnTo>
                <a:close/>
              </a:path>
            </a:pathLst>
          </a:custGeom>
          <a:solidFill>
            <a:schemeClr val="accent1"/>
          </a:solidFill>
        </p:spPr>
        <p:style>
          <a:lnRef idx="0">
            <a:schemeClr val="accent1">
              <a:tint val="60000"/>
              <a:hueOff val="0"/>
              <a:satOff val="0"/>
              <a:lumOff val="0"/>
              <a:alphaOff val="0"/>
            </a:schemeClr>
          </a:lnRef>
          <a:fillRef idx="1">
            <a:scrgbClr r="0" g="0" b="0"/>
          </a:fillRef>
          <a:effectRef idx="0">
            <a:schemeClr val="accent1">
              <a:tint val="60000"/>
              <a:hueOff val="0"/>
              <a:satOff val="0"/>
              <a:lumOff val="0"/>
              <a:alphaOff val="0"/>
            </a:schemeClr>
          </a:effectRef>
          <a:fontRef idx="minor">
            <a:schemeClr val="lt1"/>
          </a:fontRef>
        </p:style>
        <p:txBody>
          <a:bodyPr lIns="-1" tIns="64595" rIns="83920" bIns="64596" spcCol="1270" anchor="ctr"/>
          <a:lstStyle>
            <a:defPPr>
              <a:defRPr lang="de-DE"/>
            </a:defPPr>
            <a:lvl1pPr marL="0" algn="l" defTabSz="779526" rtl="0" eaLnBrk="1" latinLnBrk="0" hangingPunct="1">
              <a:defRPr sz="1535" kern="1200">
                <a:solidFill>
                  <a:schemeClr val="tx1"/>
                </a:solidFill>
                <a:latin typeface="+mn-lt"/>
                <a:ea typeface="+mn-ea"/>
                <a:cs typeface="+mn-cs"/>
              </a:defRPr>
            </a:lvl1pPr>
            <a:lvl2pPr marL="389763" algn="l" defTabSz="779526" rtl="0" eaLnBrk="1" latinLnBrk="0" hangingPunct="1">
              <a:defRPr sz="1535" kern="1200">
                <a:solidFill>
                  <a:schemeClr val="tx1"/>
                </a:solidFill>
                <a:latin typeface="+mn-lt"/>
                <a:ea typeface="+mn-ea"/>
                <a:cs typeface="+mn-cs"/>
              </a:defRPr>
            </a:lvl2pPr>
            <a:lvl3pPr marL="779526" algn="l" defTabSz="779526" rtl="0" eaLnBrk="1" latinLnBrk="0" hangingPunct="1">
              <a:defRPr sz="1535" kern="1200">
                <a:solidFill>
                  <a:schemeClr val="tx1"/>
                </a:solidFill>
                <a:latin typeface="+mn-lt"/>
                <a:ea typeface="+mn-ea"/>
                <a:cs typeface="+mn-cs"/>
              </a:defRPr>
            </a:lvl3pPr>
            <a:lvl4pPr marL="1169289" algn="l" defTabSz="779526" rtl="0" eaLnBrk="1" latinLnBrk="0" hangingPunct="1">
              <a:defRPr sz="1535" kern="1200">
                <a:solidFill>
                  <a:schemeClr val="tx1"/>
                </a:solidFill>
                <a:latin typeface="+mn-lt"/>
                <a:ea typeface="+mn-ea"/>
                <a:cs typeface="+mn-cs"/>
              </a:defRPr>
            </a:lvl4pPr>
            <a:lvl5pPr marL="1559052" algn="l" defTabSz="779526" rtl="0" eaLnBrk="1" latinLnBrk="0" hangingPunct="1">
              <a:defRPr sz="1535" kern="1200">
                <a:solidFill>
                  <a:schemeClr val="tx1"/>
                </a:solidFill>
                <a:latin typeface="+mn-lt"/>
                <a:ea typeface="+mn-ea"/>
                <a:cs typeface="+mn-cs"/>
              </a:defRPr>
            </a:lvl5pPr>
            <a:lvl6pPr marL="1948815" algn="l" defTabSz="779526" rtl="0" eaLnBrk="1" latinLnBrk="0" hangingPunct="1">
              <a:defRPr sz="1535" kern="1200">
                <a:solidFill>
                  <a:schemeClr val="tx1"/>
                </a:solidFill>
                <a:latin typeface="+mn-lt"/>
                <a:ea typeface="+mn-ea"/>
                <a:cs typeface="+mn-cs"/>
              </a:defRPr>
            </a:lvl6pPr>
            <a:lvl7pPr marL="2338578" algn="l" defTabSz="779526" rtl="0" eaLnBrk="1" latinLnBrk="0" hangingPunct="1">
              <a:defRPr sz="1535" kern="1200">
                <a:solidFill>
                  <a:schemeClr val="tx1"/>
                </a:solidFill>
                <a:latin typeface="+mn-lt"/>
                <a:ea typeface="+mn-ea"/>
                <a:cs typeface="+mn-cs"/>
              </a:defRPr>
            </a:lvl7pPr>
            <a:lvl8pPr marL="2728341" algn="l" defTabSz="779526" rtl="0" eaLnBrk="1" latinLnBrk="0" hangingPunct="1">
              <a:defRPr sz="1535" kern="1200">
                <a:solidFill>
                  <a:schemeClr val="tx1"/>
                </a:solidFill>
                <a:latin typeface="+mn-lt"/>
                <a:ea typeface="+mn-ea"/>
                <a:cs typeface="+mn-cs"/>
              </a:defRPr>
            </a:lvl8pPr>
            <a:lvl9pPr marL="3118104" algn="l" defTabSz="779526" rtl="0" eaLnBrk="1" latinLnBrk="0" hangingPunct="1">
              <a:defRPr sz="1535" kern="1200">
                <a:solidFill>
                  <a:schemeClr val="tx1"/>
                </a:solidFill>
                <a:latin typeface="+mn-lt"/>
                <a:ea typeface="+mn-ea"/>
                <a:cs typeface="+mn-cs"/>
              </a:defRPr>
            </a:lvl9pPr>
          </a:lstStyle>
          <a:p>
            <a:pPr algn="ctr" defTabSz="667372">
              <a:lnSpc>
                <a:spcPct val="90000"/>
              </a:lnSpc>
              <a:spcAft>
                <a:spcPct val="35000"/>
              </a:spcAft>
              <a:defRPr/>
            </a:pPr>
            <a:endParaRPr lang="de-DE" sz="1501"/>
          </a:p>
        </p:txBody>
      </p:sp>
      <p:sp>
        <p:nvSpPr>
          <p:cNvPr id="18" name="Freihandform 17"/>
          <p:cNvSpPr/>
          <p:nvPr/>
        </p:nvSpPr>
        <p:spPr>
          <a:xfrm>
            <a:off x="3814062" y="746021"/>
            <a:ext cx="1302558" cy="780582"/>
          </a:xfrm>
          <a:custGeom>
            <a:avLst/>
            <a:gdLst>
              <a:gd name="connsiteX0" fmla="*/ 0 w 1734839"/>
              <a:gd name="connsiteY0" fmla="*/ 104090 h 1040903"/>
              <a:gd name="connsiteX1" fmla="*/ 104090 w 1734839"/>
              <a:gd name="connsiteY1" fmla="*/ 0 h 1040903"/>
              <a:gd name="connsiteX2" fmla="*/ 1630749 w 1734839"/>
              <a:gd name="connsiteY2" fmla="*/ 0 h 1040903"/>
              <a:gd name="connsiteX3" fmla="*/ 1734839 w 1734839"/>
              <a:gd name="connsiteY3" fmla="*/ 104090 h 1040903"/>
              <a:gd name="connsiteX4" fmla="*/ 1734839 w 1734839"/>
              <a:gd name="connsiteY4" fmla="*/ 936813 h 1040903"/>
              <a:gd name="connsiteX5" fmla="*/ 1630749 w 1734839"/>
              <a:gd name="connsiteY5" fmla="*/ 1040903 h 1040903"/>
              <a:gd name="connsiteX6" fmla="*/ 104090 w 1734839"/>
              <a:gd name="connsiteY6" fmla="*/ 1040903 h 1040903"/>
              <a:gd name="connsiteX7" fmla="*/ 0 w 1734839"/>
              <a:gd name="connsiteY7" fmla="*/ 936813 h 1040903"/>
              <a:gd name="connsiteX8" fmla="*/ 0 w 1734839"/>
              <a:gd name="connsiteY8" fmla="*/ 104090 h 1040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34839" h="1040903">
                <a:moveTo>
                  <a:pt x="0" y="104090"/>
                </a:moveTo>
                <a:cubicBezTo>
                  <a:pt x="0" y="46603"/>
                  <a:pt x="46603" y="0"/>
                  <a:pt x="104090" y="0"/>
                </a:cubicBezTo>
                <a:lnTo>
                  <a:pt x="1630749" y="0"/>
                </a:lnTo>
                <a:cubicBezTo>
                  <a:pt x="1688236" y="0"/>
                  <a:pt x="1734839" y="46603"/>
                  <a:pt x="1734839" y="104090"/>
                </a:cubicBezTo>
                <a:lnTo>
                  <a:pt x="1734839" y="936813"/>
                </a:lnTo>
                <a:cubicBezTo>
                  <a:pt x="1734839" y="994300"/>
                  <a:pt x="1688236" y="1040903"/>
                  <a:pt x="1630749" y="1040903"/>
                </a:cubicBezTo>
                <a:lnTo>
                  <a:pt x="104090" y="1040903"/>
                </a:lnTo>
                <a:cubicBezTo>
                  <a:pt x="46603" y="1040903"/>
                  <a:pt x="0" y="994300"/>
                  <a:pt x="0" y="936813"/>
                </a:cubicBezTo>
                <a:lnTo>
                  <a:pt x="0" y="10409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94390" tIns="94390" rIns="94390" bIns="94390" spcCol="1270" anchor="ctr"/>
          <a:lstStyle>
            <a:defPPr>
              <a:defRPr lang="de-DE"/>
            </a:defPPr>
            <a:lvl1pPr marL="0" algn="l" defTabSz="779526" rtl="0" eaLnBrk="1" latinLnBrk="0" hangingPunct="1">
              <a:defRPr sz="1535" kern="1200">
                <a:solidFill>
                  <a:schemeClr val="tx1"/>
                </a:solidFill>
                <a:latin typeface="+mn-lt"/>
                <a:ea typeface="+mn-ea"/>
                <a:cs typeface="+mn-cs"/>
              </a:defRPr>
            </a:lvl1pPr>
            <a:lvl2pPr marL="389763" algn="l" defTabSz="779526" rtl="0" eaLnBrk="1" latinLnBrk="0" hangingPunct="1">
              <a:defRPr sz="1535" kern="1200">
                <a:solidFill>
                  <a:schemeClr val="tx1"/>
                </a:solidFill>
                <a:latin typeface="+mn-lt"/>
                <a:ea typeface="+mn-ea"/>
                <a:cs typeface="+mn-cs"/>
              </a:defRPr>
            </a:lvl2pPr>
            <a:lvl3pPr marL="779526" algn="l" defTabSz="779526" rtl="0" eaLnBrk="1" latinLnBrk="0" hangingPunct="1">
              <a:defRPr sz="1535" kern="1200">
                <a:solidFill>
                  <a:schemeClr val="tx1"/>
                </a:solidFill>
                <a:latin typeface="+mn-lt"/>
                <a:ea typeface="+mn-ea"/>
                <a:cs typeface="+mn-cs"/>
              </a:defRPr>
            </a:lvl3pPr>
            <a:lvl4pPr marL="1169289" algn="l" defTabSz="779526" rtl="0" eaLnBrk="1" latinLnBrk="0" hangingPunct="1">
              <a:defRPr sz="1535" kern="1200">
                <a:solidFill>
                  <a:schemeClr val="tx1"/>
                </a:solidFill>
                <a:latin typeface="+mn-lt"/>
                <a:ea typeface="+mn-ea"/>
                <a:cs typeface="+mn-cs"/>
              </a:defRPr>
            </a:lvl4pPr>
            <a:lvl5pPr marL="1559052" algn="l" defTabSz="779526" rtl="0" eaLnBrk="1" latinLnBrk="0" hangingPunct="1">
              <a:defRPr sz="1535" kern="1200">
                <a:solidFill>
                  <a:schemeClr val="tx1"/>
                </a:solidFill>
                <a:latin typeface="+mn-lt"/>
                <a:ea typeface="+mn-ea"/>
                <a:cs typeface="+mn-cs"/>
              </a:defRPr>
            </a:lvl5pPr>
            <a:lvl6pPr marL="1948815" algn="l" defTabSz="779526" rtl="0" eaLnBrk="1" latinLnBrk="0" hangingPunct="1">
              <a:defRPr sz="1535" kern="1200">
                <a:solidFill>
                  <a:schemeClr val="tx1"/>
                </a:solidFill>
                <a:latin typeface="+mn-lt"/>
                <a:ea typeface="+mn-ea"/>
                <a:cs typeface="+mn-cs"/>
              </a:defRPr>
            </a:lvl6pPr>
            <a:lvl7pPr marL="2338578" algn="l" defTabSz="779526" rtl="0" eaLnBrk="1" latinLnBrk="0" hangingPunct="1">
              <a:defRPr sz="1535" kern="1200">
                <a:solidFill>
                  <a:schemeClr val="tx1"/>
                </a:solidFill>
                <a:latin typeface="+mn-lt"/>
                <a:ea typeface="+mn-ea"/>
                <a:cs typeface="+mn-cs"/>
              </a:defRPr>
            </a:lvl7pPr>
            <a:lvl8pPr marL="2728341" algn="l" defTabSz="779526" rtl="0" eaLnBrk="1" latinLnBrk="0" hangingPunct="1">
              <a:defRPr sz="1535" kern="1200">
                <a:solidFill>
                  <a:schemeClr val="tx1"/>
                </a:solidFill>
                <a:latin typeface="+mn-lt"/>
                <a:ea typeface="+mn-ea"/>
                <a:cs typeface="+mn-cs"/>
              </a:defRPr>
            </a:lvl8pPr>
            <a:lvl9pPr marL="3118104" algn="l" defTabSz="779526" rtl="0" eaLnBrk="1" latinLnBrk="0" hangingPunct="1">
              <a:defRPr sz="1535" kern="1200">
                <a:solidFill>
                  <a:schemeClr val="tx1"/>
                </a:solidFill>
                <a:latin typeface="+mn-lt"/>
                <a:ea typeface="+mn-ea"/>
                <a:cs typeface="+mn-cs"/>
              </a:defRPr>
            </a:lvl9pPr>
          </a:lstStyle>
          <a:p>
            <a:pPr algn="ctr" defTabSz="834215">
              <a:lnSpc>
                <a:spcPct val="90000"/>
              </a:lnSpc>
              <a:spcAft>
                <a:spcPct val="35000"/>
              </a:spcAft>
              <a:defRPr/>
            </a:pPr>
            <a:r>
              <a:rPr lang="de-DE" sz="1877" err="1"/>
              <a:t>Midstream</a:t>
            </a:r>
            <a:endParaRPr lang="de-DE" sz="1877"/>
          </a:p>
        </p:txBody>
      </p:sp>
      <p:sp>
        <p:nvSpPr>
          <p:cNvPr id="19" name="Freihandform 18"/>
          <p:cNvSpPr/>
          <p:nvPr/>
        </p:nvSpPr>
        <p:spPr>
          <a:xfrm rot="21576764">
            <a:off x="5245326" y="952191"/>
            <a:ext cx="275289" cy="355135"/>
          </a:xfrm>
          <a:custGeom>
            <a:avLst/>
            <a:gdLst>
              <a:gd name="connsiteX0" fmla="*/ 0 w 366032"/>
              <a:gd name="connsiteY0" fmla="*/ 94622 h 473109"/>
              <a:gd name="connsiteX1" fmla="*/ 183016 w 366032"/>
              <a:gd name="connsiteY1" fmla="*/ 94622 h 473109"/>
              <a:gd name="connsiteX2" fmla="*/ 183016 w 366032"/>
              <a:gd name="connsiteY2" fmla="*/ 0 h 473109"/>
              <a:gd name="connsiteX3" fmla="*/ 366032 w 366032"/>
              <a:gd name="connsiteY3" fmla="*/ 236555 h 473109"/>
              <a:gd name="connsiteX4" fmla="*/ 183016 w 366032"/>
              <a:gd name="connsiteY4" fmla="*/ 473109 h 473109"/>
              <a:gd name="connsiteX5" fmla="*/ 183016 w 366032"/>
              <a:gd name="connsiteY5" fmla="*/ 378487 h 473109"/>
              <a:gd name="connsiteX6" fmla="*/ 0 w 366032"/>
              <a:gd name="connsiteY6" fmla="*/ 378487 h 473109"/>
              <a:gd name="connsiteX7" fmla="*/ 0 w 366032"/>
              <a:gd name="connsiteY7" fmla="*/ 94622 h 473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6032" h="473109">
                <a:moveTo>
                  <a:pt x="0" y="94622"/>
                </a:moveTo>
                <a:lnTo>
                  <a:pt x="183016" y="94622"/>
                </a:lnTo>
                <a:lnTo>
                  <a:pt x="183016" y="0"/>
                </a:lnTo>
                <a:lnTo>
                  <a:pt x="366032" y="236555"/>
                </a:lnTo>
                <a:lnTo>
                  <a:pt x="183016" y="473109"/>
                </a:lnTo>
                <a:lnTo>
                  <a:pt x="183016" y="378487"/>
                </a:lnTo>
                <a:lnTo>
                  <a:pt x="0" y="378487"/>
                </a:lnTo>
                <a:lnTo>
                  <a:pt x="0" y="94622"/>
                </a:lnTo>
                <a:close/>
              </a:path>
            </a:pathLst>
          </a:custGeom>
          <a:solidFill>
            <a:schemeClr val="accent1"/>
          </a:solidFill>
        </p:spPr>
        <p:style>
          <a:lnRef idx="0">
            <a:schemeClr val="accent1">
              <a:tint val="60000"/>
              <a:hueOff val="0"/>
              <a:satOff val="0"/>
              <a:lumOff val="0"/>
              <a:alphaOff val="0"/>
            </a:schemeClr>
          </a:lnRef>
          <a:fillRef idx="1">
            <a:scrgbClr r="0" g="0" b="0"/>
          </a:fillRef>
          <a:effectRef idx="0">
            <a:schemeClr val="accent1">
              <a:tint val="60000"/>
              <a:hueOff val="0"/>
              <a:satOff val="0"/>
              <a:lumOff val="0"/>
              <a:alphaOff val="0"/>
            </a:schemeClr>
          </a:effectRef>
          <a:fontRef idx="minor">
            <a:schemeClr val="lt1"/>
          </a:fontRef>
        </p:style>
        <p:txBody>
          <a:bodyPr lIns="-1" tIns="71031" rIns="82434" bIns="71032" spcCol="1270" anchor="ctr"/>
          <a:lstStyle>
            <a:defPPr>
              <a:defRPr lang="de-DE"/>
            </a:defPPr>
            <a:lvl1pPr marL="0" algn="l" defTabSz="779526" rtl="0" eaLnBrk="1" latinLnBrk="0" hangingPunct="1">
              <a:defRPr sz="1535" kern="1200">
                <a:solidFill>
                  <a:schemeClr val="tx1"/>
                </a:solidFill>
                <a:latin typeface="+mn-lt"/>
                <a:ea typeface="+mn-ea"/>
                <a:cs typeface="+mn-cs"/>
              </a:defRPr>
            </a:lvl1pPr>
            <a:lvl2pPr marL="389763" algn="l" defTabSz="779526" rtl="0" eaLnBrk="1" latinLnBrk="0" hangingPunct="1">
              <a:defRPr sz="1535" kern="1200">
                <a:solidFill>
                  <a:schemeClr val="tx1"/>
                </a:solidFill>
                <a:latin typeface="+mn-lt"/>
                <a:ea typeface="+mn-ea"/>
                <a:cs typeface="+mn-cs"/>
              </a:defRPr>
            </a:lvl2pPr>
            <a:lvl3pPr marL="779526" algn="l" defTabSz="779526" rtl="0" eaLnBrk="1" latinLnBrk="0" hangingPunct="1">
              <a:defRPr sz="1535" kern="1200">
                <a:solidFill>
                  <a:schemeClr val="tx1"/>
                </a:solidFill>
                <a:latin typeface="+mn-lt"/>
                <a:ea typeface="+mn-ea"/>
                <a:cs typeface="+mn-cs"/>
              </a:defRPr>
            </a:lvl3pPr>
            <a:lvl4pPr marL="1169289" algn="l" defTabSz="779526" rtl="0" eaLnBrk="1" latinLnBrk="0" hangingPunct="1">
              <a:defRPr sz="1535" kern="1200">
                <a:solidFill>
                  <a:schemeClr val="tx1"/>
                </a:solidFill>
                <a:latin typeface="+mn-lt"/>
                <a:ea typeface="+mn-ea"/>
                <a:cs typeface="+mn-cs"/>
              </a:defRPr>
            </a:lvl4pPr>
            <a:lvl5pPr marL="1559052" algn="l" defTabSz="779526" rtl="0" eaLnBrk="1" latinLnBrk="0" hangingPunct="1">
              <a:defRPr sz="1535" kern="1200">
                <a:solidFill>
                  <a:schemeClr val="tx1"/>
                </a:solidFill>
                <a:latin typeface="+mn-lt"/>
                <a:ea typeface="+mn-ea"/>
                <a:cs typeface="+mn-cs"/>
              </a:defRPr>
            </a:lvl5pPr>
            <a:lvl6pPr marL="1948815" algn="l" defTabSz="779526" rtl="0" eaLnBrk="1" latinLnBrk="0" hangingPunct="1">
              <a:defRPr sz="1535" kern="1200">
                <a:solidFill>
                  <a:schemeClr val="tx1"/>
                </a:solidFill>
                <a:latin typeface="+mn-lt"/>
                <a:ea typeface="+mn-ea"/>
                <a:cs typeface="+mn-cs"/>
              </a:defRPr>
            </a:lvl6pPr>
            <a:lvl7pPr marL="2338578" algn="l" defTabSz="779526" rtl="0" eaLnBrk="1" latinLnBrk="0" hangingPunct="1">
              <a:defRPr sz="1535" kern="1200">
                <a:solidFill>
                  <a:schemeClr val="tx1"/>
                </a:solidFill>
                <a:latin typeface="+mn-lt"/>
                <a:ea typeface="+mn-ea"/>
                <a:cs typeface="+mn-cs"/>
              </a:defRPr>
            </a:lvl7pPr>
            <a:lvl8pPr marL="2728341" algn="l" defTabSz="779526" rtl="0" eaLnBrk="1" latinLnBrk="0" hangingPunct="1">
              <a:defRPr sz="1535" kern="1200">
                <a:solidFill>
                  <a:schemeClr val="tx1"/>
                </a:solidFill>
                <a:latin typeface="+mn-lt"/>
                <a:ea typeface="+mn-ea"/>
                <a:cs typeface="+mn-cs"/>
              </a:defRPr>
            </a:lvl8pPr>
            <a:lvl9pPr marL="3118104" algn="l" defTabSz="779526" rtl="0" eaLnBrk="1" latinLnBrk="0" hangingPunct="1">
              <a:defRPr sz="1535" kern="1200">
                <a:solidFill>
                  <a:schemeClr val="tx1"/>
                </a:solidFill>
                <a:latin typeface="+mn-lt"/>
                <a:ea typeface="+mn-ea"/>
                <a:cs typeface="+mn-cs"/>
              </a:defRPr>
            </a:lvl9pPr>
          </a:lstStyle>
          <a:p>
            <a:pPr algn="ctr" defTabSz="667372">
              <a:lnSpc>
                <a:spcPct val="90000"/>
              </a:lnSpc>
              <a:spcAft>
                <a:spcPct val="35000"/>
              </a:spcAft>
              <a:defRPr/>
            </a:pPr>
            <a:endParaRPr lang="de-DE" sz="1501"/>
          </a:p>
        </p:txBody>
      </p:sp>
      <p:sp>
        <p:nvSpPr>
          <p:cNvPr id="20" name="Freihandform 19"/>
          <p:cNvSpPr/>
          <p:nvPr/>
        </p:nvSpPr>
        <p:spPr>
          <a:xfrm>
            <a:off x="5678153" y="743706"/>
            <a:ext cx="1484677" cy="781773"/>
          </a:xfrm>
          <a:custGeom>
            <a:avLst/>
            <a:gdLst>
              <a:gd name="connsiteX0" fmla="*/ 0 w 1734839"/>
              <a:gd name="connsiteY0" fmla="*/ 104090 h 1040903"/>
              <a:gd name="connsiteX1" fmla="*/ 104090 w 1734839"/>
              <a:gd name="connsiteY1" fmla="*/ 0 h 1040903"/>
              <a:gd name="connsiteX2" fmla="*/ 1630749 w 1734839"/>
              <a:gd name="connsiteY2" fmla="*/ 0 h 1040903"/>
              <a:gd name="connsiteX3" fmla="*/ 1734839 w 1734839"/>
              <a:gd name="connsiteY3" fmla="*/ 104090 h 1040903"/>
              <a:gd name="connsiteX4" fmla="*/ 1734839 w 1734839"/>
              <a:gd name="connsiteY4" fmla="*/ 936813 h 1040903"/>
              <a:gd name="connsiteX5" fmla="*/ 1630749 w 1734839"/>
              <a:gd name="connsiteY5" fmla="*/ 1040903 h 1040903"/>
              <a:gd name="connsiteX6" fmla="*/ 104090 w 1734839"/>
              <a:gd name="connsiteY6" fmla="*/ 1040903 h 1040903"/>
              <a:gd name="connsiteX7" fmla="*/ 0 w 1734839"/>
              <a:gd name="connsiteY7" fmla="*/ 936813 h 1040903"/>
              <a:gd name="connsiteX8" fmla="*/ 0 w 1734839"/>
              <a:gd name="connsiteY8" fmla="*/ 104090 h 1040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34839" h="1040903">
                <a:moveTo>
                  <a:pt x="0" y="104090"/>
                </a:moveTo>
                <a:cubicBezTo>
                  <a:pt x="0" y="46603"/>
                  <a:pt x="46603" y="0"/>
                  <a:pt x="104090" y="0"/>
                </a:cubicBezTo>
                <a:lnTo>
                  <a:pt x="1630749" y="0"/>
                </a:lnTo>
                <a:cubicBezTo>
                  <a:pt x="1688236" y="0"/>
                  <a:pt x="1734839" y="46603"/>
                  <a:pt x="1734839" y="104090"/>
                </a:cubicBezTo>
                <a:lnTo>
                  <a:pt x="1734839" y="936813"/>
                </a:lnTo>
                <a:cubicBezTo>
                  <a:pt x="1734839" y="994300"/>
                  <a:pt x="1688236" y="1040903"/>
                  <a:pt x="1630749" y="1040903"/>
                </a:cubicBezTo>
                <a:lnTo>
                  <a:pt x="104090" y="1040903"/>
                </a:lnTo>
                <a:cubicBezTo>
                  <a:pt x="46603" y="1040903"/>
                  <a:pt x="0" y="994300"/>
                  <a:pt x="0" y="936813"/>
                </a:cubicBezTo>
                <a:lnTo>
                  <a:pt x="0" y="10409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94390" tIns="94390" rIns="94390" bIns="94390" spcCol="1270" anchor="ctr"/>
          <a:lstStyle>
            <a:defPPr>
              <a:defRPr lang="de-DE"/>
            </a:defPPr>
            <a:lvl1pPr marL="0" algn="l" defTabSz="779526" rtl="0" eaLnBrk="1" latinLnBrk="0" hangingPunct="1">
              <a:defRPr sz="1535" kern="1200">
                <a:solidFill>
                  <a:schemeClr val="tx1"/>
                </a:solidFill>
                <a:latin typeface="+mn-lt"/>
                <a:ea typeface="+mn-ea"/>
                <a:cs typeface="+mn-cs"/>
              </a:defRPr>
            </a:lvl1pPr>
            <a:lvl2pPr marL="389763" algn="l" defTabSz="779526" rtl="0" eaLnBrk="1" latinLnBrk="0" hangingPunct="1">
              <a:defRPr sz="1535" kern="1200">
                <a:solidFill>
                  <a:schemeClr val="tx1"/>
                </a:solidFill>
                <a:latin typeface="+mn-lt"/>
                <a:ea typeface="+mn-ea"/>
                <a:cs typeface="+mn-cs"/>
              </a:defRPr>
            </a:lvl2pPr>
            <a:lvl3pPr marL="779526" algn="l" defTabSz="779526" rtl="0" eaLnBrk="1" latinLnBrk="0" hangingPunct="1">
              <a:defRPr sz="1535" kern="1200">
                <a:solidFill>
                  <a:schemeClr val="tx1"/>
                </a:solidFill>
                <a:latin typeface="+mn-lt"/>
                <a:ea typeface="+mn-ea"/>
                <a:cs typeface="+mn-cs"/>
              </a:defRPr>
            </a:lvl3pPr>
            <a:lvl4pPr marL="1169289" algn="l" defTabSz="779526" rtl="0" eaLnBrk="1" latinLnBrk="0" hangingPunct="1">
              <a:defRPr sz="1535" kern="1200">
                <a:solidFill>
                  <a:schemeClr val="tx1"/>
                </a:solidFill>
                <a:latin typeface="+mn-lt"/>
                <a:ea typeface="+mn-ea"/>
                <a:cs typeface="+mn-cs"/>
              </a:defRPr>
            </a:lvl4pPr>
            <a:lvl5pPr marL="1559052" algn="l" defTabSz="779526" rtl="0" eaLnBrk="1" latinLnBrk="0" hangingPunct="1">
              <a:defRPr sz="1535" kern="1200">
                <a:solidFill>
                  <a:schemeClr val="tx1"/>
                </a:solidFill>
                <a:latin typeface="+mn-lt"/>
                <a:ea typeface="+mn-ea"/>
                <a:cs typeface="+mn-cs"/>
              </a:defRPr>
            </a:lvl5pPr>
            <a:lvl6pPr marL="1948815" algn="l" defTabSz="779526" rtl="0" eaLnBrk="1" latinLnBrk="0" hangingPunct="1">
              <a:defRPr sz="1535" kern="1200">
                <a:solidFill>
                  <a:schemeClr val="tx1"/>
                </a:solidFill>
                <a:latin typeface="+mn-lt"/>
                <a:ea typeface="+mn-ea"/>
                <a:cs typeface="+mn-cs"/>
              </a:defRPr>
            </a:lvl6pPr>
            <a:lvl7pPr marL="2338578" algn="l" defTabSz="779526" rtl="0" eaLnBrk="1" latinLnBrk="0" hangingPunct="1">
              <a:defRPr sz="1535" kern="1200">
                <a:solidFill>
                  <a:schemeClr val="tx1"/>
                </a:solidFill>
                <a:latin typeface="+mn-lt"/>
                <a:ea typeface="+mn-ea"/>
                <a:cs typeface="+mn-cs"/>
              </a:defRPr>
            </a:lvl7pPr>
            <a:lvl8pPr marL="2728341" algn="l" defTabSz="779526" rtl="0" eaLnBrk="1" latinLnBrk="0" hangingPunct="1">
              <a:defRPr sz="1535" kern="1200">
                <a:solidFill>
                  <a:schemeClr val="tx1"/>
                </a:solidFill>
                <a:latin typeface="+mn-lt"/>
                <a:ea typeface="+mn-ea"/>
                <a:cs typeface="+mn-cs"/>
              </a:defRPr>
            </a:lvl8pPr>
            <a:lvl9pPr marL="3118104" algn="l" defTabSz="779526" rtl="0" eaLnBrk="1" latinLnBrk="0" hangingPunct="1">
              <a:defRPr sz="1535" kern="1200">
                <a:solidFill>
                  <a:schemeClr val="tx1"/>
                </a:solidFill>
                <a:latin typeface="+mn-lt"/>
                <a:ea typeface="+mn-ea"/>
                <a:cs typeface="+mn-cs"/>
              </a:defRPr>
            </a:lvl9pPr>
          </a:lstStyle>
          <a:p>
            <a:pPr algn="ctr" defTabSz="834215">
              <a:lnSpc>
                <a:spcPct val="90000"/>
              </a:lnSpc>
              <a:spcAft>
                <a:spcPct val="35000"/>
              </a:spcAft>
              <a:defRPr/>
            </a:pPr>
            <a:r>
              <a:rPr lang="de-DE" sz="1877"/>
              <a:t>Downstream</a:t>
            </a:r>
          </a:p>
        </p:txBody>
      </p:sp>
      <p:sp>
        <p:nvSpPr>
          <p:cNvPr id="3" name="Freihandform 2"/>
          <p:cNvSpPr/>
          <p:nvPr/>
        </p:nvSpPr>
        <p:spPr>
          <a:xfrm>
            <a:off x="1983569" y="1601682"/>
            <a:ext cx="750788" cy="450473"/>
          </a:xfrm>
          <a:custGeom>
            <a:avLst/>
            <a:gdLst>
              <a:gd name="connsiteX0" fmla="*/ 0 w 999628"/>
              <a:gd name="connsiteY0" fmla="*/ 59978 h 599777"/>
              <a:gd name="connsiteX1" fmla="*/ 59978 w 999628"/>
              <a:gd name="connsiteY1" fmla="*/ 0 h 599777"/>
              <a:gd name="connsiteX2" fmla="*/ 939650 w 999628"/>
              <a:gd name="connsiteY2" fmla="*/ 0 h 599777"/>
              <a:gd name="connsiteX3" fmla="*/ 999628 w 999628"/>
              <a:gd name="connsiteY3" fmla="*/ 59978 h 599777"/>
              <a:gd name="connsiteX4" fmla="*/ 999628 w 999628"/>
              <a:gd name="connsiteY4" fmla="*/ 539799 h 599777"/>
              <a:gd name="connsiteX5" fmla="*/ 939650 w 999628"/>
              <a:gd name="connsiteY5" fmla="*/ 599777 h 599777"/>
              <a:gd name="connsiteX6" fmla="*/ 59978 w 999628"/>
              <a:gd name="connsiteY6" fmla="*/ 599777 h 599777"/>
              <a:gd name="connsiteX7" fmla="*/ 0 w 999628"/>
              <a:gd name="connsiteY7" fmla="*/ 539799 h 599777"/>
              <a:gd name="connsiteX8" fmla="*/ 0 w 999628"/>
              <a:gd name="connsiteY8" fmla="*/ 59978 h 599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9628" h="599777">
                <a:moveTo>
                  <a:pt x="0" y="59978"/>
                </a:moveTo>
                <a:cubicBezTo>
                  <a:pt x="0" y="26853"/>
                  <a:pt x="26853" y="0"/>
                  <a:pt x="59978" y="0"/>
                </a:cubicBezTo>
                <a:lnTo>
                  <a:pt x="939650" y="0"/>
                </a:lnTo>
                <a:cubicBezTo>
                  <a:pt x="972775" y="0"/>
                  <a:pt x="999628" y="26853"/>
                  <a:pt x="999628" y="59978"/>
                </a:cubicBezTo>
                <a:lnTo>
                  <a:pt x="999628" y="539799"/>
                </a:lnTo>
                <a:cubicBezTo>
                  <a:pt x="999628" y="572924"/>
                  <a:pt x="972775" y="599777"/>
                  <a:pt x="939650" y="599777"/>
                </a:cubicBezTo>
                <a:lnTo>
                  <a:pt x="59978" y="599777"/>
                </a:lnTo>
                <a:cubicBezTo>
                  <a:pt x="26853" y="599777"/>
                  <a:pt x="0" y="572924"/>
                  <a:pt x="0" y="539799"/>
                </a:cubicBezTo>
                <a:lnTo>
                  <a:pt x="0" y="59978"/>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53229" tIns="53229" rIns="53229" bIns="53229" spcCol="1270" anchor="ctr"/>
          <a:lstStyle>
            <a:defPPr>
              <a:defRPr lang="de-DE"/>
            </a:defPPr>
            <a:lvl1pPr marL="0" algn="l" defTabSz="779526" rtl="0" eaLnBrk="1" latinLnBrk="0" hangingPunct="1">
              <a:defRPr sz="1535" kern="1200">
                <a:solidFill>
                  <a:schemeClr val="tx1"/>
                </a:solidFill>
                <a:latin typeface="+mn-lt"/>
                <a:ea typeface="+mn-ea"/>
                <a:cs typeface="+mn-cs"/>
              </a:defRPr>
            </a:lvl1pPr>
            <a:lvl2pPr marL="389763" algn="l" defTabSz="779526" rtl="0" eaLnBrk="1" latinLnBrk="0" hangingPunct="1">
              <a:defRPr sz="1535" kern="1200">
                <a:solidFill>
                  <a:schemeClr val="tx1"/>
                </a:solidFill>
                <a:latin typeface="+mn-lt"/>
                <a:ea typeface="+mn-ea"/>
                <a:cs typeface="+mn-cs"/>
              </a:defRPr>
            </a:lvl2pPr>
            <a:lvl3pPr marL="779526" algn="l" defTabSz="779526" rtl="0" eaLnBrk="1" latinLnBrk="0" hangingPunct="1">
              <a:defRPr sz="1535" kern="1200">
                <a:solidFill>
                  <a:schemeClr val="tx1"/>
                </a:solidFill>
                <a:latin typeface="+mn-lt"/>
                <a:ea typeface="+mn-ea"/>
                <a:cs typeface="+mn-cs"/>
              </a:defRPr>
            </a:lvl3pPr>
            <a:lvl4pPr marL="1169289" algn="l" defTabSz="779526" rtl="0" eaLnBrk="1" latinLnBrk="0" hangingPunct="1">
              <a:defRPr sz="1535" kern="1200">
                <a:solidFill>
                  <a:schemeClr val="tx1"/>
                </a:solidFill>
                <a:latin typeface="+mn-lt"/>
                <a:ea typeface="+mn-ea"/>
                <a:cs typeface="+mn-cs"/>
              </a:defRPr>
            </a:lvl4pPr>
            <a:lvl5pPr marL="1559052" algn="l" defTabSz="779526" rtl="0" eaLnBrk="1" latinLnBrk="0" hangingPunct="1">
              <a:defRPr sz="1535" kern="1200">
                <a:solidFill>
                  <a:schemeClr val="tx1"/>
                </a:solidFill>
                <a:latin typeface="+mn-lt"/>
                <a:ea typeface="+mn-ea"/>
                <a:cs typeface="+mn-cs"/>
              </a:defRPr>
            </a:lvl5pPr>
            <a:lvl6pPr marL="1948815" algn="l" defTabSz="779526" rtl="0" eaLnBrk="1" latinLnBrk="0" hangingPunct="1">
              <a:defRPr sz="1535" kern="1200">
                <a:solidFill>
                  <a:schemeClr val="tx1"/>
                </a:solidFill>
                <a:latin typeface="+mn-lt"/>
                <a:ea typeface="+mn-ea"/>
                <a:cs typeface="+mn-cs"/>
              </a:defRPr>
            </a:lvl6pPr>
            <a:lvl7pPr marL="2338578" algn="l" defTabSz="779526" rtl="0" eaLnBrk="1" latinLnBrk="0" hangingPunct="1">
              <a:defRPr sz="1535" kern="1200">
                <a:solidFill>
                  <a:schemeClr val="tx1"/>
                </a:solidFill>
                <a:latin typeface="+mn-lt"/>
                <a:ea typeface="+mn-ea"/>
                <a:cs typeface="+mn-cs"/>
              </a:defRPr>
            </a:lvl7pPr>
            <a:lvl8pPr marL="2728341" algn="l" defTabSz="779526" rtl="0" eaLnBrk="1" latinLnBrk="0" hangingPunct="1">
              <a:defRPr sz="1535" kern="1200">
                <a:solidFill>
                  <a:schemeClr val="tx1"/>
                </a:solidFill>
                <a:latin typeface="+mn-lt"/>
                <a:ea typeface="+mn-ea"/>
                <a:cs typeface="+mn-cs"/>
              </a:defRPr>
            </a:lvl8pPr>
            <a:lvl9pPr marL="3118104" algn="l" defTabSz="779526" rtl="0" eaLnBrk="1" latinLnBrk="0" hangingPunct="1">
              <a:defRPr sz="1535" kern="1200">
                <a:solidFill>
                  <a:schemeClr val="tx1"/>
                </a:solidFill>
                <a:latin typeface="+mn-lt"/>
                <a:ea typeface="+mn-ea"/>
                <a:cs typeface="+mn-cs"/>
              </a:defRPr>
            </a:lvl9pPr>
          </a:lstStyle>
          <a:p>
            <a:pPr algn="ctr" defTabSz="467161">
              <a:lnSpc>
                <a:spcPct val="90000"/>
              </a:lnSpc>
              <a:spcAft>
                <a:spcPct val="35000"/>
              </a:spcAft>
              <a:defRPr/>
            </a:pPr>
            <a:r>
              <a:rPr lang="de-DE" sz="1051" err="1"/>
              <a:t>Production</a:t>
            </a:r>
            <a:endParaRPr lang="de-DE" sz="1051"/>
          </a:p>
        </p:txBody>
      </p:sp>
      <p:sp>
        <p:nvSpPr>
          <p:cNvPr id="6" name="Freihandform 5"/>
          <p:cNvSpPr/>
          <p:nvPr/>
        </p:nvSpPr>
        <p:spPr>
          <a:xfrm rot="23120">
            <a:off x="2809435" y="1737539"/>
            <a:ext cx="162075" cy="185909"/>
          </a:xfrm>
          <a:custGeom>
            <a:avLst/>
            <a:gdLst>
              <a:gd name="connsiteX0" fmla="*/ 0 w 214650"/>
              <a:gd name="connsiteY0" fmla="*/ 49581 h 247907"/>
              <a:gd name="connsiteX1" fmla="*/ 107325 w 214650"/>
              <a:gd name="connsiteY1" fmla="*/ 49581 h 247907"/>
              <a:gd name="connsiteX2" fmla="*/ 107325 w 214650"/>
              <a:gd name="connsiteY2" fmla="*/ 0 h 247907"/>
              <a:gd name="connsiteX3" fmla="*/ 214650 w 214650"/>
              <a:gd name="connsiteY3" fmla="*/ 123954 h 247907"/>
              <a:gd name="connsiteX4" fmla="*/ 107325 w 214650"/>
              <a:gd name="connsiteY4" fmla="*/ 247907 h 247907"/>
              <a:gd name="connsiteX5" fmla="*/ 107325 w 214650"/>
              <a:gd name="connsiteY5" fmla="*/ 198326 h 247907"/>
              <a:gd name="connsiteX6" fmla="*/ 0 w 214650"/>
              <a:gd name="connsiteY6" fmla="*/ 198326 h 247907"/>
              <a:gd name="connsiteX7" fmla="*/ 0 w 214650"/>
              <a:gd name="connsiteY7" fmla="*/ 49581 h 247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4650" h="247907">
                <a:moveTo>
                  <a:pt x="0" y="49581"/>
                </a:moveTo>
                <a:lnTo>
                  <a:pt x="107325" y="49581"/>
                </a:lnTo>
                <a:lnTo>
                  <a:pt x="107325" y="0"/>
                </a:lnTo>
                <a:lnTo>
                  <a:pt x="214650" y="123954"/>
                </a:lnTo>
                <a:lnTo>
                  <a:pt x="107325" y="247907"/>
                </a:lnTo>
                <a:lnTo>
                  <a:pt x="107325" y="198326"/>
                </a:lnTo>
                <a:lnTo>
                  <a:pt x="0" y="198326"/>
                </a:lnTo>
                <a:lnTo>
                  <a:pt x="0" y="49581"/>
                </a:lnTo>
                <a:close/>
              </a:path>
            </a:pathLst>
          </a:custGeom>
          <a:solidFill>
            <a:schemeClr val="accent1"/>
          </a:solidFill>
        </p:spPr>
        <p:style>
          <a:lnRef idx="0">
            <a:schemeClr val="accent1">
              <a:tint val="60000"/>
              <a:hueOff val="0"/>
              <a:satOff val="0"/>
              <a:lumOff val="0"/>
              <a:alphaOff val="0"/>
            </a:schemeClr>
          </a:lnRef>
          <a:fillRef idx="1">
            <a:scrgbClr r="0" g="0" b="0"/>
          </a:fillRef>
          <a:effectRef idx="0">
            <a:schemeClr val="accent1">
              <a:tint val="60000"/>
              <a:hueOff val="0"/>
              <a:satOff val="0"/>
              <a:lumOff val="0"/>
              <a:alphaOff val="0"/>
            </a:schemeClr>
          </a:effectRef>
          <a:fontRef idx="minor">
            <a:schemeClr val="lt1"/>
          </a:fontRef>
        </p:style>
        <p:txBody>
          <a:bodyPr lIns="0" tIns="37219" rIns="48340" bIns="37220" spcCol="1270" anchor="ctr"/>
          <a:lstStyle>
            <a:defPPr>
              <a:defRPr lang="de-DE"/>
            </a:defPPr>
            <a:lvl1pPr marL="0" algn="l" defTabSz="779526" rtl="0" eaLnBrk="1" latinLnBrk="0" hangingPunct="1">
              <a:defRPr sz="1535" kern="1200">
                <a:solidFill>
                  <a:schemeClr val="tx1"/>
                </a:solidFill>
                <a:latin typeface="+mn-lt"/>
                <a:ea typeface="+mn-ea"/>
                <a:cs typeface="+mn-cs"/>
              </a:defRPr>
            </a:lvl1pPr>
            <a:lvl2pPr marL="389763" algn="l" defTabSz="779526" rtl="0" eaLnBrk="1" latinLnBrk="0" hangingPunct="1">
              <a:defRPr sz="1535" kern="1200">
                <a:solidFill>
                  <a:schemeClr val="tx1"/>
                </a:solidFill>
                <a:latin typeface="+mn-lt"/>
                <a:ea typeface="+mn-ea"/>
                <a:cs typeface="+mn-cs"/>
              </a:defRPr>
            </a:lvl2pPr>
            <a:lvl3pPr marL="779526" algn="l" defTabSz="779526" rtl="0" eaLnBrk="1" latinLnBrk="0" hangingPunct="1">
              <a:defRPr sz="1535" kern="1200">
                <a:solidFill>
                  <a:schemeClr val="tx1"/>
                </a:solidFill>
                <a:latin typeface="+mn-lt"/>
                <a:ea typeface="+mn-ea"/>
                <a:cs typeface="+mn-cs"/>
              </a:defRPr>
            </a:lvl3pPr>
            <a:lvl4pPr marL="1169289" algn="l" defTabSz="779526" rtl="0" eaLnBrk="1" latinLnBrk="0" hangingPunct="1">
              <a:defRPr sz="1535" kern="1200">
                <a:solidFill>
                  <a:schemeClr val="tx1"/>
                </a:solidFill>
                <a:latin typeface="+mn-lt"/>
                <a:ea typeface="+mn-ea"/>
                <a:cs typeface="+mn-cs"/>
              </a:defRPr>
            </a:lvl4pPr>
            <a:lvl5pPr marL="1559052" algn="l" defTabSz="779526" rtl="0" eaLnBrk="1" latinLnBrk="0" hangingPunct="1">
              <a:defRPr sz="1535" kern="1200">
                <a:solidFill>
                  <a:schemeClr val="tx1"/>
                </a:solidFill>
                <a:latin typeface="+mn-lt"/>
                <a:ea typeface="+mn-ea"/>
                <a:cs typeface="+mn-cs"/>
              </a:defRPr>
            </a:lvl5pPr>
            <a:lvl6pPr marL="1948815" algn="l" defTabSz="779526" rtl="0" eaLnBrk="1" latinLnBrk="0" hangingPunct="1">
              <a:defRPr sz="1535" kern="1200">
                <a:solidFill>
                  <a:schemeClr val="tx1"/>
                </a:solidFill>
                <a:latin typeface="+mn-lt"/>
                <a:ea typeface="+mn-ea"/>
                <a:cs typeface="+mn-cs"/>
              </a:defRPr>
            </a:lvl6pPr>
            <a:lvl7pPr marL="2338578" algn="l" defTabSz="779526" rtl="0" eaLnBrk="1" latinLnBrk="0" hangingPunct="1">
              <a:defRPr sz="1535" kern="1200">
                <a:solidFill>
                  <a:schemeClr val="tx1"/>
                </a:solidFill>
                <a:latin typeface="+mn-lt"/>
                <a:ea typeface="+mn-ea"/>
                <a:cs typeface="+mn-cs"/>
              </a:defRPr>
            </a:lvl7pPr>
            <a:lvl8pPr marL="2728341" algn="l" defTabSz="779526" rtl="0" eaLnBrk="1" latinLnBrk="0" hangingPunct="1">
              <a:defRPr sz="1535" kern="1200">
                <a:solidFill>
                  <a:schemeClr val="tx1"/>
                </a:solidFill>
                <a:latin typeface="+mn-lt"/>
                <a:ea typeface="+mn-ea"/>
                <a:cs typeface="+mn-cs"/>
              </a:defRPr>
            </a:lvl8pPr>
            <a:lvl9pPr marL="3118104" algn="l" defTabSz="779526" rtl="0" eaLnBrk="1" latinLnBrk="0" hangingPunct="1">
              <a:defRPr sz="1535" kern="1200">
                <a:solidFill>
                  <a:schemeClr val="tx1"/>
                </a:solidFill>
                <a:latin typeface="+mn-lt"/>
                <a:ea typeface="+mn-ea"/>
                <a:cs typeface="+mn-cs"/>
              </a:defRPr>
            </a:lvl9pPr>
          </a:lstStyle>
          <a:p>
            <a:pPr algn="ctr" defTabSz="367055">
              <a:lnSpc>
                <a:spcPct val="90000"/>
              </a:lnSpc>
              <a:spcAft>
                <a:spcPct val="35000"/>
              </a:spcAft>
              <a:defRPr/>
            </a:pPr>
            <a:endParaRPr lang="de-DE" sz="826"/>
          </a:p>
        </p:txBody>
      </p:sp>
      <p:sp>
        <p:nvSpPr>
          <p:cNvPr id="7" name="Freihandform 6"/>
          <p:cNvSpPr/>
          <p:nvPr/>
        </p:nvSpPr>
        <p:spPr>
          <a:xfrm>
            <a:off x="3038248" y="1608832"/>
            <a:ext cx="750788" cy="450473"/>
          </a:xfrm>
          <a:custGeom>
            <a:avLst/>
            <a:gdLst>
              <a:gd name="connsiteX0" fmla="*/ 0 w 999628"/>
              <a:gd name="connsiteY0" fmla="*/ 59978 h 599777"/>
              <a:gd name="connsiteX1" fmla="*/ 59978 w 999628"/>
              <a:gd name="connsiteY1" fmla="*/ 0 h 599777"/>
              <a:gd name="connsiteX2" fmla="*/ 939650 w 999628"/>
              <a:gd name="connsiteY2" fmla="*/ 0 h 599777"/>
              <a:gd name="connsiteX3" fmla="*/ 999628 w 999628"/>
              <a:gd name="connsiteY3" fmla="*/ 59978 h 599777"/>
              <a:gd name="connsiteX4" fmla="*/ 999628 w 999628"/>
              <a:gd name="connsiteY4" fmla="*/ 539799 h 599777"/>
              <a:gd name="connsiteX5" fmla="*/ 939650 w 999628"/>
              <a:gd name="connsiteY5" fmla="*/ 599777 h 599777"/>
              <a:gd name="connsiteX6" fmla="*/ 59978 w 999628"/>
              <a:gd name="connsiteY6" fmla="*/ 599777 h 599777"/>
              <a:gd name="connsiteX7" fmla="*/ 0 w 999628"/>
              <a:gd name="connsiteY7" fmla="*/ 539799 h 599777"/>
              <a:gd name="connsiteX8" fmla="*/ 0 w 999628"/>
              <a:gd name="connsiteY8" fmla="*/ 59978 h 599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9628" h="599777">
                <a:moveTo>
                  <a:pt x="0" y="59978"/>
                </a:moveTo>
                <a:cubicBezTo>
                  <a:pt x="0" y="26853"/>
                  <a:pt x="26853" y="0"/>
                  <a:pt x="59978" y="0"/>
                </a:cubicBezTo>
                <a:lnTo>
                  <a:pt x="939650" y="0"/>
                </a:lnTo>
                <a:cubicBezTo>
                  <a:pt x="972775" y="0"/>
                  <a:pt x="999628" y="26853"/>
                  <a:pt x="999628" y="59978"/>
                </a:cubicBezTo>
                <a:lnTo>
                  <a:pt x="999628" y="539799"/>
                </a:lnTo>
                <a:cubicBezTo>
                  <a:pt x="999628" y="572924"/>
                  <a:pt x="972775" y="599777"/>
                  <a:pt x="939650" y="599777"/>
                </a:cubicBezTo>
                <a:lnTo>
                  <a:pt x="59978" y="599777"/>
                </a:lnTo>
                <a:cubicBezTo>
                  <a:pt x="26853" y="599777"/>
                  <a:pt x="0" y="572924"/>
                  <a:pt x="0" y="539799"/>
                </a:cubicBezTo>
                <a:lnTo>
                  <a:pt x="0" y="59978"/>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53229" tIns="53229" rIns="53229" bIns="53229" spcCol="1270" anchor="ctr"/>
          <a:lstStyle>
            <a:defPPr>
              <a:defRPr lang="de-DE"/>
            </a:defPPr>
            <a:lvl1pPr marL="0" algn="l" defTabSz="779526" rtl="0" eaLnBrk="1" latinLnBrk="0" hangingPunct="1">
              <a:defRPr sz="1535" kern="1200">
                <a:solidFill>
                  <a:schemeClr val="tx1"/>
                </a:solidFill>
                <a:latin typeface="+mn-lt"/>
                <a:ea typeface="+mn-ea"/>
                <a:cs typeface="+mn-cs"/>
              </a:defRPr>
            </a:lvl1pPr>
            <a:lvl2pPr marL="389763" algn="l" defTabSz="779526" rtl="0" eaLnBrk="1" latinLnBrk="0" hangingPunct="1">
              <a:defRPr sz="1535" kern="1200">
                <a:solidFill>
                  <a:schemeClr val="tx1"/>
                </a:solidFill>
                <a:latin typeface="+mn-lt"/>
                <a:ea typeface="+mn-ea"/>
                <a:cs typeface="+mn-cs"/>
              </a:defRPr>
            </a:lvl2pPr>
            <a:lvl3pPr marL="779526" algn="l" defTabSz="779526" rtl="0" eaLnBrk="1" latinLnBrk="0" hangingPunct="1">
              <a:defRPr sz="1535" kern="1200">
                <a:solidFill>
                  <a:schemeClr val="tx1"/>
                </a:solidFill>
                <a:latin typeface="+mn-lt"/>
                <a:ea typeface="+mn-ea"/>
                <a:cs typeface="+mn-cs"/>
              </a:defRPr>
            </a:lvl3pPr>
            <a:lvl4pPr marL="1169289" algn="l" defTabSz="779526" rtl="0" eaLnBrk="1" latinLnBrk="0" hangingPunct="1">
              <a:defRPr sz="1535" kern="1200">
                <a:solidFill>
                  <a:schemeClr val="tx1"/>
                </a:solidFill>
                <a:latin typeface="+mn-lt"/>
                <a:ea typeface="+mn-ea"/>
                <a:cs typeface="+mn-cs"/>
              </a:defRPr>
            </a:lvl4pPr>
            <a:lvl5pPr marL="1559052" algn="l" defTabSz="779526" rtl="0" eaLnBrk="1" latinLnBrk="0" hangingPunct="1">
              <a:defRPr sz="1535" kern="1200">
                <a:solidFill>
                  <a:schemeClr val="tx1"/>
                </a:solidFill>
                <a:latin typeface="+mn-lt"/>
                <a:ea typeface="+mn-ea"/>
                <a:cs typeface="+mn-cs"/>
              </a:defRPr>
            </a:lvl5pPr>
            <a:lvl6pPr marL="1948815" algn="l" defTabSz="779526" rtl="0" eaLnBrk="1" latinLnBrk="0" hangingPunct="1">
              <a:defRPr sz="1535" kern="1200">
                <a:solidFill>
                  <a:schemeClr val="tx1"/>
                </a:solidFill>
                <a:latin typeface="+mn-lt"/>
                <a:ea typeface="+mn-ea"/>
                <a:cs typeface="+mn-cs"/>
              </a:defRPr>
            </a:lvl6pPr>
            <a:lvl7pPr marL="2338578" algn="l" defTabSz="779526" rtl="0" eaLnBrk="1" latinLnBrk="0" hangingPunct="1">
              <a:defRPr sz="1535" kern="1200">
                <a:solidFill>
                  <a:schemeClr val="tx1"/>
                </a:solidFill>
                <a:latin typeface="+mn-lt"/>
                <a:ea typeface="+mn-ea"/>
                <a:cs typeface="+mn-cs"/>
              </a:defRPr>
            </a:lvl7pPr>
            <a:lvl8pPr marL="2728341" algn="l" defTabSz="779526" rtl="0" eaLnBrk="1" latinLnBrk="0" hangingPunct="1">
              <a:defRPr sz="1535" kern="1200">
                <a:solidFill>
                  <a:schemeClr val="tx1"/>
                </a:solidFill>
                <a:latin typeface="+mn-lt"/>
                <a:ea typeface="+mn-ea"/>
                <a:cs typeface="+mn-cs"/>
              </a:defRPr>
            </a:lvl8pPr>
            <a:lvl9pPr marL="3118104" algn="l" defTabSz="779526" rtl="0" eaLnBrk="1" latinLnBrk="0" hangingPunct="1">
              <a:defRPr sz="1535" kern="1200">
                <a:solidFill>
                  <a:schemeClr val="tx1"/>
                </a:solidFill>
                <a:latin typeface="+mn-lt"/>
                <a:ea typeface="+mn-ea"/>
                <a:cs typeface="+mn-cs"/>
              </a:defRPr>
            </a:lvl9pPr>
          </a:lstStyle>
          <a:p>
            <a:pPr algn="ctr" defTabSz="467161">
              <a:lnSpc>
                <a:spcPct val="90000"/>
              </a:lnSpc>
              <a:spcAft>
                <a:spcPct val="35000"/>
              </a:spcAft>
              <a:defRPr/>
            </a:pPr>
            <a:r>
              <a:rPr lang="de-DE" sz="1051"/>
              <a:t>Gas </a:t>
            </a:r>
            <a:r>
              <a:rPr lang="de-DE" sz="1051" err="1"/>
              <a:t>gathering</a:t>
            </a:r>
            <a:endParaRPr lang="de-DE" sz="1051"/>
          </a:p>
        </p:txBody>
      </p:sp>
      <p:sp>
        <p:nvSpPr>
          <p:cNvPr id="9" name="Freihandform 8"/>
          <p:cNvSpPr/>
          <p:nvPr/>
        </p:nvSpPr>
        <p:spPr>
          <a:xfrm rot="21576764">
            <a:off x="3862923" y="1737539"/>
            <a:ext cx="158499" cy="185909"/>
          </a:xfrm>
          <a:custGeom>
            <a:avLst/>
            <a:gdLst>
              <a:gd name="connsiteX0" fmla="*/ 0 w 210911"/>
              <a:gd name="connsiteY0" fmla="*/ 49581 h 247907"/>
              <a:gd name="connsiteX1" fmla="*/ 105456 w 210911"/>
              <a:gd name="connsiteY1" fmla="*/ 49581 h 247907"/>
              <a:gd name="connsiteX2" fmla="*/ 105456 w 210911"/>
              <a:gd name="connsiteY2" fmla="*/ 0 h 247907"/>
              <a:gd name="connsiteX3" fmla="*/ 210911 w 210911"/>
              <a:gd name="connsiteY3" fmla="*/ 123954 h 247907"/>
              <a:gd name="connsiteX4" fmla="*/ 105456 w 210911"/>
              <a:gd name="connsiteY4" fmla="*/ 247907 h 247907"/>
              <a:gd name="connsiteX5" fmla="*/ 105456 w 210911"/>
              <a:gd name="connsiteY5" fmla="*/ 198326 h 247907"/>
              <a:gd name="connsiteX6" fmla="*/ 0 w 210911"/>
              <a:gd name="connsiteY6" fmla="*/ 198326 h 247907"/>
              <a:gd name="connsiteX7" fmla="*/ 0 w 210911"/>
              <a:gd name="connsiteY7" fmla="*/ 49581 h 247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0911" h="247907">
                <a:moveTo>
                  <a:pt x="0" y="49581"/>
                </a:moveTo>
                <a:lnTo>
                  <a:pt x="105456" y="49581"/>
                </a:lnTo>
                <a:lnTo>
                  <a:pt x="105456" y="0"/>
                </a:lnTo>
                <a:lnTo>
                  <a:pt x="210911" y="123954"/>
                </a:lnTo>
                <a:lnTo>
                  <a:pt x="105456" y="247907"/>
                </a:lnTo>
                <a:lnTo>
                  <a:pt x="105456" y="198326"/>
                </a:lnTo>
                <a:lnTo>
                  <a:pt x="0" y="198326"/>
                </a:lnTo>
                <a:lnTo>
                  <a:pt x="0" y="49581"/>
                </a:lnTo>
                <a:close/>
              </a:path>
            </a:pathLst>
          </a:custGeom>
          <a:solidFill>
            <a:schemeClr val="accent1"/>
          </a:solidFill>
        </p:spPr>
        <p:style>
          <a:lnRef idx="0">
            <a:schemeClr val="accent1">
              <a:tint val="60000"/>
              <a:hueOff val="0"/>
              <a:satOff val="0"/>
              <a:lumOff val="0"/>
              <a:alphaOff val="0"/>
            </a:schemeClr>
          </a:lnRef>
          <a:fillRef idx="1">
            <a:scrgbClr r="0" g="0" b="0"/>
          </a:fillRef>
          <a:effectRef idx="0">
            <a:schemeClr val="accent1">
              <a:tint val="60000"/>
              <a:hueOff val="0"/>
              <a:satOff val="0"/>
              <a:lumOff val="0"/>
              <a:alphaOff val="0"/>
            </a:schemeClr>
          </a:effectRef>
          <a:fontRef idx="minor">
            <a:schemeClr val="lt1"/>
          </a:fontRef>
        </p:style>
        <p:txBody>
          <a:bodyPr lIns="0" tIns="37220" rIns="47498" bIns="37219" spcCol="1270" anchor="ctr"/>
          <a:lstStyle>
            <a:defPPr>
              <a:defRPr lang="de-DE"/>
            </a:defPPr>
            <a:lvl1pPr marL="0" algn="l" defTabSz="779526" rtl="0" eaLnBrk="1" latinLnBrk="0" hangingPunct="1">
              <a:defRPr sz="1535" kern="1200">
                <a:solidFill>
                  <a:schemeClr val="tx1"/>
                </a:solidFill>
                <a:latin typeface="+mn-lt"/>
                <a:ea typeface="+mn-ea"/>
                <a:cs typeface="+mn-cs"/>
              </a:defRPr>
            </a:lvl1pPr>
            <a:lvl2pPr marL="389763" algn="l" defTabSz="779526" rtl="0" eaLnBrk="1" latinLnBrk="0" hangingPunct="1">
              <a:defRPr sz="1535" kern="1200">
                <a:solidFill>
                  <a:schemeClr val="tx1"/>
                </a:solidFill>
                <a:latin typeface="+mn-lt"/>
                <a:ea typeface="+mn-ea"/>
                <a:cs typeface="+mn-cs"/>
              </a:defRPr>
            </a:lvl2pPr>
            <a:lvl3pPr marL="779526" algn="l" defTabSz="779526" rtl="0" eaLnBrk="1" latinLnBrk="0" hangingPunct="1">
              <a:defRPr sz="1535" kern="1200">
                <a:solidFill>
                  <a:schemeClr val="tx1"/>
                </a:solidFill>
                <a:latin typeface="+mn-lt"/>
                <a:ea typeface="+mn-ea"/>
                <a:cs typeface="+mn-cs"/>
              </a:defRPr>
            </a:lvl3pPr>
            <a:lvl4pPr marL="1169289" algn="l" defTabSz="779526" rtl="0" eaLnBrk="1" latinLnBrk="0" hangingPunct="1">
              <a:defRPr sz="1535" kern="1200">
                <a:solidFill>
                  <a:schemeClr val="tx1"/>
                </a:solidFill>
                <a:latin typeface="+mn-lt"/>
                <a:ea typeface="+mn-ea"/>
                <a:cs typeface="+mn-cs"/>
              </a:defRPr>
            </a:lvl4pPr>
            <a:lvl5pPr marL="1559052" algn="l" defTabSz="779526" rtl="0" eaLnBrk="1" latinLnBrk="0" hangingPunct="1">
              <a:defRPr sz="1535" kern="1200">
                <a:solidFill>
                  <a:schemeClr val="tx1"/>
                </a:solidFill>
                <a:latin typeface="+mn-lt"/>
                <a:ea typeface="+mn-ea"/>
                <a:cs typeface="+mn-cs"/>
              </a:defRPr>
            </a:lvl5pPr>
            <a:lvl6pPr marL="1948815" algn="l" defTabSz="779526" rtl="0" eaLnBrk="1" latinLnBrk="0" hangingPunct="1">
              <a:defRPr sz="1535" kern="1200">
                <a:solidFill>
                  <a:schemeClr val="tx1"/>
                </a:solidFill>
                <a:latin typeface="+mn-lt"/>
                <a:ea typeface="+mn-ea"/>
                <a:cs typeface="+mn-cs"/>
              </a:defRPr>
            </a:lvl6pPr>
            <a:lvl7pPr marL="2338578" algn="l" defTabSz="779526" rtl="0" eaLnBrk="1" latinLnBrk="0" hangingPunct="1">
              <a:defRPr sz="1535" kern="1200">
                <a:solidFill>
                  <a:schemeClr val="tx1"/>
                </a:solidFill>
                <a:latin typeface="+mn-lt"/>
                <a:ea typeface="+mn-ea"/>
                <a:cs typeface="+mn-cs"/>
              </a:defRPr>
            </a:lvl7pPr>
            <a:lvl8pPr marL="2728341" algn="l" defTabSz="779526" rtl="0" eaLnBrk="1" latinLnBrk="0" hangingPunct="1">
              <a:defRPr sz="1535" kern="1200">
                <a:solidFill>
                  <a:schemeClr val="tx1"/>
                </a:solidFill>
                <a:latin typeface="+mn-lt"/>
                <a:ea typeface="+mn-ea"/>
                <a:cs typeface="+mn-cs"/>
              </a:defRPr>
            </a:lvl8pPr>
            <a:lvl9pPr marL="3118104" algn="l" defTabSz="779526" rtl="0" eaLnBrk="1" latinLnBrk="0" hangingPunct="1">
              <a:defRPr sz="1535" kern="1200">
                <a:solidFill>
                  <a:schemeClr val="tx1"/>
                </a:solidFill>
                <a:latin typeface="+mn-lt"/>
                <a:ea typeface="+mn-ea"/>
                <a:cs typeface="+mn-cs"/>
              </a:defRPr>
            </a:lvl9pPr>
          </a:lstStyle>
          <a:p>
            <a:pPr algn="ctr" defTabSz="367055">
              <a:lnSpc>
                <a:spcPct val="90000"/>
              </a:lnSpc>
              <a:spcAft>
                <a:spcPct val="35000"/>
              </a:spcAft>
              <a:defRPr/>
            </a:pPr>
            <a:endParaRPr lang="de-DE" sz="826"/>
          </a:p>
        </p:txBody>
      </p:sp>
      <p:sp>
        <p:nvSpPr>
          <p:cNvPr id="11" name="Freihandform 10"/>
          <p:cNvSpPr/>
          <p:nvPr/>
        </p:nvSpPr>
        <p:spPr>
          <a:xfrm>
            <a:off x="4912834" y="1733964"/>
            <a:ext cx="158500" cy="185909"/>
          </a:xfrm>
          <a:custGeom>
            <a:avLst/>
            <a:gdLst>
              <a:gd name="connsiteX0" fmla="*/ 0 w 211921"/>
              <a:gd name="connsiteY0" fmla="*/ 49581 h 247907"/>
              <a:gd name="connsiteX1" fmla="*/ 105961 w 211921"/>
              <a:gd name="connsiteY1" fmla="*/ 49581 h 247907"/>
              <a:gd name="connsiteX2" fmla="*/ 105961 w 211921"/>
              <a:gd name="connsiteY2" fmla="*/ 0 h 247907"/>
              <a:gd name="connsiteX3" fmla="*/ 211921 w 211921"/>
              <a:gd name="connsiteY3" fmla="*/ 123954 h 247907"/>
              <a:gd name="connsiteX4" fmla="*/ 105961 w 211921"/>
              <a:gd name="connsiteY4" fmla="*/ 247907 h 247907"/>
              <a:gd name="connsiteX5" fmla="*/ 105961 w 211921"/>
              <a:gd name="connsiteY5" fmla="*/ 198326 h 247907"/>
              <a:gd name="connsiteX6" fmla="*/ 0 w 211921"/>
              <a:gd name="connsiteY6" fmla="*/ 198326 h 247907"/>
              <a:gd name="connsiteX7" fmla="*/ 0 w 211921"/>
              <a:gd name="connsiteY7" fmla="*/ 49581 h 247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1921" h="247907">
                <a:moveTo>
                  <a:pt x="0" y="49581"/>
                </a:moveTo>
                <a:lnTo>
                  <a:pt x="105961" y="49581"/>
                </a:lnTo>
                <a:lnTo>
                  <a:pt x="105961" y="0"/>
                </a:lnTo>
                <a:lnTo>
                  <a:pt x="211921" y="123954"/>
                </a:lnTo>
                <a:lnTo>
                  <a:pt x="105961" y="247907"/>
                </a:lnTo>
                <a:lnTo>
                  <a:pt x="105961" y="198326"/>
                </a:lnTo>
                <a:lnTo>
                  <a:pt x="0" y="198326"/>
                </a:lnTo>
                <a:lnTo>
                  <a:pt x="0" y="49581"/>
                </a:lnTo>
                <a:close/>
              </a:path>
            </a:pathLst>
          </a:custGeom>
          <a:solidFill>
            <a:schemeClr val="accent1"/>
          </a:solidFill>
        </p:spPr>
        <p:style>
          <a:lnRef idx="0">
            <a:schemeClr val="accent1">
              <a:tint val="60000"/>
              <a:hueOff val="0"/>
              <a:satOff val="0"/>
              <a:lumOff val="0"/>
              <a:alphaOff val="0"/>
            </a:schemeClr>
          </a:lnRef>
          <a:fillRef idx="1">
            <a:scrgbClr r="0" g="0" b="0"/>
          </a:fillRef>
          <a:effectRef idx="0">
            <a:schemeClr val="accent1">
              <a:tint val="60000"/>
              <a:hueOff val="0"/>
              <a:satOff val="0"/>
              <a:lumOff val="0"/>
              <a:alphaOff val="0"/>
            </a:schemeClr>
          </a:effectRef>
          <a:fontRef idx="minor">
            <a:schemeClr val="lt1"/>
          </a:fontRef>
        </p:style>
        <p:txBody>
          <a:bodyPr lIns="0" tIns="37220" rIns="47726" bIns="37220" spcCol="1270" anchor="ctr"/>
          <a:lstStyle>
            <a:defPPr>
              <a:defRPr lang="de-DE"/>
            </a:defPPr>
            <a:lvl1pPr marL="0" algn="l" defTabSz="779526" rtl="0" eaLnBrk="1" latinLnBrk="0" hangingPunct="1">
              <a:defRPr sz="1535" kern="1200">
                <a:solidFill>
                  <a:schemeClr val="tx1"/>
                </a:solidFill>
                <a:latin typeface="+mn-lt"/>
                <a:ea typeface="+mn-ea"/>
                <a:cs typeface="+mn-cs"/>
              </a:defRPr>
            </a:lvl1pPr>
            <a:lvl2pPr marL="389763" algn="l" defTabSz="779526" rtl="0" eaLnBrk="1" latinLnBrk="0" hangingPunct="1">
              <a:defRPr sz="1535" kern="1200">
                <a:solidFill>
                  <a:schemeClr val="tx1"/>
                </a:solidFill>
                <a:latin typeface="+mn-lt"/>
                <a:ea typeface="+mn-ea"/>
                <a:cs typeface="+mn-cs"/>
              </a:defRPr>
            </a:lvl2pPr>
            <a:lvl3pPr marL="779526" algn="l" defTabSz="779526" rtl="0" eaLnBrk="1" latinLnBrk="0" hangingPunct="1">
              <a:defRPr sz="1535" kern="1200">
                <a:solidFill>
                  <a:schemeClr val="tx1"/>
                </a:solidFill>
                <a:latin typeface="+mn-lt"/>
                <a:ea typeface="+mn-ea"/>
                <a:cs typeface="+mn-cs"/>
              </a:defRPr>
            </a:lvl3pPr>
            <a:lvl4pPr marL="1169289" algn="l" defTabSz="779526" rtl="0" eaLnBrk="1" latinLnBrk="0" hangingPunct="1">
              <a:defRPr sz="1535" kern="1200">
                <a:solidFill>
                  <a:schemeClr val="tx1"/>
                </a:solidFill>
                <a:latin typeface="+mn-lt"/>
                <a:ea typeface="+mn-ea"/>
                <a:cs typeface="+mn-cs"/>
              </a:defRPr>
            </a:lvl4pPr>
            <a:lvl5pPr marL="1559052" algn="l" defTabSz="779526" rtl="0" eaLnBrk="1" latinLnBrk="0" hangingPunct="1">
              <a:defRPr sz="1535" kern="1200">
                <a:solidFill>
                  <a:schemeClr val="tx1"/>
                </a:solidFill>
                <a:latin typeface="+mn-lt"/>
                <a:ea typeface="+mn-ea"/>
                <a:cs typeface="+mn-cs"/>
              </a:defRPr>
            </a:lvl5pPr>
            <a:lvl6pPr marL="1948815" algn="l" defTabSz="779526" rtl="0" eaLnBrk="1" latinLnBrk="0" hangingPunct="1">
              <a:defRPr sz="1535" kern="1200">
                <a:solidFill>
                  <a:schemeClr val="tx1"/>
                </a:solidFill>
                <a:latin typeface="+mn-lt"/>
                <a:ea typeface="+mn-ea"/>
                <a:cs typeface="+mn-cs"/>
              </a:defRPr>
            </a:lvl6pPr>
            <a:lvl7pPr marL="2338578" algn="l" defTabSz="779526" rtl="0" eaLnBrk="1" latinLnBrk="0" hangingPunct="1">
              <a:defRPr sz="1535" kern="1200">
                <a:solidFill>
                  <a:schemeClr val="tx1"/>
                </a:solidFill>
                <a:latin typeface="+mn-lt"/>
                <a:ea typeface="+mn-ea"/>
                <a:cs typeface="+mn-cs"/>
              </a:defRPr>
            </a:lvl7pPr>
            <a:lvl8pPr marL="2728341" algn="l" defTabSz="779526" rtl="0" eaLnBrk="1" latinLnBrk="0" hangingPunct="1">
              <a:defRPr sz="1535" kern="1200">
                <a:solidFill>
                  <a:schemeClr val="tx1"/>
                </a:solidFill>
                <a:latin typeface="+mn-lt"/>
                <a:ea typeface="+mn-ea"/>
                <a:cs typeface="+mn-cs"/>
              </a:defRPr>
            </a:lvl8pPr>
            <a:lvl9pPr marL="3118104" algn="l" defTabSz="779526" rtl="0" eaLnBrk="1" latinLnBrk="0" hangingPunct="1">
              <a:defRPr sz="1535" kern="1200">
                <a:solidFill>
                  <a:schemeClr val="tx1"/>
                </a:solidFill>
                <a:latin typeface="+mn-lt"/>
                <a:ea typeface="+mn-ea"/>
                <a:cs typeface="+mn-cs"/>
              </a:defRPr>
            </a:lvl9pPr>
          </a:lstStyle>
          <a:p>
            <a:pPr algn="ctr" defTabSz="367055">
              <a:lnSpc>
                <a:spcPct val="90000"/>
              </a:lnSpc>
              <a:spcAft>
                <a:spcPct val="35000"/>
              </a:spcAft>
              <a:defRPr/>
            </a:pPr>
            <a:endParaRPr lang="de-DE" sz="826"/>
          </a:p>
        </p:txBody>
      </p:sp>
      <p:sp>
        <p:nvSpPr>
          <p:cNvPr id="12" name="Freihandform 11"/>
          <p:cNvSpPr/>
          <p:nvPr/>
        </p:nvSpPr>
        <p:spPr>
          <a:xfrm>
            <a:off x="5138071" y="1601682"/>
            <a:ext cx="749596" cy="450473"/>
          </a:xfrm>
          <a:custGeom>
            <a:avLst/>
            <a:gdLst>
              <a:gd name="connsiteX0" fmla="*/ 0 w 999628"/>
              <a:gd name="connsiteY0" fmla="*/ 59978 h 599777"/>
              <a:gd name="connsiteX1" fmla="*/ 59978 w 999628"/>
              <a:gd name="connsiteY1" fmla="*/ 0 h 599777"/>
              <a:gd name="connsiteX2" fmla="*/ 939650 w 999628"/>
              <a:gd name="connsiteY2" fmla="*/ 0 h 599777"/>
              <a:gd name="connsiteX3" fmla="*/ 999628 w 999628"/>
              <a:gd name="connsiteY3" fmla="*/ 59978 h 599777"/>
              <a:gd name="connsiteX4" fmla="*/ 999628 w 999628"/>
              <a:gd name="connsiteY4" fmla="*/ 539799 h 599777"/>
              <a:gd name="connsiteX5" fmla="*/ 939650 w 999628"/>
              <a:gd name="connsiteY5" fmla="*/ 599777 h 599777"/>
              <a:gd name="connsiteX6" fmla="*/ 59978 w 999628"/>
              <a:gd name="connsiteY6" fmla="*/ 599777 h 599777"/>
              <a:gd name="connsiteX7" fmla="*/ 0 w 999628"/>
              <a:gd name="connsiteY7" fmla="*/ 539799 h 599777"/>
              <a:gd name="connsiteX8" fmla="*/ 0 w 999628"/>
              <a:gd name="connsiteY8" fmla="*/ 59978 h 599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9628" h="599777">
                <a:moveTo>
                  <a:pt x="0" y="59978"/>
                </a:moveTo>
                <a:cubicBezTo>
                  <a:pt x="0" y="26853"/>
                  <a:pt x="26853" y="0"/>
                  <a:pt x="59978" y="0"/>
                </a:cubicBezTo>
                <a:lnTo>
                  <a:pt x="939650" y="0"/>
                </a:lnTo>
                <a:cubicBezTo>
                  <a:pt x="972775" y="0"/>
                  <a:pt x="999628" y="26853"/>
                  <a:pt x="999628" y="59978"/>
                </a:cubicBezTo>
                <a:lnTo>
                  <a:pt x="999628" y="539799"/>
                </a:lnTo>
                <a:cubicBezTo>
                  <a:pt x="999628" y="572924"/>
                  <a:pt x="972775" y="599777"/>
                  <a:pt x="939650" y="599777"/>
                </a:cubicBezTo>
                <a:lnTo>
                  <a:pt x="59978" y="599777"/>
                </a:lnTo>
                <a:cubicBezTo>
                  <a:pt x="26853" y="599777"/>
                  <a:pt x="0" y="572924"/>
                  <a:pt x="0" y="539799"/>
                </a:cubicBezTo>
                <a:lnTo>
                  <a:pt x="0" y="59978"/>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53229" tIns="53229" rIns="53229" bIns="53229" spcCol="1270" anchor="ctr"/>
          <a:lstStyle>
            <a:defPPr>
              <a:defRPr lang="de-DE"/>
            </a:defPPr>
            <a:lvl1pPr marL="0" algn="l" defTabSz="779526" rtl="0" eaLnBrk="1" latinLnBrk="0" hangingPunct="1">
              <a:defRPr sz="1535" kern="1200">
                <a:solidFill>
                  <a:schemeClr val="tx1"/>
                </a:solidFill>
                <a:latin typeface="+mn-lt"/>
                <a:ea typeface="+mn-ea"/>
                <a:cs typeface="+mn-cs"/>
              </a:defRPr>
            </a:lvl1pPr>
            <a:lvl2pPr marL="389763" algn="l" defTabSz="779526" rtl="0" eaLnBrk="1" latinLnBrk="0" hangingPunct="1">
              <a:defRPr sz="1535" kern="1200">
                <a:solidFill>
                  <a:schemeClr val="tx1"/>
                </a:solidFill>
                <a:latin typeface="+mn-lt"/>
                <a:ea typeface="+mn-ea"/>
                <a:cs typeface="+mn-cs"/>
              </a:defRPr>
            </a:lvl2pPr>
            <a:lvl3pPr marL="779526" algn="l" defTabSz="779526" rtl="0" eaLnBrk="1" latinLnBrk="0" hangingPunct="1">
              <a:defRPr sz="1535" kern="1200">
                <a:solidFill>
                  <a:schemeClr val="tx1"/>
                </a:solidFill>
                <a:latin typeface="+mn-lt"/>
                <a:ea typeface="+mn-ea"/>
                <a:cs typeface="+mn-cs"/>
              </a:defRPr>
            </a:lvl3pPr>
            <a:lvl4pPr marL="1169289" algn="l" defTabSz="779526" rtl="0" eaLnBrk="1" latinLnBrk="0" hangingPunct="1">
              <a:defRPr sz="1535" kern="1200">
                <a:solidFill>
                  <a:schemeClr val="tx1"/>
                </a:solidFill>
                <a:latin typeface="+mn-lt"/>
                <a:ea typeface="+mn-ea"/>
                <a:cs typeface="+mn-cs"/>
              </a:defRPr>
            </a:lvl4pPr>
            <a:lvl5pPr marL="1559052" algn="l" defTabSz="779526" rtl="0" eaLnBrk="1" latinLnBrk="0" hangingPunct="1">
              <a:defRPr sz="1535" kern="1200">
                <a:solidFill>
                  <a:schemeClr val="tx1"/>
                </a:solidFill>
                <a:latin typeface="+mn-lt"/>
                <a:ea typeface="+mn-ea"/>
                <a:cs typeface="+mn-cs"/>
              </a:defRPr>
            </a:lvl5pPr>
            <a:lvl6pPr marL="1948815" algn="l" defTabSz="779526" rtl="0" eaLnBrk="1" latinLnBrk="0" hangingPunct="1">
              <a:defRPr sz="1535" kern="1200">
                <a:solidFill>
                  <a:schemeClr val="tx1"/>
                </a:solidFill>
                <a:latin typeface="+mn-lt"/>
                <a:ea typeface="+mn-ea"/>
                <a:cs typeface="+mn-cs"/>
              </a:defRPr>
            </a:lvl6pPr>
            <a:lvl7pPr marL="2338578" algn="l" defTabSz="779526" rtl="0" eaLnBrk="1" latinLnBrk="0" hangingPunct="1">
              <a:defRPr sz="1535" kern="1200">
                <a:solidFill>
                  <a:schemeClr val="tx1"/>
                </a:solidFill>
                <a:latin typeface="+mn-lt"/>
                <a:ea typeface="+mn-ea"/>
                <a:cs typeface="+mn-cs"/>
              </a:defRPr>
            </a:lvl7pPr>
            <a:lvl8pPr marL="2728341" algn="l" defTabSz="779526" rtl="0" eaLnBrk="1" latinLnBrk="0" hangingPunct="1">
              <a:defRPr sz="1535" kern="1200">
                <a:solidFill>
                  <a:schemeClr val="tx1"/>
                </a:solidFill>
                <a:latin typeface="+mn-lt"/>
                <a:ea typeface="+mn-ea"/>
                <a:cs typeface="+mn-cs"/>
              </a:defRPr>
            </a:lvl8pPr>
            <a:lvl9pPr marL="3118104" algn="l" defTabSz="779526" rtl="0" eaLnBrk="1" latinLnBrk="0" hangingPunct="1">
              <a:defRPr sz="1535" kern="1200">
                <a:solidFill>
                  <a:schemeClr val="tx1"/>
                </a:solidFill>
                <a:latin typeface="+mn-lt"/>
                <a:ea typeface="+mn-ea"/>
                <a:cs typeface="+mn-cs"/>
              </a:defRPr>
            </a:lvl9pPr>
          </a:lstStyle>
          <a:p>
            <a:pPr algn="ctr" defTabSz="467161">
              <a:lnSpc>
                <a:spcPct val="90000"/>
              </a:lnSpc>
              <a:spcAft>
                <a:spcPct val="35000"/>
              </a:spcAft>
              <a:defRPr/>
            </a:pPr>
            <a:r>
              <a:rPr lang="de-DE" sz="1051"/>
              <a:t>Distribution</a:t>
            </a:r>
          </a:p>
        </p:txBody>
      </p:sp>
      <p:sp>
        <p:nvSpPr>
          <p:cNvPr id="13" name="Freihandform 12"/>
          <p:cNvSpPr/>
          <p:nvPr/>
        </p:nvSpPr>
        <p:spPr>
          <a:xfrm>
            <a:off x="5962747" y="1733964"/>
            <a:ext cx="159691" cy="185909"/>
          </a:xfrm>
          <a:custGeom>
            <a:avLst/>
            <a:gdLst>
              <a:gd name="connsiteX0" fmla="*/ 0 w 211921"/>
              <a:gd name="connsiteY0" fmla="*/ 49581 h 247907"/>
              <a:gd name="connsiteX1" fmla="*/ 105961 w 211921"/>
              <a:gd name="connsiteY1" fmla="*/ 49581 h 247907"/>
              <a:gd name="connsiteX2" fmla="*/ 105961 w 211921"/>
              <a:gd name="connsiteY2" fmla="*/ 0 h 247907"/>
              <a:gd name="connsiteX3" fmla="*/ 211921 w 211921"/>
              <a:gd name="connsiteY3" fmla="*/ 123954 h 247907"/>
              <a:gd name="connsiteX4" fmla="*/ 105961 w 211921"/>
              <a:gd name="connsiteY4" fmla="*/ 247907 h 247907"/>
              <a:gd name="connsiteX5" fmla="*/ 105961 w 211921"/>
              <a:gd name="connsiteY5" fmla="*/ 198326 h 247907"/>
              <a:gd name="connsiteX6" fmla="*/ 0 w 211921"/>
              <a:gd name="connsiteY6" fmla="*/ 198326 h 247907"/>
              <a:gd name="connsiteX7" fmla="*/ 0 w 211921"/>
              <a:gd name="connsiteY7" fmla="*/ 49581 h 247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1921" h="247907">
                <a:moveTo>
                  <a:pt x="0" y="49581"/>
                </a:moveTo>
                <a:lnTo>
                  <a:pt x="105961" y="49581"/>
                </a:lnTo>
                <a:lnTo>
                  <a:pt x="105961" y="0"/>
                </a:lnTo>
                <a:lnTo>
                  <a:pt x="211921" y="123954"/>
                </a:lnTo>
                <a:lnTo>
                  <a:pt x="105961" y="247907"/>
                </a:lnTo>
                <a:lnTo>
                  <a:pt x="105961" y="198326"/>
                </a:lnTo>
                <a:lnTo>
                  <a:pt x="0" y="198326"/>
                </a:lnTo>
                <a:lnTo>
                  <a:pt x="0" y="49581"/>
                </a:lnTo>
                <a:close/>
              </a:path>
            </a:pathLst>
          </a:custGeom>
          <a:solidFill>
            <a:schemeClr val="accent1"/>
          </a:solidFill>
        </p:spPr>
        <p:style>
          <a:lnRef idx="0">
            <a:schemeClr val="accent1">
              <a:tint val="60000"/>
              <a:hueOff val="0"/>
              <a:satOff val="0"/>
              <a:lumOff val="0"/>
              <a:alphaOff val="0"/>
            </a:schemeClr>
          </a:lnRef>
          <a:fillRef idx="1">
            <a:scrgbClr r="0" g="0" b="0"/>
          </a:fillRef>
          <a:effectRef idx="0">
            <a:schemeClr val="accent1">
              <a:tint val="60000"/>
              <a:hueOff val="0"/>
              <a:satOff val="0"/>
              <a:lumOff val="0"/>
              <a:alphaOff val="0"/>
            </a:schemeClr>
          </a:effectRef>
          <a:fontRef idx="minor">
            <a:schemeClr val="lt1"/>
          </a:fontRef>
        </p:style>
        <p:txBody>
          <a:bodyPr lIns="0" tIns="37220" rIns="47726" bIns="37220" spcCol="1270" anchor="ctr"/>
          <a:lstStyle>
            <a:defPPr>
              <a:defRPr lang="de-DE"/>
            </a:defPPr>
            <a:lvl1pPr marL="0" algn="l" defTabSz="779526" rtl="0" eaLnBrk="1" latinLnBrk="0" hangingPunct="1">
              <a:defRPr sz="1535" kern="1200">
                <a:solidFill>
                  <a:schemeClr val="tx1"/>
                </a:solidFill>
                <a:latin typeface="+mn-lt"/>
                <a:ea typeface="+mn-ea"/>
                <a:cs typeface="+mn-cs"/>
              </a:defRPr>
            </a:lvl1pPr>
            <a:lvl2pPr marL="389763" algn="l" defTabSz="779526" rtl="0" eaLnBrk="1" latinLnBrk="0" hangingPunct="1">
              <a:defRPr sz="1535" kern="1200">
                <a:solidFill>
                  <a:schemeClr val="tx1"/>
                </a:solidFill>
                <a:latin typeface="+mn-lt"/>
                <a:ea typeface="+mn-ea"/>
                <a:cs typeface="+mn-cs"/>
              </a:defRPr>
            </a:lvl2pPr>
            <a:lvl3pPr marL="779526" algn="l" defTabSz="779526" rtl="0" eaLnBrk="1" latinLnBrk="0" hangingPunct="1">
              <a:defRPr sz="1535" kern="1200">
                <a:solidFill>
                  <a:schemeClr val="tx1"/>
                </a:solidFill>
                <a:latin typeface="+mn-lt"/>
                <a:ea typeface="+mn-ea"/>
                <a:cs typeface="+mn-cs"/>
              </a:defRPr>
            </a:lvl3pPr>
            <a:lvl4pPr marL="1169289" algn="l" defTabSz="779526" rtl="0" eaLnBrk="1" latinLnBrk="0" hangingPunct="1">
              <a:defRPr sz="1535" kern="1200">
                <a:solidFill>
                  <a:schemeClr val="tx1"/>
                </a:solidFill>
                <a:latin typeface="+mn-lt"/>
                <a:ea typeface="+mn-ea"/>
                <a:cs typeface="+mn-cs"/>
              </a:defRPr>
            </a:lvl4pPr>
            <a:lvl5pPr marL="1559052" algn="l" defTabSz="779526" rtl="0" eaLnBrk="1" latinLnBrk="0" hangingPunct="1">
              <a:defRPr sz="1535" kern="1200">
                <a:solidFill>
                  <a:schemeClr val="tx1"/>
                </a:solidFill>
                <a:latin typeface="+mn-lt"/>
                <a:ea typeface="+mn-ea"/>
                <a:cs typeface="+mn-cs"/>
              </a:defRPr>
            </a:lvl5pPr>
            <a:lvl6pPr marL="1948815" algn="l" defTabSz="779526" rtl="0" eaLnBrk="1" latinLnBrk="0" hangingPunct="1">
              <a:defRPr sz="1535" kern="1200">
                <a:solidFill>
                  <a:schemeClr val="tx1"/>
                </a:solidFill>
                <a:latin typeface="+mn-lt"/>
                <a:ea typeface="+mn-ea"/>
                <a:cs typeface="+mn-cs"/>
              </a:defRPr>
            </a:lvl6pPr>
            <a:lvl7pPr marL="2338578" algn="l" defTabSz="779526" rtl="0" eaLnBrk="1" latinLnBrk="0" hangingPunct="1">
              <a:defRPr sz="1535" kern="1200">
                <a:solidFill>
                  <a:schemeClr val="tx1"/>
                </a:solidFill>
                <a:latin typeface="+mn-lt"/>
                <a:ea typeface="+mn-ea"/>
                <a:cs typeface="+mn-cs"/>
              </a:defRPr>
            </a:lvl7pPr>
            <a:lvl8pPr marL="2728341" algn="l" defTabSz="779526" rtl="0" eaLnBrk="1" latinLnBrk="0" hangingPunct="1">
              <a:defRPr sz="1535" kern="1200">
                <a:solidFill>
                  <a:schemeClr val="tx1"/>
                </a:solidFill>
                <a:latin typeface="+mn-lt"/>
                <a:ea typeface="+mn-ea"/>
                <a:cs typeface="+mn-cs"/>
              </a:defRPr>
            </a:lvl8pPr>
            <a:lvl9pPr marL="3118104" algn="l" defTabSz="779526" rtl="0" eaLnBrk="1" latinLnBrk="0" hangingPunct="1">
              <a:defRPr sz="1535" kern="1200">
                <a:solidFill>
                  <a:schemeClr val="tx1"/>
                </a:solidFill>
                <a:latin typeface="+mn-lt"/>
                <a:ea typeface="+mn-ea"/>
                <a:cs typeface="+mn-cs"/>
              </a:defRPr>
            </a:lvl9pPr>
          </a:lstStyle>
          <a:p>
            <a:pPr algn="ctr" defTabSz="367055">
              <a:lnSpc>
                <a:spcPct val="90000"/>
              </a:lnSpc>
              <a:spcAft>
                <a:spcPct val="35000"/>
              </a:spcAft>
              <a:defRPr/>
            </a:pPr>
            <a:endParaRPr lang="de-DE" sz="826"/>
          </a:p>
        </p:txBody>
      </p:sp>
      <p:sp>
        <p:nvSpPr>
          <p:cNvPr id="14" name="Freihandform 13"/>
          <p:cNvSpPr/>
          <p:nvPr/>
        </p:nvSpPr>
        <p:spPr>
          <a:xfrm>
            <a:off x="6187983" y="1601682"/>
            <a:ext cx="750788" cy="450473"/>
          </a:xfrm>
          <a:custGeom>
            <a:avLst/>
            <a:gdLst>
              <a:gd name="connsiteX0" fmla="*/ 0 w 999628"/>
              <a:gd name="connsiteY0" fmla="*/ 59978 h 599777"/>
              <a:gd name="connsiteX1" fmla="*/ 59978 w 999628"/>
              <a:gd name="connsiteY1" fmla="*/ 0 h 599777"/>
              <a:gd name="connsiteX2" fmla="*/ 939650 w 999628"/>
              <a:gd name="connsiteY2" fmla="*/ 0 h 599777"/>
              <a:gd name="connsiteX3" fmla="*/ 999628 w 999628"/>
              <a:gd name="connsiteY3" fmla="*/ 59978 h 599777"/>
              <a:gd name="connsiteX4" fmla="*/ 999628 w 999628"/>
              <a:gd name="connsiteY4" fmla="*/ 539799 h 599777"/>
              <a:gd name="connsiteX5" fmla="*/ 939650 w 999628"/>
              <a:gd name="connsiteY5" fmla="*/ 599777 h 599777"/>
              <a:gd name="connsiteX6" fmla="*/ 59978 w 999628"/>
              <a:gd name="connsiteY6" fmla="*/ 599777 h 599777"/>
              <a:gd name="connsiteX7" fmla="*/ 0 w 999628"/>
              <a:gd name="connsiteY7" fmla="*/ 539799 h 599777"/>
              <a:gd name="connsiteX8" fmla="*/ 0 w 999628"/>
              <a:gd name="connsiteY8" fmla="*/ 59978 h 599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9628" h="599777">
                <a:moveTo>
                  <a:pt x="0" y="59978"/>
                </a:moveTo>
                <a:cubicBezTo>
                  <a:pt x="0" y="26853"/>
                  <a:pt x="26853" y="0"/>
                  <a:pt x="59978" y="0"/>
                </a:cubicBezTo>
                <a:lnTo>
                  <a:pt x="939650" y="0"/>
                </a:lnTo>
                <a:cubicBezTo>
                  <a:pt x="972775" y="0"/>
                  <a:pt x="999628" y="26853"/>
                  <a:pt x="999628" y="59978"/>
                </a:cubicBezTo>
                <a:lnTo>
                  <a:pt x="999628" y="539799"/>
                </a:lnTo>
                <a:cubicBezTo>
                  <a:pt x="999628" y="572924"/>
                  <a:pt x="972775" y="599777"/>
                  <a:pt x="939650" y="599777"/>
                </a:cubicBezTo>
                <a:lnTo>
                  <a:pt x="59978" y="599777"/>
                </a:lnTo>
                <a:cubicBezTo>
                  <a:pt x="26853" y="599777"/>
                  <a:pt x="0" y="572924"/>
                  <a:pt x="0" y="539799"/>
                </a:cubicBezTo>
                <a:lnTo>
                  <a:pt x="0" y="59978"/>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53229" tIns="53229" rIns="53229" bIns="53229" spcCol="1270" anchor="ctr"/>
          <a:lstStyle>
            <a:defPPr>
              <a:defRPr lang="de-DE"/>
            </a:defPPr>
            <a:lvl1pPr marL="0" algn="l" defTabSz="779526" rtl="0" eaLnBrk="1" latinLnBrk="0" hangingPunct="1">
              <a:defRPr sz="1535" kern="1200">
                <a:solidFill>
                  <a:schemeClr val="tx1"/>
                </a:solidFill>
                <a:latin typeface="+mn-lt"/>
                <a:ea typeface="+mn-ea"/>
                <a:cs typeface="+mn-cs"/>
              </a:defRPr>
            </a:lvl1pPr>
            <a:lvl2pPr marL="389763" algn="l" defTabSz="779526" rtl="0" eaLnBrk="1" latinLnBrk="0" hangingPunct="1">
              <a:defRPr sz="1535" kern="1200">
                <a:solidFill>
                  <a:schemeClr val="tx1"/>
                </a:solidFill>
                <a:latin typeface="+mn-lt"/>
                <a:ea typeface="+mn-ea"/>
                <a:cs typeface="+mn-cs"/>
              </a:defRPr>
            </a:lvl2pPr>
            <a:lvl3pPr marL="779526" algn="l" defTabSz="779526" rtl="0" eaLnBrk="1" latinLnBrk="0" hangingPunct="1">
              <a:defRPr sz="1535" kern="1200">
                <a:solidFill>
                  <a:schemeClr val="tx1"/>
                </a:solidFill>
                <a:latin typeface="+mn-lt"/>
                <a:ea typeface="+mn-ea"/>
                <a:cs typeface="+mn-cs"/>
              </a:defRPr>
            </a:lvl3pPr>
            <a:lvl4pPr marL="1169289" algn="l" defTabSz="779526" rtl="0" eaLnBrk="1" latinLnBrk="0" hangingPunct="1">
              <a:defRPr sz="1535" kern="1200">
                <a:solidFill>
                  <a:schemeClr val="tx1"/>
                </a:solidFill>
                <a:latin typeface="+mn-lt"/>
                <a:ea typeface="+mn-ea"/>
                <a:cs typeface="+mn-cs"/>
              </a:defRPr>
            </a:lvl4pPr>
            <a:lvl5pPr marL="1559052" algn="l" defTabSz="779526" rtl="0" eaLnBrk="1" latinLnBrk="0" hangingPunct="1">
              <a:defRPr sz="1535" kern="1200">
                <a:solidFill>
                  <a:schemeClr val="tx1"/>
                </a:solidFill>
                <a:latin typeface="+mn-lt"/>
                <a:ea typeface="+mn-ea"/>
                <a:cs typeface="+mn-cs"/>
              </a:defRPr>
            </a:lvl5pPr>
            <a:lvl6pPr marL="1948815" algn="l" defTabSz="779526" rtl="0" eaLnBrk="1" latinLnBrk="0" hangingPunct="1">
              <a:defRPr sz="1535" kern="1200">
                <a:solidFill>
                  <a:schemeClr val="tx1"/>
                </a:solidFill>
                <a:latin typeface="+mn-lt"/>
                <a:ea typeface="+mn-ea"/>
                <a:cs typeface="+mn-cs"/>
              </a:defRPr>
            </a:lvl6pPr>
            <a:lvl7pPr marL="2338578" algn="l" defTabSz="779526" rtl="0" eaLnBrk="1" latinLnBrk="0" hangingPunct="1">
              <a:defRPr sz="1535" kern="1200">
                <a:solidFill>
                  <a:schemeClr val="tx1"/>
                </a:solidFill>
                <a:latin typeface="+mn-lt"/>
                <a:ea typeface="+mn-ea"/>
                <a:cs typeface="+mn-cs"/>
              </a:defRPr>
            </a:lvl7pPr>
            <a:lvl8pPr marL="2728341" algn="l" defTabSz="779526" rtl="0" eaLnBrk="1" latinLnBrk="0" hangingPunct="1">
              <a:defRPr sz="1535" kern="1200">
                <a:solidFill>
                  <a:schemeClr val="tx1"/>
                </a:solidFill>
                <a:latin typeface="+mn-lt"/>
                <a:ea typeface="+mn-ea"/>
                <a:cs typeface="+mn-cs"/>
              </a:defRPr>
            </a:lvl8pPr>
            <a:lvl9pPr marL="3118104" algn="l" defTabSz="779526" rtl="0" eaLnBrk="1" latinLnBrk="0" hangingPunct="1">
              <a:defRPr sz="1535" kern="1200">
                <a:solidFill>
                  <a:schemeClr val="tx1"/>
                </a:solidFill>
                <a:latin typeface="+mn-lt"/>
                <a:ea typeface="+mn-ea"/>
                <a:cs typeface="+mn-cs"/>
              </a:defRPr>
            </a:lvl9pPr>
          </a:lstStyle>
          <a:p>
            <a:pPr algn="ctr" defTabSz="467161">
              <a:lnSpc>
                <a:spcPct val="90000"/>
              </a:lnSpc>
              <a:spcAft>
                <a:spcPct val="35000"/>
              </a:spcAft>
              <a:defRPr/>
            </a:pPr>
            <a:r>
              <a:rPr lang="de-DE" sz="1051"/>
              <a:t>Residential</a:t>
            </a:r>
          </a:p>
        </p:txBody>
      </p:sp>
      <p:sp>
        <p:nvSpPr>
          <p:cNvPr id="39" name="Text Box 12"/>
          <p:cNvSpPr txBox="1">
            <a:spLocks noChangeArrowheads="1"/>
          </p:cNvSpPr>
          <p:nvPr/>
        </p:nvSpPr>
        <p:spPr bwMode="auto">
          <a:xfrm>
            <a:off x="3854581" y="3644303"/>
            <a:ext cx="1176235" cy="1238205"/>
          </a:xfrm>
          <a:prstGeom prst="rect">
            <a:avLst/>
          </a:prstGeom>
          <a:solidFill>
            <a:schemeClr val="tx1">
              <a:lumMod val="25000"/>
              <a:lumOff val="75000"/>
            </a:schemeClr>
          </a:solidFill>
          <a:ln>
            <a:noFill/>
          </a:ln>
        </p:spPr>
        <p:txBody>
          <a:bodyPr/>
          <a:lstStyle>
            <a:defPPr>
              <a:defRPr lang="de-DE"/>
            </a:defPPr>
            <a:lvl1pPr marL="0" algn="l" defTabSz="779526" rtl="0" eaLnBrk="1" latinLnBrk="0" hangingPunct="1">
              <a:defRPr sz="1535" kern="1200">
                <a:solidFill>
                  <a:schemeClr val="tx1"/>
                </a:solidFill>
                <a:latin typeface="+mn-lt"/>
                <a:ea typeface="+mn-ea"/>
                <a:cs typeface="+mn-cs"/>
              </a:defRPr>
            </a:lvl1pPr>
            <a:lvl2pPr marL="389763" algn="l" defTabSz="779526" rtl="0" eaLnBrk="1" latinLnBrk="0" hangingPunct="1">
              <a:defRPr sz="1535" kern="1200">
                <a:solidFill>
                  <a:schemeClr val="tx1"/>
                </a:solidFill>
                <a:latin typeface="+mn-lt"/>
                <a:ea typeface="+mn-ea"/>
                <a:cs typeface="+mn-cs"/>
              </a:defRPr>
            </a:lvl2pPr>
            <a:lvl3pPr marL="779526" algn="l" defTabSz="779526" rtl="0" eaLnBrk="1" latinLnBrk="0" hangingPunct="1">
              <a:defRPr sz="1535" kern="1200">
                <a:solidFill>
                  <a:schemeClr val="tx1"/>
                </a:solidFill>
                <a:latin typeface="+mn-lt"/>
                <a:ea typeface="+mn-ea"/>
                <a:cs typeface="+mn-cs"/>
              </a:defRPr>
            </a:lvl3pPr>
            <a:lvl4pPr marL="1169289" algn="l" defTabSz="779526" rtl="0" eaLnBrk="1" latinLnBrk="0" hangingPunct="1">
              <a:defRPr sz="1535" kern="1200">
                <a:solidFill>
                  <a:schemeClr val="tx1"/>
                </a:solidFill>
                <a:latin typeface="+mn-lt"/>
                <a:ea typeface="+mn-ea"/>
                <a:cs typeface="+mn-cs"/>
              </a:defRPr>
            </a:lvl4pPr>
            <a:lvl5pPr marL="1559052" algn="l" defTabSz="779526" rtl="0" eaLnBrk="1" latinLnBrk="0" hangingPunct="1">
              <a:defRPr sz="1535" kern="1200">
                <a:solidFill>
                  <a:schemeClr val="tx1"/>
                </a:solidFill>
                <a:latin typeface="+mn-lt"/>
                <a:ea typeface="+mn-ea"/>
                <a:cs typeface="+mn-cs"/>
              </a:defRPr>
            </a:lvl5pPr>
            <a:lvl6pPr marL="1948815" algn="l" defTabSz="779526" rtl="0" eaLnBrk="1" latinLnBrk="0" hangingPunct="1">
              <a:defRPr sz="1535" kern="1200">
                <a:solidFill>
                  <a:schemeClr val="tx1"/>
                </a:solidFill>
                <a:latin typeface="+mn-lt"/>
                <a:ea typeface="+mn-ea"/>
                <a:cs typeface="+mn-cs"/>
              </a:defRPr>
            </a:lvl6pPr>
            <a:lvl7pPr marL="2338578" algn="l" defTabSz="779526" rtl="0" eaLnBrk="1" latinLnBrk="0" hangingPunct="1">
              <a:defRPr sz="1535" kern="1200">
                <a:solidFill>
                  <a:schemeClr val="tx1"/>
                </a:solidFill>
                <a:latin typeface="+mn-lt"/>
                <a:ea typeface="+mn-ea"/>
                <a:cs typeface="+mn-cs"/>
              </a:defRPr>
            </a:lvl7pPr>
            <a:lvl8pPr marL="2728341" algn="l" defTabSz="779526" rtl="0" eaLnBrk="1" latinLnBrk="0" hangingPunct="1">
              <a:defRPr sz="1535" kern="1200">
                <a:solidFill>
                  <a:schemeClr val="tx1"/>
                </a:solidFill>
                <a:latin typeface="+mn-lt"/>
                <a:ea typeface="+mn-ea"/>
                <a:cs typeface="+mn-cs"/>
              </a:defRPr>
            </a:lvl8pPr>
            <a:lvl9pPr marL="3118104" algn="l" defTabSz="779526" rtl="0" eaLnBrk="1" latinLnBrk="0" hangingPunct="1">
              <a:defRPr sz="1535" kern="1200">
                <a:solidFill>
                  <a:schemeClr val="tx1"/>
                </a:solidFill>
                <a:latin typeface="+mn-lt"/>
                <a:ea typeface="+mn-ea"/>
                <a:cs typeface="+mn-cs"/>
              </a:defRPr>
            </a:lvl9pPr>
          </a:lstStyle>
          <a:p>
            <a:pPr algn="just" eaLnBrk="1" hangingPunct="1">
              <a:spcBef>
                <a:spcPts val="901"/>
              </a:spcBef>
              <a:buClrTx/>
              <a:buSzTx/>
              <a:buFontTx/>
              <a:buNone/>
              <a:defRPr/>
            </a:pPr>
            <a:endParaRPr lang="de-DE" altLang="de-DE" sz="601">
              <a:solidFill>
                <a:schemeClr val="tx1"/>
              </a:solidFill>
              <a:latin typeface="Arial" pitchFamily="34" charset="0"/>
            </a:endParaRPr>
          </a:p>
          <a:p>
            <a:pPr algn="just" eaLnBrk="1" hangingPunct="1">
              <a:spcBef>
                <a:spcPts val="901"/>
              </a:spcBef>
              <a:buClrTx/>
              <a:buSzTx/>
              <a:buFontTx/>
              <a:buNone/>
              <a:defRPr/>
            </a:pPr>
            <a:endParaRPr lang="de-DE" altLang="de-DE" sz="601">
              <a:solidFill>
                <a:schemeClr val="tx1"/>
              </a:solidFill>
              <a:latin typeface="Arial" pitchFamily="34" charset="0"/>
            </a:endParaRPr>
          </a:p>
          <a:p>
            <a:pPr algn="ctr" eaLnBrk="1" hangingPunct="1">
              <a:buClrTx/>
              <a:buSzTx/>
              <a:buFontTx/>
              <a:buNone/>
              <a:defRPr/>
            </a:pPr>
            <a:endParaRPr lang="en-GB" altLang="de-DE" sz="601">
              <a:solidFill>
                <a:schemeClr val="tx1"/>
              </a:solidFill>
              <a:latin typeface="Arial" pitchFamily="34" charset="0"/>
            </a:endParaRPr>
          </a:p>
          <a:p>
            <a:pPr algn="ctr" eaLnBrk="1" hangingPunct="1">
              <a:buClrTx/>
              <a:buSzTx/>
              <a:buFontTx/>
              <a:buNone/>
              <a:defRPr/>
            </a:pPr>
            <a:endParaRPr lang="en-GB" altLang="de-DE" sz="826">
              <a:solidFill>
                <a:schemeClr val="tx1"/>
              </a:solidFill>
              <a:latin typeface="Arial" pitchFamily="34" charset="0"/>
            </a:endParaRPr>
          </a:p>
          <a:p>
            <a:pPr algn="ctr" eaLnBrk="1" hangingPunct="1">
              <a:buClrTx/>
              <a:buSzTx/>
              <a:buFontTx/>
              <a:buNone/>
              <a:defRPr/>
            </a:pPr>
            <a:endParaRPr lang="de-DE" altLang="de-DE" sz="826">
              <a:solidFill>
                <a:schemeClr val="tx1"/>
              </a:solidFill>
              <a:latin typeface="Arial" pitchFamily="34" charset="0"/>
            </a:endParaRPr>
          </a:p>
        </p:txBody>
      </p:sp>
      <p:sp>
        <p:nvSpPr>
          <p:cNvPr id="40" name="Text Box 13"/>
          <p:cNvSpPr txBox="1">
            <a:spLocks noChangeArrowheads="1"/>
          </p:cNvSpPr>
          <p:nvPr/>
        </p:nvSpPr>
        <p:spPr bwMode="auto">
          <a:xfrm>
            <a:off x="3923328" y="3709847"/>
            <a:ext cx="1132514" cy="395654"/>
          </a:xfrm>
          <a:prstGeom prst="roundRect">
            <a:avLst/>
          </a:prstGeom>
          <a:solidFill>
            <a:schemeClr val="accent3">
              <a:lumMod val="75000"/>
            </a:schemeClr>
          </a:solidFill>
          <a:ln>
            <a:noFill/>
          </a:ln>
        </p:spPr>
        <p:txBody>
          <a:bodyPr/>
          <a:lstStyle>
            <a:defPPr>
              <a:defRPr lang="de-DE"/>
            </a:defPPr>
            <a:lvl1pPr marL="0" algn="l" defTabSz="779526" rtl="0" eaLnBrk="1" latinLnBrk="0" hangingPunct="1">
              <a:defRPr sz="1535" kern="1200">
                <a:solidFill>
                  <a:schemeClr val="tx1"/>
                </a:solidFill>
                <a:latin typeface="+mn-lt"/>
                <a:ea typeface="+mn-ea"/>
                <a:cs typeface="+mn-cs"/>
              </a:defRPr>
            </a:lvl1pPr>
            <a:lvl2pPr marL="389763" algn="l" defTabSz="779526" rtl="0" eaLnBrk="1" latinLnBrk="0" hangingPunct="1">
              <a:defRPr sz="1535" kern="1200">
                <a:solidFill>
                  <a:schemeClr val="tx1"/>
                </a:solidFill>
                <a:latin typeface="+mn-lt"/>
                <a:ea typeface="+mn-ea"/>
                <a:cs typeface="+mn-cs"/>
              </a:defRPr>
            </a:lvl2pPr>
            <a:lvl3pPr marL="779526" algn="l" defTabSz="779526" rtl="0" eaLnBrk="1" latinLnBrk="0" hangingPunct="1">
              <a:defRPr sz="1535" kern="1200">
                <a:solidFill>
                  <a:schemeClr val="tx1"/>
                </a:solidFill>
                <a:latin typeface="+mn-lt"/>
                <a:ea typeface="+mn-ea"/>
                <a:cs typeface="+mn-cs"/>
              </a:defRPr>
            </a:lvl3pPr>
            <a:lvl4pPr marL="1169289" algn="l" defTabSz="779526" rtl="0" eaLnBrk="1" latinLnBrk="0" hangingPunct="1">
              <a:defRPr sz="1535" kern="1200">
                <a:solidFill>
                  <a:schemeClr val="tx1"/>
                </a:solidFill>
                <a:latin typeface="+mn-lt"/>
                <a:ea typeface="+mn-ea"/>
                <a:cs typeface="+mn-cs"/>
              </a:defRPr>
            </a:lvl4pPr>
            <a:lvl5pPr marL="1559052" algn="l" defTabSz="779526" rtl="0" eaLnBrk="1" latinLnBrk="0" hangingPunct="1">
              <a:defRPr sz="1535" kern="1200">
                <a:solidFill>
                  <a:schemeClr val="tx1"/>
                </a:solidFill>
                <a:latin typeface="+mn-lt"/>
                <a:ea typeface="+mn-ea"/>
                <a:cs typeface="+mn-cs"/>
              </a:defRPr>
            </a:lvl5pPr>
            <a:lvl6pPr marL="1948815" algn="l" defTabSz="779526" rtl="0" eaLnBrk="1" latinLnBrk="0" hangingPunct="1">
              <a:defRPr sz="1535" kern="1200">
                <a:solidFill>
                  <a:schemeClr val="tx1"/>
                </a:solidFill>
                <a:latin typeface="+mn-lt"/>
                <a:ea typeface="+mn-ea"/>
                <a:cs typeface="+mn-cs"/>
              </a:defRPr>
            </a:lvl6pPr>
            <a:lvl7pPr marL="2338578" algn="l" defTabSz="779526" rtl="0" eaLnBrk="1" latinLnBrk="0" hangingPunct="1">
              <a:defRPr sz="1535" kern="1200">
                <a:solidFill>
                  <a:schemeClr val="tx1"/>
                </a:solidFill>
                <a:latin typeface="+mn-lt"/>
                <a:ea typeface="+mn-ea"/>
                <a:cs typeface="+mn-cs"/>
              </a:defRPr>
            </a:lvl7pPr>
            <a:lvl8pPr marL="2728341" algn="l" defTabSz="779526" rtl="0" eaLnBrk="1" latinLnBrk="0" hangingPunct="1">
              <a:defRPr sz="1535" kern="1200">
                <a:solidFill>
                  <a:schemeClr val="tx1"/>
                </a:solidFill>
                <a:latin typeface="+mn-lt"/>
                <a:ea typeface="+mn-ea"/>
                <a:cs typeface="+mn-cs"/>
              </a:defRPr>
            </a:lvl8pPr>
            <a:lvl9pPr marL="3118104" algn="l" defTabSz="779526" rtl="0" eaLnBrk="1" latinLnBrk="0" hangingPunct="1">
              <a:defRPr sz="1535" kern="1200">
                <a:solidFill>
                  <a:schemeClr val="tx1"/>
                </a:solidFill>
                <a:latin typeface="+mn-lt"/>
                <a:ea typeface="+mn-ea"/>
                <a:cs typeface="+mn-cs"/>
              </a:defRPr>
            </a:lvl9pPr>
          </a:lstStyle>
          <a:p>
            <a:pPr algn="ctr" eaLnBrk="1" hangingPunct="1">
              <a:spcBef>
                <a:spcPct val="0"/>
              </a:spcBef>
              <a:buClrTx/>
              <a:buSzTx/>
              <a:buFontTx/>
              <a:buNone/>
              <a:defRPr/>
            </a:pPr>
            <a:r>
              <a:rPr lang="de-DE" altLang="de-DE" sz="826" b="1" dirty="0">
                <a:solidFill>
                  <a:schemeClr val="bg1"/>
                </a:solidFill>
                <a:latin typeface="Arial" panose="020B0604020202020204" pitchFamily="34" charset="0"/>
                <a:cs typeface="Arial" panose="020B0604020202020204" pitchFamily="34" charset="0"/>
              </a:rPr>
              <a:t>FLOWSIC600(XT)</a:t>
            </a:r>
          </a:p>
          <a:p>
            <a:pPr algn="ctr" eaLnBrk="1" hangingPunct="1">
              <a:spcBef>
                <a:spcPct val="0"/>
              </a:spcBef>
              <a:buClrTx/>
              <a:buSzTx/>
              <a:buFontTx/>
              <a:buNone/>
              <a:defRPr/>
            </a:pPr>
            <a:r>
              <a:rPr lang="de-DE" altLang="de-DE" sz="826" b="1" dirty="0">
                <a:solidFill>
                  <a:schemeClr val="bg1"/>
                </a:solidFill>
                <a:latin typeface="Arial" pitchFamily="34" charset="0"/>
              </a:rPr>
              <a:t>FLOWSIC300</a:t>
            </a:r>
          </a:p>
        </p:txBody>
      </p:sp>
      <p:sp>
        <p:nvSpPr>
          <p:cNvPr id="41" name="Text Box 15"/>
          <p:cNvSpPr txBox="1">
            <a:spLocks noChangeArrowheads="1"/>
          </p:cNvSpPr>
          <p:nvPr/>
        </p:nvSpPr>
        <p:spPr bwMode="auto">
          <a:xfrm>
            <a:off x="3948727" y="4196072"/>
            <a:ext cx="1029653" cy="538661"/>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defPPr>
              <a:defRPr lang="de-DE"/>
            </a:defPPr>
            <a:lvl1pPr marL="0" algn="l" defTabSz="779526" rtl="0" eaLnBrk="1" latinLnBrk="0" hangingPunct="1">
              <a:defRPr sz="1535" kern="1200">
                <a:solidFill>
                  <a:schemeClr val="tx1"/>
                </a:solidFill>
                <a:latin typeface="+mn-lt"/>
                <a:ea typeface="+mn-ea"/>
                <a:cs typeface="+mn-cs"/>
              </a:defRPr>
            </a:lvl1pPr>
            <a:lvl2pPr marL="389763" algn="l" defTabSz="779526" rtl="0" eaLnBrk="1" latinLnBrk="0" hangingPunct="1">
              <a:defRPr sz="1535" kern="1200">
                <a:solidFill>
                  <a:schemeClr val="tx1"/>
                </a:solidFill>
                <a:latin typeface="+mn-lt"/>
                <a:ea typeface="+mn-ea"/>
                <a:cs typeface="+mn-cs"/>
              </a:defRPr>
            </a:lvl2pPr>
            <a:lvl3pPr marL="779526" algn="l" defTabSz="779526" rtl="0" eaLnBrk="1" latinLnBrk="0" hangingPunct="1">
              <a:defRPr sz="1535" kern="1200">
                <a:solidFill>
                  <a:schemeClr val="tx1"/>
                </a:solidFill>
                <a:latin typeface="+mn-lt"/>
                <a:ea typeface="+mn-ea"/>
                <a:cs typeface="+mn-cs"/>
              </a:defRPr>
            </a:lvl3pPr>
            <a:lvl4pPr marL="1169289" algn="l" defTabSz="779526" rtl="0" eaLnBrk="1" latinLnBrk="0" hangingPunct="1">
              <a:defRPr sz="1535" kern="1200">
                <a:solidFill>
                  <a:schemeClr val="tx1"/>
                </a:solidFill>
                <a:latin typeface="+mn-lt"/>
                <a:ea typeface="+mn-ea"/>
                <a:cs typeface="+mn-cs"/>
              </a:defRPr>
            </a:lvl4pPr>
            <a:lvl5pPr marL="1559052" algn="l" defTabSz="779526" rtl="0" eaLnBrk="1" latinLnBrk="0" hangingPunct="1">
              <a:defRPr sz="1535" kern="1200">
                <a:solidFill>
                  <a:schemeClr val="tx1"/>
                </a:solidFill>
                <a:latin typeface="+mn-lt"/>
                <a:ea typeface="+mn-ea"/>
                <a:cs typeface="+mn-cs"/>
              </a:defRPr>
            </a:lvl5pPr>
            <a:lvl6pPr marL="1948815" algn="l" defTabSz="779526" rtl="0" eaLnBrk="1" latinLnBrk="0" hangingPunct="1">
              <a:defRPr sz="1535" kern="1200">
                <a:solidFill>
                  <a:schemeClr val="tx1"/>
                </a:solidFill>
                <a:latin typeface="+mn-lt"/>
                <a:ea typeface="+mn-ea"/>
                <a:cs typeface="+mn-cs"/>
              </a:defRPr>
            </a:lvl6pPr>
            <a:lvl7pPr marL="2338578" algn="l" defTabSz="779526" rtl="0" eaLnBrk="1" latinLnBrk="0" hangingPunct="1">
              <a:defRPr sz="1535" kern="1200">
                <a:solidFill>
                  <a:schemeClr val="tx1"/>
                </a:solidFill>
                <a:latin typeface="+mn-lt"/>
                <a:ea typeface="+mn-ea"/>
                <a:cs typeface="+mn-cs"/>
              </a:defRPr>
            </a:lvl7pPr>
            <a:lvl8pPr marL="2728341" algn="l" defTabSz="779526" rtl="0" eaLnBrk="1" latinLnBrk="0" hangingPunct="1">
              <a:defRPr sz="1535" kern="1200">
                <a:solidFill>
                  <a:schemeClr val="tx1"/>
                </a:solidFill>
                <a:latin typeface="+mn-lt"/>
                <a:ea typeface="+mn-ea"/>
                <a:cs typeface="+mn-cs"/>
              </a:defRPr>
            </a:lvl8pPr>
            <a:lvl9pPr marL="3118104" algn="l" defTabSz="779526" rtl="0" eaLnBrk="1" latinLnBrk="0" hangingPunct="1">
              <a:defRPr sz="1535" kern="1200">
                <a:solidFill>
                  <a:schemeClr val="tx1"/>
                </a:solidFill>
                <a:latin typeface="+mn-lt"/>
                <a:ea typeface="+mn-ea"/>
                <a:cs typeface="+mn-cs"/>
              </a:defRPr>
            </a:lvl9pPr>
          </a:lstStyle>
          <a:p>
            <a:pPr algn="ctr" eaLnBrk="1" hangingPunct="1">
              <a:spcBef>
                <a:spcPct val="0"/>
              </a:spcBef>
              <a:buClrTx/>
              <a:buSzTx/>
              <a:buFontTx/>
              <a:buNone/>
            </a:pPr>
            <a:r>
              <a:rPr lang="de-DE" altLang="de-DE" sz="976">
                <a:solidFill>
                  <a:schemeClr val="tx1"/>
                </a:solidFill>
                <a:latin typeface="Arial" charset="0"/>
              </a:rPr>
              <a:t>Natural gas &amp; Process industry</a:t>
            </a:r>
          </a:p>
        </p:txBody>
      </p:sp>
      <p:pic>
        <p:nvPicPr>
          <p:cNvPr id="42" name="Picture 14" descr="FLOWSIC600_cut"/>
          <p:cNvPicPr>
            <a:picLocks noChangeAspect="1" noChangeArrowheads="1"/>
          </p:cNvPicPr>
          <p:nvPr/>
        </p:nvPicPr>
        <p:blipFill>
          <a:blip r:embed="rId3">
            <a:extLst>
              <a:ext uri="{28A0092B-C50C-407E-A947-70E740481C1C}">
                <a14:useLocalDpi xmlns:a14="http://schemas.microsoft.com/office/drawing/2010/main" val="0"/>
              </a:ext>
            </a:extLst>
          </a:blip>
          <a:srcRect l="-9424" t="-9163" r="-7143" b="-4753"/>
          <a:stretch>
            <a:fillRect/>
          </a:stretch>
        </p:blipFill>
        <p:spPr bwMode="auto">
          <a:xfrm>
            <a:off x="4018752" y="2876625"/>
            <a:ext cx="877584" cy="724570"/>
          </a:xfrm>
          <a:prstGeom prst="rect">
            <a:avLst/>
          </a:prstGeom>
          <a:solidFill>
            <a:schemeClr val="bg1"/>
          </a:solidFill>
          <a:ln>
            <a:noFill/>
          </a:ln>
          <a:extLst>
            <a:ext uri="{91240B29-F687-4F45-9708-019B960494DF}">
              <a14:hiddenLine xmlns:a14="http://schemas.microsoft.com/office/drawing/2010/main" w="9525">
                <a:solidFill>
                  <a:schemeClr val="hlink"/>
                </a:solidFill>
                <a:miter lim="800000"/>
                <a:headEnd/>
                <a:tailEnd/>
              </a14:hiddenLine>
            </a:ext>
          </a:extLst>
        </p:spPr>
      </p:pic>
      <p:sp>
        <p:nvSpPr>
          <p:cNvPr id="44" name="Text Box 9"/>
          <p:cNvSpPr txBox="1">
            <a:spLocks noChangeArrowheads="1"/>
          </p:cNvSpPr>
          <p:nvPr/>
        </p:nvSpPr>
        <p:spPr bwMode="auto">
          <a:xfrm>
            <a:off x="2643786" y="3644302"/>
            <a:ext cx="1175043" cy="1245356"/>
          </a:xfrm>
          <a:prstGeom prst="rect">
            <a:avLst/>
          </a:prstGeom>
          <a:solidFill>
            <a:schemeClr val="tx1">
              <a:lumMod val="25000"/>
              <a:lumOff val="75000"/>
            </a:schemeClr>
          </a:solidFill>
          <a:ln>
            <a:noFill/>
          </a:ln>
        </p:spPr>
        <p:txBody>
          <a:bodyPr/>
          <a:lstStyle>
            <a:defPPr>
              <a:defRPr lang="de-DE"/>
            </a:defPPr>
            <a:lvl1pPr marL="0" algn="l" defTabSz="779526" rtl="0" eaLnBrk="1" latinLnBrk="0" hangingPunct="1">
              <a:defRPr sz="1535" kern="1200">
                <a:solidFill>
                  <a:schemeClr val="tx1"/>
                </a:solidFill>
                <a:latin typeface="+mn-lt"/>
                <a:ea typeface="+mn-ea"/>
                <a:cs typeface="+mn-cs"/>
              </a:defRPr>
            </a:lvl1pPr>
            <a:lvl2pPr marL="389763" algn="l" defTabSz="779526" rtl="0" eaLnBrk="1" latinLnBrk="0" hangingPunct="1">
              <a:defRPr sz="1535" kern="1200">
                <a:solidFill>
                  <a:schemeClr val="tx1"/>
                </a:solidFill>
                <a:latin typeface="+mn-lt"/>
                <a:ea typeface="+mn-ea"/>
                <a:cs typeface="+mn-cs"/>
              </a:defRPr>
            </a:lvl2pPr>
            <a:lvl3pPr marL="779526" algn="l" defTabSz="779526" rtl="0" eaLnBrk="1" latinLnBrk="0" hangingPunct="1">
              <a:defRPr sz="1535" kern="1200">
                <a:solidFill>
                  <a:schemeClr val="tx1"/>
                </a:solidFill>
                <a:latin typeface="+mn-lt"/>
                <a:ea typeface="+mn-ea"/>
                <a:cs typeface="+mn-cs"/>
              </a:defRPr>
            </a:lvl3pPr>
            <a:lvl4pPr marL="1169289" algn="l" defTabSz="779526" rtl="0" eaLnBrk="1" latinLnBrk="0" hangingPunct="1">
              <a:defRPr sz="1535" kern="1200">
                <a:solidFill>
                  <a:schemeClr val="tx1"/>
                </a:solidFill>
                <a:latin typeface="+mn-lt"/>
                <a:ea typeface="+mn-ea"/>
                <a:cs typeface="+mn-cs"/>
              </a:defRPr>
            </a:lvl4pPr>
            <a:lvl5pPr marL="1559052" algn="l" defTabSz="779526" rtl="0" eaLnBrk="1" latinLnBrk="0" hangingPunct="1">
              <a:defRPr sz="1535" kern="1200">
                <a:solidFill>
                  <a:schemeClr val="tx1"/>
                </a:solidFill>
                <a:latin typeface="+mn-lt"/>
                <a:ea typeface="+mn-ea"/>
                <a:cs typeface="+mn-cs"/>
              </a:defRPr>
            </a:lvl5pPr>
            <a:lvl6pPr marL="1948815" algn="l" defTabSz="779526" rtl="0" eaLnBrk="1" latinLnBrk="0" hangingPunct="1">
              <a:defRPr sz="1535" kern="1200">
                <a:solidFill>
                  <a:schemeClr val="tx1"/>
                </a:solidFill>
                <a:latin typeface="+mn-lt"/>
                <a:ea typeface="+mn-ea"/>
                <a:cs typeface="+mn-cs"/>
              </a:defRPr>
            </a:lvl6pPr>
            <a:lvl7pPr marL="2338578" algn="l" defTabSz="779526" rtl="0" eaLnBrk="1" latinLnBrk="0" hangingPunct="1">
              <a:defRPr sz="1535" kern="1200">
                <a:solidFill>
                  <a:schemeClr val="tx1"/>
                </a:solidFill>
                <a:latin typeface="+mn-lt"/>
                <a:ea typeface="+mn-ea"/>
                <a:cs typeface="+mn-cs"/>
              </a:defRPr>
            </a:lvl7pPr>
            <a:lvl8pPr marL="2728341" algn="l" defTabSz="779526" rtl="0" eaLnBrk="1" latinLnBrk="0" hangingPunct="1">
              <a:defRPr sz="1535" kern="1200">
                <a:solidFill>
                  <a:schemeClr val="tx1"/>
                </a:solidFill>
                <a:latin typeface="+mn-lt"/>
                <a:ea typeface="+mn-ea"/>
                <a:cs typeface="+mn-cs"/>
              </a:defRPr>
            </a:lvl8pPr>
            <a:lvl9pPr marL="3118104" algn="l" defTabSz="779526" rtl="0" eaLnBrk="1" latinLnBrk="0" hangingPunct="1">
              <a:defRPr sz="1535" kern="1200">
                <a:solidFill>
                  <a:schemeClr val="tx1"/>
                </a:solidFill>
                <a:latin typeface="+mn-lt"/>
                <a:ea typeface="+mn-ea"/>
                <a:cs typeface="+mn-cs"/>
              </a:defRPr>
            </a:lvl9pPr>
          </a:lstStyle>
          <a:p>
            <a:pPr algn="just" eaLnBrk="1" hangingPunct="1">
              <a:spcBef>
                <a:spcPts val="901"/>
              </a:spcBef>
              <a:buClrTx/>
              <a:buSzTx/>
              <a:buFontTx/>
              <a:buNone/>
              <a:defRPr/>
            </a:pPr>
            <a:endParaRPr lang="de-DE" altLang="de-DE" sz="976">
              <a:solidFill>
                <a:schemeClr val="tx1"/>
              </a:solidFill>
              <a:latin typeface="Arial" pitchFamily="34" charset="0"/>
            </a:endParaRPr>
          </a:p>
          <a:p>
            <a:pPr algn="just" eaLnBrk="1" hangingPunct="1">
              <a:spcBef>
                <a:spcPts val="901"/>
              </a:spcBef>
              <a:buClrTx/>
              <a:buSzTx/>
              <a:buFontTx/>
              <a:buNone/>
              <a:defRPr/>
            </a:pPr>
            <a:endParaRPr lang="de-DE" altLang="de-DE" sz="976">
              <a:solidFill>
                <a:schemeClr val="tx1"/>
              </a:solidFill>
              <a:latin typeface="Arial" pitchFamily="34" charset="0"/>
            </a:endParaRPr>
          </a:p>
        </p:txBody>
      </p:sp>
      <p:sp>
        <p:nvSpPr>
          <p:cNvPr id="45" name="Text Box 10"/>
          <p:cNvSpPr txBox="1">
            <a:spLocks noChangeArrowheads="1"/>
          </p:cNvSpPr>
          <p:nvPr/>
        </p:nvSpPr>
        <p:spPr bwMode="auto">
          <a:xfrm>
            <a:off x="2659278" y="3709848"/>
            <a:ext cx="1130949" cy="479074"/>
          </a:xfrm>
          <a:prstGeom prst="roundRect">
            <a:avLst/>
          </a:prstGeom>
          <a:solidFill>
            <a:schemeClr val="accent3">
              <a:lumMod val="75000"/>
            </a:schemeClr>
          </a:solidFill>
          <a:ln>
            <a:noFill/>
          </a:ln>
        </p:spPr>
        <p:txBody>
          <a:bodyPr/>
          <a:lstStyle>
            <a:defPPr>
              <a:defRPr lang="de-DE"/>
            </a:defPPr>
            <a:lvl1pPr marL="0" algn="l" defTabSz="779526" rtl="0" eaLnBrk="1" latinLnBrk="0" hangingPunct="1">
              <a:defRPr sz="1535" kern="1200">
                <a:solidFill>
                  <a:schemeClr val="tx1"/>
                </a:solidFill>
                <a:latin typeface="+mn-lt"/>
                <a:ea typeface="+mn-ea"/>
                <a:cs typeface="+mn-cs"/>
              </a:defRPr>
            </a:lvl1pPr>
            <a:lvl2pPr marL="389763" algn="l" defTabSz="779526" rtl="0" eaLnBrk="1" latinLnBrk="0" hangingPunct="1">
              <a:defRPr sz="1535" kern="1200">
                <a:solidFill>
                  <a:schemeClr val="tx1"/>
                </a:solidFill>
                <a:latin typeface="+mn-lt"/>
                <a:ea typeface="+mn-ea"/>
                <a:cs typeface="+mn-cs"/>
              </a:defRPr>
            </a:lvl2pPr>
            <a:lvl3pPr marL="779526" algn="l" defTabSz="779526" rtl="0" eaLnBrk="1" latinLnBrk="0" hangingPunct="1">
              <a:defRPr sz="1535" kern="1200">
                <a:solidFill>
                  <a:schemeClr val="tx1"/>
                </a:solidFill>
                <a:latin typeface="+mn-lt"/>
                <a:ea typeface="+mn-ea"/>
                <a:cs typeface="+mn-cs"/>
              </a:defRPr>
            </a:lvl3pPr>
            <a:lvl4pPr marL="1169289" algn="l" defTabSz="779526" rtl="0" eaLnBrk="1" latinLnBrk="0" hangingPunct="1">
              <a:defRPr sz="1535" kern="1200">
                <a:solidFill>
                  <a:schemeClr val="tx1"/>
                </a:solidFill>
                <a:latin typeface="+mn-lt"/>
                <a:ea typeface="+mn-ea"/>
                <a:cs typeface="+mn-cs"/>
              </a:defRPr>
            </a:lvl4pPr>
            <a:lvl5pPr marL="1559052" algn="l" defTabSz="779526" rtl="0" eaLnBrk="1" latinLnBrk="0" hangingPunct="1">
              <a:defRPr sz="1535" kern="1200">
                <a:solidFill>
                  <a:schemeClr val="tx1"/>
                </a:solidFill>
                <a:latin typeface="+mn-lt"/>
                <a:ea typeface="+mn-ea"/>
                <a:cs typeface="+mn-cs"/>
              </a:defRPr>
            </a:lvl5pPr>
            <a:lvl6pPr marL="1948815" algn="l" defTabSz="779526" rtl="0" eaLnBrk="1" latinLnBrk="0" hangingPunct="1">
              <a:defRPr sz="1535" kern="1200">
                <a:solidFill>
                  <a:schemeClr val="tx1"/>
                </a:solidFill>
                <a:latin typeface="+mn-lt"/>
                <a:ea typeface="+mn-ea"/>
                <a:cs typeface="+mn-cs"/>
              </a:defRPr>
            </a:lvl6pPr>
            <a:lvl7pPr marL="2338578" algn="l" defTabSz="779526" rtl="0" eaLnBrk="1" latinLnBrk="0" hangingPunct="1">
              <a:defRPr sz="1535" kern="1200">
                <a:solidFill>
                  <a:schemeClr val="tx1"/>
                </a:solidFill>
                <a:latin typeface="+mn-lt"/>
                <a:ea typeface="+mn-ea"/>
                <a:cs typeface="+mn-cs"/>
              </a:defRPr>
            </a:lvl7pPr>
            <a:lvl8pPr marL="2728341" algn="l" defTabSz="779526" rtl="0" eaLnBrk="1" latinLnBrk="0" hangingPunct="1">
              <a:defRPr sz="1535" kern="1200">
                <a:solidFill>
                  <a:schemeClr val="tx1"/>
                </a:solidFill>
                <a:latin typeface="+mn-lt"/>
                <a:ea typeface="+mn-ea"/>
                <a:cs typeface="+mn-cs"/>
              </a:defRPr>
            </a:lvl8pPr>
            <a:lvl9pPr marL="3118104" algn="l" defTabSz="779526" rtl="0" eaLnBrk="1" latinLnBrk="0" hangingPunct="1">
              <a:defRPr sz="1535" kern="1200">
                <a:solidFill>
                  <a:schemeClr val="tx1"/>
                </a:solidFill>
                <a:latin typeface="+mn-lt"/>
                <a:ea typeface="+mn-ea"/>
                <a:cs typeface="+mn-cs"/>
              </a:defRPr>
            </a:lvl9pPr>
          </a:lstStyle>
          <a:p>
            <a:pPr algn="ctr" eaLnBrk="1" hangingPunct="1">
              <a:spcBef>
                <a:spcPct val="0"/>
              </a:spcBef>
              <a:buClrTx/>
              <a:buSzTx/>
              <a:buFont typeface="Wingdings" pitchFamily="2" charset="2"/>
              <a:buNone/>
              <a:defRPr/>
            </a:pPr>
            <a:r>
              <a:rPr lang="de-DE" altLang="de-DE" sz="826" b="1">
                <a:solidFill>
                  <a:schemeClr val="bg1"/>
                </a:solidFill>
                <a:latin typeface="Arial" pitchFamily="34" charset="0"/>
              </a:rPr>
              <a:t>FLOWSIC30</a:t>
            </a:r>
          </a:p>
          <a:p>
            <a:pPr algn="ctr" eaLnBrk="1" hangingPunct="1">
              <a:spcBef>
                <a:spcPct val="0"/>
              </a:spcBef>
              <a:buClrTx/>
              <a:buSzTx/>
              <a:buFontTx/>
              <a:buNone/>
              <a:defRPr/>
            </a:pPr>
            <a:r>
              <a:rPr lang="de-DE" altLang="de-DE" sz="826" b="1">
                <a:solidFill>
                  <a:schemeClr val="bg1"/>
                </a:solidFill>
                <a:latin typeface="Arial" pitchFamily="34" charset="0"/>
              </a:rPr>
              <a:t>FLOWSIC100 </a:t>
            </a:r>
            <a:r>
              <a:rPr lang="de-DE" altLang="de-DE" sz="826" b="1" err="1">
                <a:solidFill>
                  <a:schemeClr val="bg1"/>
                </a:solidFill>
                <a:latin typeface="Arial" pitchFamily="34" charset="0"/>
              </a:rPr>
              <a:t>Flare</a:t>
            </a:r>
            <a:br>
              <a:rPr lang="de-DE" altLang="de-DE" sz="826" b="1">
                <a:solidFill>
                  <a:schemeClr val="bg1"/>
                </a:solidFill>
                <a:latin typeface="Arial" pitchFamily="34" charset="0"/>
              </a:rPr>
            </a:br>
            <a:r>
              <a:rPr lang="de-DE" altLang="de-DE" sz="826" b="1">
                <a:solidFill>
                  <a:schemeClr val="bg1"/>
                </a:solidFill>
                <a:latin typeface="Arial" pitchFamily="34" charset="0"/>
              </a:rPr>
              <a:t>FLOWSIC600 DRU</a:t>
            </a:r>
          </a:p>
        </p:txBody>
      </p:sp>
      <p:grpSp>
        <p:nvGrpSpPr>
          <p:cNvPr id="23569" name="Group 20"/>
          <p:cNvGrpSpPr>
            <a:grpSpLocks/>
          </p:cNvGrpSpPr>
          <p:nvPr/>
        </p:nvGrpSpPr>
        <p:grpSpPr bwMode="auto">
          <a:xfrm>
            <a:off x="2925033" y="3191446"/>
            <a:ext cx="890221" cy="452856"/>
            <a:chOff x="381" y="1176"/>
            <a:chExt cx="2292" cy="1293"/>
          </a:xfrm>
        </p:grpSpPr>
        <p:pic>
          <p:nvPicPr>
            <p:cNvPr id="34854" name="Picture 2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1" y="1251"/>
              <a:ext cx="1506" cy="1218"/>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4855" name="Picture 2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79" y="1176"/>
              <a:ext cx="1194" cy="864"/>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51" name="Text Box 17"/>
          <p:cNvSpPr txBox="1">
            <a:spLocks noChangeArrowheads="1"/>
          </p:cNvSpPr>
          <p:nvPr/>
        </p:nvSpPr>
        <p:spPr bwMode="auto">
          <a:xfrm>
            <a:off x="5088019" y="3644302"/>
            <a:ext cx="1188152" cy="1239397"/>
          </a:xfrm>
          <a:prstGeom prst="rect">
            <a:avLst/>
          </a:prstGeom>
          <a:solidFill>
            <a:schemeClr val="tx1">
              <a:lumMod val="25000"/>
              <a:lumOff val="75000"/>
            </a:schemeClr>
          </a:solidFill>
          <a:ln>
            <a:noFill/>
          </a:ln>
        </p:spPr>
        <p:txBody>
          <a:bodyPr/>
          <a:lstStyle>
            <a:defPPr>
              <a:defRPr lang="de-DE"/>
            </a:defPPr>
            <a:lvl1pPr marL="0" algn="l" defTabSz="779526" rtl="0" eaLnBrk="1" latinLnBrk="0" hangingPunct="1">
              <a:defRPr sz="1535" kern="1200">
                <a:solidFill>
                  <a:schemeClr val="tx1"/>
                </a:solidFill>
                <a:latin typeface="+mn-lt"/>
                <a:ea typeface="+mn-ea"/>
                <a:cs typeface="+mn-cs"/>
              </a:defRPr>
            </a:lvl1pPr>
            <a:lvl2pPr marL="389763" algn="l" defTabSz="779526" rtl="0" eaLnBrk="1" latinLnBrk="0" hangingPunct="1">
              <a:defRPr sz="1535" kern="1200">
                <a:solidFill>
                  <a:schemeClr val="tx1"/>
                </a:solidFill>
                <a:latin typeface="+mn-lt"/>
                <a:ea typeface="+mn-ea"/>
                <a:cs typeface="+mn-cs"/>
              </a:defRPr>
            </a:lvl2pPr>
            <a:lvl3pPr marL="779526" algn="l" defTabSz="779526" rtl="0" eaLnBrk="1" latinLnBrk="0" hangingPunct="1">
              <a:defRPr sz="1535" kern="1200">
                <a:solidFill>
                  <a:schemeClr val="tx1"/>
                </a:solidFill>
                <a:latin typeface="+mn-lt"/>
                <a:ea typeface="+mn-ea"/>
                <a:cs typeface="+mn-cs"/>
              </a:defRPr>
            </a:lvl3pPr>
            <a:lvl4pPr marL="1169289" algn="l" defTabSz="779526" rtl="0" eaLnBrk="1" latinLnBrk="0" hangingPunct="1">
              <a:defRPr sz="1535" kern="1200">
                <a:solidFill>
                  <a:schemeClr val="tx1"/>
                </a:solidFill>
                <a:latin typeface="+mn-lt"/>
                <a:ea typeface="+mn-ea"/>
                <a:cs typeface="+mn-cs"/>
              </a:defRPr>
            </a:lvl4pPr>
            <a:lvl5pPr marL="1559052" algn="l" defTabSz="779526" rtl="0" eaLnBrk="1" latinLnBrk="0" hangingPunct="1">
              <a:defRPr sz="1535" kern="1200">
                <a:solidFill>
                  <a:schemeClr val="tx1"/>
                </a:solidFill>
                <a:latin typeface="+mn-lt"/>
                <a:ea typeface="+mn-ea"/>
                <a:cs typeface="+mn-cs"/>
              </a:defRPr>
            </a:lvl5pPr>
            <a:lvl6pPr marL="1948815" algn="l" defTabSz="779526" rtl="0" eaLnBrk="1" latinLnBrk="0" hangingPunct="1">
              <a:defRPr sz="1535" kern="1200">
                <a:solidFill>
                  <a:schemeClr val="tx1"/>
                </a:solidFill>
                <a:latin typeface="+mn-lt"/>
                <a:ea typeface="+mn-ea"/>
                <a:cs typeface="+mn-cs"/>
              </a:defRPr>
            </a:lvl6pPr>
            <a:lvl7pPr marL="2338578" algn="l" defTabSz="779526" rtl="0" eaLnBrk="1" latinLnBrk="0" hangingPunct="1">
              <a:defRPr sz="1535" kern="1200">
                <a:solidFill>
                  <a:schemeClr val="tx1"/>
                </a:solidFill>
                <a:latin typeface="+mn-lt"/>
                <a:ea typeface="+mn-ea"/>
                <a:cs typeface="+mn-cs"/>
              </a:defRPr>
            </a:lvl7pPr>
            <a:lvl8pPr marL="2728341" algn="l" defTabSz="779526" rtl="0" eaLnBrk="1" latinLnBrk="0" hangingPunct="1">
              <a:defRPr sz="1535" kern="1200">
                <a:solidFill>
                  <a:schemeClr val="tx1"/>
                </a:solidFill>
                <a:latin typeface="+mn-lt"/>
                <a:ea typeface="+mn-ea"/>
                <a:cs typeface="+mn-cs"/>
              </a:defRPr>
            </a:lvl8pPr>
            <a:lvl9pPr marL="3118104" algn="l" defTabSz="779526" rtl="0" eaLnBrk="1" latinLnBrk="0" hangingPunct="1">
              <a:defRPr sz="1535" kern="1200">
                <a:solidFill>
                  <a:schemeClr val="tx1"/>
                </a:solidFill>
                <a:latin typeface="+mn-lt"/>
                <a:ea typeface="+mn-ea"/>
                <a:cs typeface="+mn-cs"/>
              </a:defRPr>
            </a:lvl9pPr>
          </a:lstStyle>
          <a:p>
            <a:pPr algn="just" eaLnBrk="1" hangingPunct="1">
              <a:spcBef>
                <a:spcPts val="901"/>
              </a:spcBef>
              <a:buClrTx/>
              <a:buSzTx/>
              <a:buFontTx/>
              <a:buNone/>
              <a:defRPr/>
            </a:pPr>
            <a:endParaRPr lang="de-DE" altLang="de-DE" sz="976">
              <a:solidFill>
                <a:schemeClr val="tx1"/>
              </a:solidFill>
              <a:latin typeface="Arial" pitchFamily="34" charset="0"/>
            </a:endParaRPr>
          </a:p>
          <a:p>
            <a:pPr algn="just" eaLnBrk="1" hangingPunct="1">
              <a:spcBef>
                <a:spcPts val="901"/>
              </a:spcBef>
              <a:buClrTx/>
              <a:buSzTx/>
              <a:buFontTx/>
              <a:buNone/>
              <a:defRPr/>
            </a:pPr>
            <a:endParaRPr lang="de-DE" altLang="de-DE" sz="976">
              <a:solidFill>
                <a:schemeClr val="tx1"/>
              </a:solidFill>
              <a:latin typeface="Arial" pitchFamily="34" charset="0"/>
            </a:endParaRPr>
          </a:p>
          <a:p>
            <a:pPr algn="ctr" eaLnBrk="1" hangingPunct="1">
              <a:buClrTx/>
              <a:buSzTx/>
              <a:buFontTx/>
              <a:buNone/>
              <a:defRPr/>
            </a:pPr>
            <a:endParaRPr lang="en-GB" altLang="de-DE" sz="976">
              <a:solidFill>
                <a:schemeClr val="tx1"/>
              </a:solidFill>
              <a:latin typeface="Arial" pitchFamily="34" charset="0"/>
            </a:endParaRPr>
          </a:p>
        </p:txBody>
      </p:sp>
      <p:sp>
        <p:nvSpPr>
          <p:cNvPr id="52" name="Text Box 18"/>
          <p:cNvSpPr txBox="1">
            <a:spLocks noChangeArrowheads="1"/>
          </p:cNvSpPr>
          <p:nvPr/>
        </p:nvSpPr>
        <p:spPr bwMode="auto">
          <a:xfrm>
            <a:off x="5175015" y="3720573"/>
            <a:ext cx="1014160" cy="384928"/>
          </a:xfrm>
          <a:prstGeom prst="roundRect">
            <a:avLst/>
          </a:prstGeom>
          <a:solidFill>
            <a:schemeClr val="accent3">
              <a:lumMod val="75000"/>
            </a:schemeClr>
          </a:solidFill>
          <a:ln>
            <a:noFill/>
          </a:ln>
        </p:spPr>
        <p:txBody>
          <a:bodyPr/>
          <a:lstStyle>
            <a:defPPr>
              <a:defRPr lang="de-DE"/>
            </a:defPPr>
            <a:lvl1pPr marL="0" algn="l" defTabSz="779526" rtl="0" eaLnBrk="1" latinLnBrk="0" hangingPunct="1">
              <a:defRPr sz="1535" kern="1200">
                <a:solidFill>
                  <a:schemeClr val="tx1"/>
                </a:solidFill>
                <a:latin typeface="+mn-lt"/>
                <a:ea typeface="+mn-ea"/>
                <a:cs typeface="+mn-cs"/>
              </a:defRPr>
            </a:lvl1pPr>
            <a:lvl2pPr marL="389763" algn="l" defTabSz="779526" rtl="0" eaLnBrk="1" latinLnBrk="0" hangingPunct="1">
              <a:defRPr sz="1535" kern="1200">
                <a:solidFill>
                  <a:schemeClr val="tx1"/>
                </a:solidFill>
                <a:latin typeface="+mn-lt"/>
                <a:ea typeface="+mn-ea"/>
                <a:cs typeface="+mn-cs"/>
              </a:defRPr>
            </a:lvl2pPr>
            <a:lvl3pPr marL="779526" algn="l" defTabSz="779526" rtl="0" eaLnBrk="1" latinLnBrk="0" hangingPunct="1">
              <a:defRPr sz="1535" kern="1200">
                <a:solidFill>
                  <a:schemeClr val="tx1"/>
                </a:solidFill>
                <a:latin typeface="+mn-lt"/>
                <a:ea typeface="+mn-ea"/>
                <a:cs typeface="+mn-cs"/>
              </a:defRPr>
            </a:lvl3pPr>
            <a:lvl4pPr marL="1169289" algn="l" defTabSz="779526" rtl="0" eaLnBrk="1" latinLnBrk="0" hangingPunct="1">
              <a:defRPr sz="1535" kern="1200">
                <a:solidFill>
                  <a:schemeClr val="tx1"/>
                </a:solidFill>
                <a:latin typeface="+mn-lt"/>
                <a:ea typeface="+mn-ea"/>
                <a:cs typeface="+mn-cs"/>
              </a:defRPr>
            </a:lvl4pPr>
            <a:lvl5pPr marL="1559052" algn="l" defTabSz="779526" rtl="0" eaLnBrk="1" latinLnBrk="0" hangingPunct="1">
              <a:defRPr sz="1535" kern="1200">
                <a:solidFill>
                  <a:schemeClr val="tx1"/>
                </a:solidFill>
                <a:latin typeface="+mn-lt"/>
                <a:ea typeface="+mn-ea"/>
                <a:cs typeface="+mn-cs"/>
              </a:defRPr>
            </a:lvl5pPr>
            <a:lvl6pPr marL="1948815" algn="l" defTabSz="779526" rtl="0" eaLnBrk="1" latinLnBrk="0" hangingPunct="1">
              <a:defRPr sz="1535" kern="1200">
                <a:solidFill>
                  <a:schemeClr val="tx1"/>
                </a:solidFill>
                <a:latin typeface="+mn-lt"/>
                <a:ea typeface="+mn-ea"/>
                <a:cs typeface="+mn-cs"/>
              </a:defRPr>
            </a:lvl6pPr>
            <a:lvl7pPr marL="2338578" algn="l" defTabSz="779526" rtl="0" eaLnBrk="1" latinLnBrk="0" hangingPunct="1">
              <a:defRPr sz="1535" kern="1200">
                <a:solidFill>
                  <a:schemeClr val="tx1"/>
                </a:solidFill>
                <a:latin typeface="+mn-lt"/>
                <a:ea typeface="+mn-ea"/>
                <a:cs typeface="+mn-cs"/>
              </a:defRPr>
            </a:lvl7pPr>
            <a:lvl8pPr marL="2728341" algn="l" defTabSz="779526" rtl="0" eaLnBrk="1" latinLnBrk="0" hangingPunct="1">
              <a:defRPr sz="1535" kern="1200">
                <a:solidFill>
                  <a:schemeClr val="tx1"/>
                </a:solidFill>
                <a:latin typeface="+mn-lt"/>
                <a:ea typeface="+mn-ea"/>
                <a:cs typeface="+mn-cs"/>
              </a:defRPr>
            </a:lvl8pPr>
            <a:lvl9pPr marL="3118104" algn="l" defTabSz="779526" rtl="0" eaLnBrk="1" latinLnBrk="0" hangingPunct="1">
              <a:defRPr sz="1535" kern="1200">
                <a:solidFill>
                  <a:schemeClr val="tx1"/>
                </a:solidFill>
                <a:latin typeface="+mn-lt"/>
                <a:ea typeface="+mn-ea"/>
                <a:cs typeface="+mn-cs"/>
              </a:defRPr>
            </a:lvl9pPr>
          </a:lstStyle>
          <a:p>
            <a:pPr algn="ctr" eaLnBrk="1" hangingPunct="1">
              <a:spcBef>
                <a:spcPct val="0"/>
              </a:spcBef>
              <a:buClrTx/>
              <a:buSzTx/>
              <a:buFontTx/>
              <a:buNone/>
              <a:defRPr/>
            </a:pPr>
            <a:r>
              <a:rPr lang="de-DE" altLang="de-DE" sz="976" b="1">
                <a:solidFill>
                  <a:schemeClr val="bg1"/>
                </a:solidFill>
                <a:latin typeface="Arial" pitchFamily="34" charset="0"/>
              </a:rPr>
              <a:t>FLOWSIC500</a:t>
            </a:r>
          </a:p>
        </p:txBody>
      </p:sp>
      <p:sp>
        <p:nvSpPr>
          <p:cNvPr id="56" name="Text Box 15"/>
          <p:cNvSpPr txBox="1">
            <a:spLocks noChangeArrowheads="1"/>
          </p:cNvSpPr>
          <p:nvPr/>
        </p:nvSpPr>
        <p:spPr bwMode="auto">
          <a:xfrm>
            <a:off x="5190507" y="4196072"/>
            <a:ext cx="1029653" cy="538661"/>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defPPr>
              <a:defRPr lang="de-DE"/>
            </a:defPPr>
            <a:lvl1pPr marL="0" algn="l" defTabSz="779526" rtl="0" eaLnBrk="1" latinLnBrk="0" hangingPunct="1">
              <a:defRPr sz="1535" kern="1200">
                <a:solidFill>
                  <a:schemeClr val="tx1"/>
                </a:solidFill>
                <a:latin typeface="+mn-lt"/>
                <a:ea typeface="+mn-ea"/>
                <a:cs typeface="+mn-cs"/>
              </a:defRPr>
            </a:lvl1pPr>
            <a:lvl2pPr marL="389763" algn="l" defTabSz="779526" rtl="0" eaLnBrk="1" latinLnBrk="0" hangingPunct="1">
              <a:defRPr sz="1535" kern="1200">
                <a:solidFill>
                  <a:schemeClr val="tx1"/>
                </a:solidFill>
                <a:latin typeface="+mn-lt"/>
                <a:ea typeface="+mn-ea"/>
                <a:cs typeface="+mn-cs"/>
              </a:defRPr>
            </a:lvl2pPr>
            <a:lvl3pPr marL="779526" algn="l" defTabSz="779526" rtl="0" eaLnBrk="1" latinLnBrk="0" hangingPunct="1">
              <a:defRPr sz="1535" kern="1200">
                <a:solidFill>
                  <a:schemeClr val="tx1"/>
                </a:solidFill>
                <a:latin typeface="+mn-lt"/>
                <a:ea typeface="+mn-ea"/>
                <a:cs typeface="+mn-cs"/>
              </a:defRPr>
            </a:lvl3pPr>
            <a:lvl4pPr marL="1169289" algn="l" defTabSz="779526" rtl="0" eaLnBrk="1" latinLnBrk="0" hangingPunct="1">
              <a:defRPr sz="1535" kern="1200">
                <a:solidFill>
                  <a:schemeClr val="tx1"/>
                </a:solidFill>
                <a:latin typeface="+mn-lt"/>
                <a:ea typeface="+mn-ea"/>
                <a:cs typeface="+mn-cs"/>
              </a:defRPr>
            </a:lvl4pPr>
            <a:lvl5pPr marL="1559052" algn="l" defTabSz="779526" rtl="0" eaLnBrk="1" latinLnBrk="0" hangingPunct="1">
              <a:defRPr sz="1535" kern="1200">
                <a:solidFill>
                  <a:schemeClr val="tx1"/>
                </a:solidFill>
                <a:latin typeface="+mn-lt"/>
                <a:ea typeface="+mn-ea"/>
                <a:cs typeface="+mn-cs"/>
              </a:defRPr>
            </a:lvl5pPr>
            <a:lvl6pPr marL="1948815" algn="l" defTabSz="779526" rtl="0" eaLnBrk="1" latinLnBrk="0" hangingPunct="1">
              <a:defRPr sz="1535" kern="1200">
                <a:solidFill>
                  <a:schemeClr val="tx1"/>
                </a:solidFill>
                <a:latin typeface="+mn-lt"/>
                <a:ea typeface="+mn-ea"/>
                <a:cs typeface="+mn-cs"/>
              </a:defRPr>
            </a:lvl6pPr>
            <a:lvl7pPr marL="2338578" algn="l" defTabSz="779526" rtl="0" eaLnBrk="1" latinLnBrk="0" hangingPunct="1">
              <a:defRPr sz="1535" kern="1200">
                <a:solidFill>
                  <a:schemeClr val="tx1"/>
                </a:solidFill>
                <a:latin typeface="+mn-lt"/>
                <a:ea typeface="+mn-ea"/>
                <a:cs typeface="+mn-cs"/>
              </a:defRPr>
            </a:lvl7pPr>
            <a:lvl8pPr marL="2728341" algn="l" defTabSz="779526" rtl="0" eaLnBrk="1" latinLnBrk="0" hangingPunct="1">
              <a:defRPr sz="1535" kern="1200">
                <a:solidFill>
                  <a:schemeClr val="tx1"/>
                </a:solidFill>
                <a:latin typeface="+mn-lt"/>
                <a:ea typeface="+mn-ea"/>
                <a:cs typeface="+mn-cs"/>
              </a:defRPr>
            </a:lvl8pPr>
            <a:lvl9pPr marL="3118104" algn="l" defTabSz="779526" rtl="0" eaLnBrk="1" latinLnBrk="0" hangingPunct="1">
              <a:defRPr sz="1535" kern="1200">
                <a:solidFill>
                  <a:schemeClr val="tx1"/>
                </a:solidFill>
                <a:latin typeface="+mn-lt"/>
                <a:ea typeface="+mn-ea"/>
                <a:cs typeface="+mn-cs"/>
              </a:defRPr>
            </a:lvl9pPr>
          </a:lstStyle>
          <a:p>
            <a:pPr algn="ctr" eaLnBrk="1" hangingPunct="1">
              <a:buClrTx/>
              <a:buSzTx/>
              <a:buFontTx/>
              <a:buNone/>
            </a:pPr>
            <a:r>
              <a:rPr lang="en-GB" altLang="de-DE" sz="976">
                <a:solidFill>
                  <a:schemeClr val="tx1"/>
                </a:solidFill>
                <a:latin typeface="Arial" charset="0"/>
              </a:rPr>
              <a:t>Natural gas</a:t>
            </a:r>
            <a:br>
              <a:rPr lang="en-GB" altLang="de-DE" sz="976">
                <a:solidFill>
                  <a:schemeClr val="tx1"/>
                </a:solidFill>
                <a:latin typeface="Arial" charset="0"/>
              </a:rPr>
            </a:br>
            <a:r>
              <a:rPr lang="en-GB" altLang="de-DE" sz="976">
                <a:solidFill>
                  <a:schemeClr val="tx1"/>
                </a:solidFill>
                <a:latin typeface="Arial" charset="0"/>
              </a:rPr>
              <a:t>distribution</a:t>
            </a:r>
            <a:endParaRPr lang="de-DE" altLang="de-DE" sz="976">
              <a:solidFill>
                <a:schemeClr val="tx1"/>
              </a:solidFill>
              <a:latin typeface="Arial" charset="0"/>
            </a:endParaRPr>
          </a:p>
        </p:txBody>
      </p:sp>
      <p:sp>
        <p:nvSpPr>
          <p:cNvPr id="57" name="Text Box 15"/>
          <p:cNvSpPr txBox="1">
            <a:spLocks noChangeArrowheads="1"/>
          </p:cNvSpPr>
          <p:nvPr/>
        </p:nvSpPr>
        <p:spPr bwMode="auto">
          <a:xfrm>
            <a:off x="2567514" y="4249700"/>
            <a:ext cx="1287066" cy="538661"/>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defPPr>
              <a:defRPr lang="de-DE"/>
            </a:defPPr>
            <a:lvl1pPr marL="0" algn="l" defTabSz="779526" rtl="0" eaLnBrk="1" latinLnBrk="0" hangingPunct="1">
              <a:defRPr sz="1535" kern="1200">
                <a:solidFill>
                  <a:schemeClr val="tx1"/>
                </a:solidFill>
                <a:latin typeface="+mn-lt"/>
                <a:ea typeface="+mn-ea"/>
                <a:cs typeface="+mn-cs"/>
              </a:defRPr>
            </a:lvl1pPr>
            <a:lvl2pPr marL="389763" algn="l" defTabSz="779526" rtl="0" eaLnBrk="1" latinLnBrk="0" hangingPunct="1">
              <a:defRPr sz="1535" kern="1200">
                <a:solidFill>
                  <a:schemeClr val="tx1"/>
                </a:solidFill>
                <a:latin typeface="+mn-lt"/>
                <a:ea typeface="+mn-ea"/>
                <a:cs typeface="+mn-cs"/>
              </a:defRPr>
            </a:lvl2pPr>
            <a:lvl3pPr marL="779526" algn="l" defTabSz="779526" rtl="0" eaLnBrk="1" latinLnBrk="0" hangingPunct="1">
              <a:defRPr sz="1535" kern="1200">
                <a:solidFill>
                  <a:schemeClr val="tx1"/>
                </a:solidFill>
                <a:latin typeface="+mn-lt"/>
                <a:ea typeface="+mn-ea"/>
                <a:cs typeface="+mn-cs"/>
              </a:defRPr>
            </a:lvl3pPr>
            <a:lvl4pPr marL="1169289" algn="l" defTabSz="779526" rtl="0" eaLnBrk="1" latinLnBrk="0" hangingPunct="1">
              <a:defRPr sz="1535" kern="1200">
                <a:solidFill>
                  <a:schemeClr val="tx1"/>
                </a:solidFill>
                <a:latin typeface="+mn-lt"/>
                <a:ea typeface="+mn-ea"/>
                <a:cs typeface="+mn-cs"/>
              </a:defRPr>
            </a:lvl4pPr>
            <a:lvl5pPr marL="1559052" algn="l" defTabSz="779526" rtl="0" eaLnBrk="1" latinLnBrk="0" hangingPunct="1">
              <a:defRPr sz="1535" kern="1200">
                <a:solidFill>
                  <a:schemeClr val="tx1"/>
                </a:solidFill>
                <a:latin typeface="+mn-lt"/>
                <a:ea typeface="+mn-ea"/>
                <a:cs typeface="+mn-cs"/>
              </a:defRPr>
            </a:lvl5pPr>
            <a:lvl6pPr marL="1948815" algn="l" defTabSz="779526" rtl="0" eaLnBrk="1" latinLnBrk="0" hangingPunct="1">
              <a:defRPr sz="1535" kern="1200">
                <a:solidFill>
                  <a:schemeClr val="tx1"/>
                </a:solidFill>
                <a:latin typeface="+mn-lt"/>
                <a:ea typeface="+mn-ea"/>
                <a:cs typeface="+mn-cs"/>
              </a:defRPr>
            </a:lvl6pPr>
            <a:lvl7pPr marL="2338578" algn="l" defTabSz="779526" rtl="0" eaLnBrk="1" latinLnBrk="0" hangingPunct="1">
              <a:defRPr sz="1535" kern="1200">
                <a:solidFill>
                  <a:schemeClr val="tx1"/>
                </a:solidFill>
                <a:latin typeface="+mn-lt"/>
                <a:ea typeface="+mn-ea"/>
                <a:cs typeface="+mn-cs"/>
              </a:defRPr>
            </a:lvl7pPr>
            <a:lvl8pPr marL="2728341" algn="l" defTabSz="779526" rtl="0" eaLnBrk="1" latinLnBrk="0" hangingPunct="1">
              <a:defRPr sz="1535" kern="1200">
                <a:solidFill>
                  <a:schemeClr val="tx1"/>
                </a:solidFill>
                <a:latin typeface="+mn-lt"/>
                <a:ea typeface="+mn-ea"/>
                <a:cs typeface="+mn-cs"/>
              </a:defRPr>
            </a:lvl8pPr>
            <a:lvl9pPr marL="3118104" algn="l" defTabSz="779526" rtl="0" eaLnBrk="1" latinLnBrk="0" hangingPunct="1">
              <a:defRPr sz="1535" kern="1200">
                <a:solidFill>
                  <a:schemeClr val="tx1"/>
                </a:solidFill>
                <a:latin typeface="+mn-lt"/>
                <a:ea typeface="+mn-ea"/>
                <a:cs typeface="+mn-cs"/>
              </a:defRPr>
            </a:lvl9pPr>
          </a:lstStyle>
          <a:p>
            <a:pPr algn="ctr" eaLnBrk="1" hangingPunct="1">
              <a:lnSpc>
                <a:spcPct val="90000"/>
              </a:lnSpc>
              <a:buClrTx/>
              <a:buSzTx/>
              <a:buFontTx/>
              <a:buNone/>
            </a:pPr>
            <a:r>
              <a:rPr lang="en-GB" altLang="de-DE" sz="976">
                <a:solidFill>
                  <a:schemeClr val="tx1"/>
                </a:solidFill>
                <a:latin typeface="Arial" charset="0"/>
              </a:rPr>
              <a:t>Gas production</a:t>
            </a:r>
          </a:p>
          <a:p>
            <a:pPr algn="ctr" eaLnBrk="1" hangingPunct="1">
              <a:lnSpc>
                <a:spcPct val="90000"/>
              </a:lnSpc>
              <a:buClrTx/>
              <a:buSzTx/>
              <a:buFontTx/>
              <a:buNone/>
            </a:pPr>
            <a:r>
              <a:rPr lang="en-GB" altLang="de-DE" sz="976">
                <a:solidFill>
                  <a:schemeClr val="tx1"/>
                </a:solidFill>
                <a:latin typeface="Arial" charset="0"/>
              </a:rPr>
              <a:t>Flare gas</a:t>
            </a:r>
          </a:p>
        </p:txBody>
      </p:sp>
      <p:pic>
        <p:nvPicPr>
          <p:cNvPr id="23574"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382375" y="2412056"/>
            <a:ext cx="589905" cy="9581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575"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625910" y="2789835"/>
            <a:ext cx="922397" cy="4159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3576" name="Picture 4" descr="P:\PROJEKTE\G10_WORKPACKAGES\12_PM\Fotos\TIFF_HighRes_ECI-RGB_v2_8Bit\IMG_8125_640_480.tif"/>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743890" y="2118891"/>
            <a:ext cx="686435" cy="6816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Picture 2" descr="P:\PROJEKTE\G5\02_Arbeitspakete\2_12 PM\09_MarketingMarkteinführung\02_Markteinführung\99_Bildmaterial\Bilder_8inch_8pfad\small\FLOWSIC600-XT_Forte_Cover_Picture_270815_022.jpg"/>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18055" r="15183"/>
          <a:stretch/>
        </p:blipFill>
        <p:spPr bwMode="auto">
          <a:xfrm>
            <a:off x="4036912" y="1990586"/>
            <a:ext cx="856858" cy="961938"/>
          </a:xfrm>
          <a:prstGeom prst="rect">
            <a:avLst/>
          </a:prstGeom>
          <a:noFill/>
          <a:extLst>
            <a:ext uri="{909E8E84-426E-40DD-AFC4-6F175D3DCCD1}">
              <a14:hiddenFill xmlns:a14="http://schemas.microsoft.com/office/drawing/2010/main">
                <a:solidFill>
                  <a:srgbClr val="FFFFFF"/>
                </a:solidFill>
              </a14:hiddenFill>
            </a:ext>
          </a:extLst>
        </p:spPr>
      </p:pic>
      <p:sp>
        <p:nvSpPr>
          <p:cNvPr id="10" name="Freihandform 9"/>
          <p:cNvSpPr/>
          <p:nvPr/>
        </p:nvSpPr>
        <p:spPr>
          <a:xfrm>
            <a:off x="4086968" y="1601682"/>
            <a:ext cx="750788" cy="450473"/>
          </a:xfrm>
          <a:custGeom>
            <a:avLst/>
            <a:gdLst>
              <a:gd name="connsiteX0" fmla="*/ 0 w 999628"/>
              <a:gd name="connsiteY0" fmla="*/ 59978 h 599777"/>
              <a:gd name="connsiteX1" fmla="*/ 59978 w 999628"/>
              <a:gd name="connsiteY1" fmla="*/ 0 h 599777"/>
              <a:gd name="connsiteX2" fmla="*/ 939650 w 999628"/>
              <a:gd name="connsiteY2" fmla="*/ 0 h 599777"/>
              <a:gd name="connsiteX3" fmla="*/ 999628 w 999628"/>
              <a:gd name="connsiteY3" fmla="*/ 59978 h 599777"/>
              <a:gd name="connsiteX4" fmla="*/ 999628 w 999628"/>
              <a:gd name="connsiteY4" fmla="*/ 539799 h 599777"/>
              <a:gd name="connsiteX5" fmla="*/ 939650 w 999628"/>
              <a:gd name="connsiteY5" fmla="*/ 599777 h 599777"/>
              <a:gd name="connsiteX6" fmla="*/ 59978 w 999628"/>
              <a:gd name="connsiteY6" fmla="*/ 599777 h 599777"/>
              <a:gd name="connsiteX7" fmla="*/ 0 w 999628"/>
              <a:gd name="connsiteY7" fmla="*/ 539799 h 599777"/>
              <a:gd name="connsiteX8" fmla="*/ 0 w 999628"/>
              <a:gd name="connsiteY8" fmla="*/ 59978 h 599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9628" h="599777">
                <a:moveTo>
                  <a:pt x="0" y="59978"/>
                </a:moveTo>
                <a:cubicBezTo>
                  <a:pt x="0" y="26853"/>
                  <a:pt x="26853" y="0"/>
                  <a:pt x="59978" y="0"/>
                </a:cubicBezTo>
                <a:lnTo>
                  <a:pt x="939650" y="0"/>
                </a:lnTo>
                <a:cubicBezTo>
                  <a:pt x="972775" y="0"/>
                  <a:pt x="999628" y="26853"/>
                  <a:pt x="999628" y="59978"/>
                </a:cubicBezTo>
                <a:lnTo>
                  <a:pt x="999628" y="539799"/>
                </a:lnTo>
                <a:cubicBezTo>
                  <a:pt x="999628" y="572924"/>
                  <a:pt x="972775" y="599777"/>
                  <a:pt x="939650" y="599777"/>
                </a:cubicBezTo>
                <a:lnTo>
                  <a:pt x="59978" y="599777"/>
                </a:lnTo>
                <a:cubicBezTo>
                  <a:pt x="26853" y="599777"/>
                  <a:pt x="0" y="572924"/>
                  <a:pt x="0" y="539799"/>
                </a:cubicBezTo>
                <a:lnTo>
                  <a:pt x="0" y="59978"/>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53229" tIns="53229" rIns="53229" bIns="53229" spcCol="1270" anchor="ctr"/>
          <a:lstStyle>
            <a:defPPr>
              <a:defRPr lang="de-DE"/>
            </a:defPPr>
            <a:lvl1pPr marL="0" algn="l" defTabSz="779526" rtl="0" eaLnBrk="1" latinLnBrk="0" hangingPunct="1">
              <a:defRPr sz="1535" kern="1200">
                <a:solidFill>
                  <a:schemeClr val="tx1"/>
                </a:solidFill>
                <a:latin typeface="+mn-lt"/>
                <a:ea typeface="+mn-ea"/>
                <a:cs typeface="+mn-cs"/>
              </a:defRPr>
            </a:lvl1pPr>
            <a:lvl2pPr marL="389763" algn="l" defTabSz="779526" rtl="0" eaLnBrk="1" latinLnBrk="0" hangingPunct="1">
              <a:defRPr sz="1535" kern="1200">
                <a:solidFill>
                  <a:schemeClr val="tx1"/>
                </a:solidFill>
                <a:latin typeface="+mn-lt"/>
                <a:ea typeface="+mn-ea"/>
                <a:cs typeface="+mn-cs"/>
              </a:defRPr>
            </a:lvl2pPr>
            <a:lvl3pPr marL="779526" algn="l" defTabSz="779526" rtl="0" eaLnBrk="1" latinLnBrk="0" hangingPunct="1">
              <a:defRPr sz="1535" kern="1200">
                <a:solidFill>
                  <a:schemeClr val="tx1"/>
                </a:solidFill>
                <a:latin typeface="+mn-lt"/>
                <a:ea typeface="+mn-ea"/>
                <a:cs typeface="+mn-cs"/>
              </a:defRPr>
            </a:lvl3pPr>
            <a:lvl4pPr marL="1169289" algn="l" defTabSz="779526" rtl="0" eaLnBrk="1" latinLnBrk="0" hangingPunct="1">
              <a:defRPr sz="1535" kern="1200">
                <a:solidFill>
                  <a:schemeClr val="tx1"/>
                </a:solidFill>
                <a:latin typeface="+mn-lt"/>
                <a:ea typeface="+mn-ea"/>
                <a:cs typeface="+mn-cs"/>
              </a:defRPr>
            </a:lvl4pPr>
            <a:lvl5pPr marL="1559052" algn="l" defTabSz="779526" rtl="0" eaLnBrk="1" latinLnBrk="0" hangingPunct="1">
              <a:defRPr sz="1535" kern="1200">
                <a:solidFill>
                  <a:schemeClr val="tx1"/>
                </a:solidFill>
                <a:latin typeface="+mn-lt"/>
                <a:ea typeface="+mn-ea"/>
                <a:cs typeface="+mn-cs"/>
              </a:defRPr>
            </a:lvl5pPr>
            <a:lvl6pPr marL="1948815" algn="l" defTabSz="779526" rtl="0" eaLnBrk="1" latinLnBrk="0" hangingPunct="1">
              <a:defRPr sz="1535" kern="1200">
                <a:solidFill>
                  <a:schemeClr val="tx1"/>
                </a:solidFill>
                <a:latin typeface="+mn-lt"/>
                <a:ea typeface="+mn-ea"/>
                <a:cs typeface="+mn-cs"/>
              </a:defRPr>
            </a:lvl6pPr>
            <a:lvl7pPr marL="2338578" algn="l" defTabSz="779526" rtl="0" eaLnBrk="1" latinLnBrk="0" hangingPunct="1">
              <a:defRPr sz="1535" kern="1200">
                <a:solidFill>
                  <a:schemeClr val="tx1"/>
                </a:solidFill>
                <a:latin typeface="+mn-lt"/>
                <a:ea typeface="+mn-ea"/>
                <a:cs typeface="+mn-cs"/>
              </a:defRPr>
            </a:lvl7pPr>
            <a:lvl8pPr marL="2728341" algn="l" defTabSz="779526" rtl="0" eaLnBrk="1" latinLnBrk="0" hangingPunct="1">
              <a:defRPr sz="1535" kern="1200">
                <a:solidFill>
                  <a:schemeClr val="tx1"/>
                </a:solidFill>
                <a:latin typeface="+mn-lt"/>
                <a:ea typeface="+mn-ea"/>
                <a:cs typeface="+mn-cs"/>
              </a:defRPr>
            </a:lvl8pPr>
            <a:lvl9pPr marL="3118104" algn="l" defTabSz="779526" rtl="0" eaLnBrk="1" latinLnBrk="0" hangingPunct="1">
              <a:defRPr sz="1535" kern="1200">
                <a:solidFill>
                  <a:schemeClr val="tx1"/>
                </a:solidFill>
                <a:latin typeface="+mn-lt"/>
                <a:ea typeface="+mn-ea"/>
                <a:cs typeface="+mn-cs"/>
              </a:defRPr>
            </a:lvl9pPr>
          </a:lstStyle>
          <a:p>
            <a:pPr algn="ctr" defTabSz="467161">
              <a:lnSpc>
                <a:spcPct val="90000"/>
              </a:lnSpc>
              <a:spcAft>
                <a:spcPct val="35000"/>
              </a:spcAft>
              <a:defRPr/>
            </a:pPr>
            <a:r>
              <a:rPr lang="de-DE" sz="1051"/>
              <a:t>Transmission</a:t>
            </a:r>
          </a:p>
        </p:txBody>
      </p:sp>
      <p:sp>
        <p:nvSpPr>
          <p:cNvPr id="49" name="Fußzeilenplatzhalter 2"/>
          <p:cNvSpPr>
            <a:spLocks noGrp="1"/>
          </p:cNvSpPr>
          <p:nvPr>
            <p:ph type="ftr" sz="quarter" idx="4294967295"/>
          </p:nvPr>
        </p:nvSpPr>
        <p:spPr>
          <a:xfrm>
            <a:off x="2024894" y="4994749"/>
            <a:ext cx="5094213" cy="135125"/>
          </a:xfrm>
          <a:prstGeom prst="rect">
            <a:avLst/>
          </a:prstGeom>
        </p:spPr>
        <p:txBody>
          <a:bodyPr/>
          <a:lstStyle>
            <a:defPPr>
              <a:defRPr lang="de-DE"/>
            </a:defPPr>
            <a:lvl1pPr marL="0" algn="l" defTabSz="585190" rtl="0" eaLnBrk="1" latinLnBrk="0" hangingPunct="1">
              <a:defRPr sz="1152" kern="1200">
                <a:solidFill>
                  <a:schemeClr val="tx1"/>
                </a:solidFill>
                <a:latin typeface="+mn-lt"/>
                <a:ea typeface="+mn-ea"/>
                <a:cs typeface="+mn-cs"/>
              </a:defRPr>
            </a:lvl1pPr>
            <a:lvl2pPr marL="292595" algn="l" defTabSz="585190" rtl="0" eaLnBrk="1" latinLnBrk="0" hangingPunct="1">
              <a:defRPr sz="1152" kern="1200">
                <a:solidFill>
                  <a:schemeClr val="tx1"/>
                </a:solidFill>
                <a:latin typeface="+mn-lt"/>
                <a:ea typeface="+mn-ea"/>
                <a:cs typeface="+mn-cs"/>
              </a:defRPr>
            </a:lvl2pPr>
            <a:lvl3pPr marL="585190" algn="l" defTabSz="585190" rtl="0" eaLnBrk="1" latinLnBrk="0" hangingPunct="1">
              <a:defRPr sz="1152" kern="1200">
                <a:solidFill>
                  <a:schemeClr val="tx1"/>
                </a:solidFill>
                <a:latin typeface="+mn-lt"/>
                <a:ea typeface="+mn-ea"/>
                <a:cs typeface="+mn-cs"/>
              </a:defRPr>
            </a:lvl3pPr>
            <a:lvl4pPr marL="877785" algn="l" defTabSz="585190" rtl="0" eaLnBrk="1" latinLnBrk="0" hangingPunct="1">
              <a:defRPr sz="1152" kern="1200">
                <a:solidFill>
                  <a:schemeClr val="tx1"/>
                </a:solidFill>
                <a:latin typeface="+mn-lt"/>
                <a:ea typeface="+mn-ea"/>
                <a:cs typeface="+mn-cs"/>
              </a:defRPr>
            </a:lvl4pPr>
            <a:lvl5pPr marL="1170380" algn="l" defTabSz="585190" rtl="0" eaLnBrk="1" latinLnBrk="0" hangingPunct="1">
              <a:defRPr sz="1152" kern="1200">
                <a:solidFill>
                  <a:schemeClr val="tx1"/>
                </a:solidFill>
                <a:latin typeface="+mn-lt"/>
                <a:ea typeface="+mn-ea"/>
                <a:cs typeface="+mn-cs"/>
              </a:defRPr>
            </a:lvl5pPr>
            <a:lvl6pPr marL="1462975" algn="l" defTabSz="585190" rtl="0" eaLnBrk="1" latinLnBrk="0" hangingPunct="1">
              <a:defRPr sz="1152" kern="1200">
                <a:solidFill>
                  <a:schemeClr val="tx1"/>
                </a:solidFill>
                <a:latin typeface="+mn-lt"/>
                <a:ea typeface="+mn-ea"/>
                <a:cs typeface="+mn-cs"/>
              </a:defRPr>
            </a:lvl6pPr>
            <a:lvl7pPr marL="1755571" algn="l" defTabSz="585190" rtl="0" eaLnBrk="1" latinLnBrk="0" hangingPunct="1">
              <a:defRPr sz="1152" kern="1200">
                <a:solidFill>
                  <a:schemeClr val="tx1"/>
                </a:solidFill>
                <a:latin typeface="+mn-lt"/>
                <a:ea typeface="+mn-ea"/>
                <a:cs typeface="+mn-cs"/>
              </a:defRPr>
            </a:lvl7pPr>
            <a:lvl8pPr marL="2048166" algn="l" defTabSz="585190" rtl="0" eaLnBrk="1" latinLnBrk="0" hangingPunct="1">
              <a:defRPr sz="1152" kern="1200">
                <a:solidFill>
                  <a:schemeClr val="tx1"/>
                </a:solidFill>
                <a:latin typeface="+mn-lt"/>
                <a:ea typeface="+mn-ea"/>
                <a:cs typeface="+mn-cs"/>
              </a:defRPr>
            </a:lvl8pPr>
            <a:lvl9pPr marL="2340761" algn="l" defTabSz="585190" rtl="0" eaLnBrk="1" latinLnBrk="0" hangingPunct="1">
              <a:defRPr sz="1152" kern="1200">
                <a:solidFill>
                  <a:schemeClr val="tx1"/>
                </a:solidFill>
                <a:latin typeface="+mn-lt"/>
                <a:ea typeface="+mn-ea"/>
                <a:cs typeface="+mn-cs"/>
              </a:defRPr>
            </a:lvl9pPr>
          </a:lstStyle>
          <a:p>
            <a:r>
              <a:rPr lang="de-DE" sz="676">
                <a:solidFill>
                  <a:schemeClr val="tx2"/>
                </a:solidFill>
              </a:rPr>
              <a:t>Alexander Schütze | FLOW Solution - FLOWSIC500</a:t>
            </a:r>
          </a:p>
        </p:txBody>
      </p:sp>
      <p:sp>
        <p:nvSpPr>
          <p:cNvPr id="50" name="Datumsplatzhalter 7"/>
          <p:cNvSpPr>
            <a:spLocks noGrp="1"/>
          </p:cNvSpPr>
          <p:nvPr>
            <p:ph type="dt" sz="half" idx="4294967295"/>
          </p:nvPr>
        </p:nvSpPr>
        <p:spPr>
          <a:xfrm>
            <a:off x="1248375" y="4994749"/>
            <a:ext cx="677871" cy="135125"/>
          </a:xfrm>
          <a:prstGeom prst="rect">
            <a:avLst/>
          </a:prstGeom>
        </p:spPr>
        <p:txBody>
          <a:bodyPr/>
          <a:lstStyle>
            <a:defPPr>
              <a:defRPr lang="de-DE"/>
            </a:defPPr>
            <a:lvl1pPr marL="0" algn="l" defTabSz="585190" rtl="0" eaLnBrk="1" latinLnBrk="0" hangingPunct="1">
              <a:defRPr sz="1152" kern="1200">
                <a:solidFill>
                  <a:schemeClr val="tx1"/>
                </a:solidFill>
                <a:latin typeface="+mn-lt"/>
                <a:ea typeface="+mn-ea"/>
                <a:cs typeface="+mn-cs"/>
              </a:defRPr>
            </a:lvl1pPr>
            <a:lvl2pPr marL="292595" algn="l" defTabSz="585190" rtl="0" eaLnBrk="1" latinLnBrk="0" hangingPunct="1">
              <a:defRPr sz="1152" kern="1200">
                <a:solidFill>
                  <a:schemeClr val="tx1"/>
                </a:solidFill>
                <a:latin typeface="+mn-lt"/>
                <a:ea typeface="+mn-ea"/>
                <a:cs typeface="+mn-cs"/>
              </a:defRPr>
            </a:lvl2pPr>
            <a:lvl3pPr marL="585190" algn="l" defTabSz="585190" rtl="0" eaLnBrk="1" latinLnBrk="0" hangingPunct="1">
              <a:defRPr sz="1152" kern="1200">
                <a:solidFill>
                  <a:schemeClr val="tx1"/>
                </a:solidFill>
                <a:latin typeface="+mn-lt"/>
                <a:ea typeface="+mn-ea"/>
                <a:cs typeface="+mn-cs"/>
              </a:defRPr>
            </a:lvl3pPr>
            <a:lvl4pPr marL="877785" algn="l" defTabSz="585190" rtl="0" eaLnBrk="1" latinLnBrk="0" hangingPunct="1">
              <a:defRPr sz="1152" kern="1200">
                <a:solidFill>
                  <a:schemeClr val="tx1"/>
                </a:solidFill>
                <a:latin typeface="+mn-lt"/>
                <a:ea typeface="+mn-ea"/>
                <a:cs typeface="+mn-cs"/>
              </a:defRPr>
            </a:lvl4pPr>
            <a:lvl5pPr marL="1170380" algn="l" defTabSz="585190" rtl="0" eaLnBrk="1" latinLnBrk="0" hangingPunct="1">
              <a:defRPr sz="1152" kern="1200">
                <a:solidFill>
                  <a:schemeClr val="tx1"/>
                </a:solidFill>
                <a:latin typeface="+mn-lt"/>
                <a:ea typeface="+mn-ea"/>
                <a:cs typeface="+mn-cs"/>
              </a:defRPr>
            </a:lvl5pPr>
            <a:lvl6pPr marL="1462975" algn="l" defTabSz="585190" rtl="0" eaLnBrk="1" latinLnBrk="0" hangingPunct="1">
              <a:defRPr sz="1152" kern="1200">
                <a:solidFill>
                  <a:schemeClr val="tx1"/>
                </a:solidFill>
                <a:latin typeface="+mn-lt"/>
                <a:ea typeface="+mn-ea"/>
                <a:cs typeface="+mn-cs"/>
              </a:defRPr>
            </a:lvl6pPr>
            <a:lvl7pPr marL="1755571" algn="l" defTabSz="585190" rtl="0" eaLnBrk="1" latinLnBrk="0" hangingPunct="1">
              <a:defRPr sz="1152" kern="1200">
                <a:solidFill>
                  <a:schemeClr val="tx1"/>
                </a:solidFill>
                <a:latin typeface="+mn-lt"/>
                <a:ea typeface="+mn-ea"/>
                <a:cs typeface="+mn-cs"/>
              </a:defRPr>
            </a:lvl7pPr>
            <a:lvl8pPr marL="2048166" algn="l" defTabSz="585190" rtl="0" eaLnBrk="1" latinLnBrk="0" hangingPunct="1">
              <a:defRPr sz="1152" kern="1200">
                <a:solidFill>
                  <a:schemeClr val="tx1"/>
                </a:solidFill>
                <a:latin typeface="+mn-lt"/>
                <a:ea typeface="+mn-ea"/>
                <a:cs typeface="+mn-cs"/>
              </a:defRPr>
            </a:lvl8pPr>
            <a:lvl9pPr marL="2340761" algn="l" defTabSz="585190" rtl="0" eaLnBrk="1" latinLnBrk="0" hangingPunct="1">
              <a:defRPr sz="1152" kern="1200">
                <a:solidFill>
                  <a:schemeClr val="tx1"/>
                </a:solidFill>
                <a:latin typeface="+mn-lt"/>
                <a:ea typeface="+mn-ea"/>
                <a:cs typeface="+mn-cs"/>
              </a:defRPr>
            </a:lvl9pPr>
          </a:lstStyle>
          <a:p>
            <a:r>
              <a:rPr lang="en-US" sz="676"/>
              <a:t>September 2017</a:t>
            </a:r>
            <a:endParaRPr lang="de-DE" sz="676"/>
          </a:p>
        </p:txBody>
      </p:sp>
    </p:spTree>
    <p:extLst>
      <p:ext uri="{BB962C8B-B14F-4D97-AF65-F5344CB8AC3E}">
        <p14:creationId xmlns:p14="http://schemas.microsoft.com/office/powerpoint/2010/main" val="3445319618"/>
      </p:ext>
    </p:extLst>
  </p:cSld>
  <p:clrMapOvr>
    <a:masterClrMapping/>
  </p:clrMapOvr>
  <p:transition>
    <p:zoom/>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1000"/>
                                        <p:tgtEl>
                                          <p:spTgt spid="35"/>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16"/>
                                        </p:tgtEl>
                                        <p:attrNameLst>
                                          <p:attrName>style.visibility</p:attrName>
                                        </p:attrNameLst>
                                      </p:cBhvr>
                                      <p:to>
                                        <p:strVal val="visible"/>
                                      </p:to>
                                    </p:set>
                                  </p:childTnLst>
                                </p:cTn>
                              </p:par>
                              <p:par>
                                <p:cTn id="12" presetID="1" presetClass="entr" presetSubtype="0" fill="hold" grpId="0" nodeType="withEffect">
                                  <p:stCondLst>
                                    <p:cond delay="0"/>
                                  </p:stCondLst>
                                  <p:childTnLst>
                                    <p:set>
                                      <p:cBhvr>
                                        <p:cTn id="13" dur="1" fill="hold">
                                          <p:stCondLst>
                                            <p:cond delay="0"/>
                                          </p:stCondLst>
                                        </p:cTn>
                                        <p:tgtEl>
                                          <p:spTgt spid="3"/>
                                        </p:tgtEl>
                                        <p:attrNameLst>
                                          <p:attrName>style.visibility</p:attrName>
                                        </p:attrNameLst>
                                      </p:cBhvr>
                                      <p:to>
                                        <p:strVal val="visible"/>
                                      </p:to>
                                    </p:set>
                                  </p:childTnLst>
                                </p:cTn>
                              </p:par>
                              <p:par>
                                <p:cTn id="14" presetID="1" presetClass="entr" presetSubtype="0" fill="hold" nodeType="withEffect">
                                  <p:stCondLst>
                                    <p:cond delay="0"/>
                                  </p:stCondLst>
                                  <p:childTnLst>
                                    <p:set>
                                      <p:cBhvr>
                                        <p:cTn id="15" dur="1" fill="hold">
                                          <p:stCondLst>
                                            <p:cond delay="0"/>
                                          </p:stCondLst>
                                        </p:cTn>
                                        <p:tgtEl>
                                          <p:spTgt spid="6"/>
                                        </p:tgtEl>
                                        <p:attrNameLst>
                                          <p:attrName>style.visibility</p:attrName>
                                        </p:attrNameLst>
                                      </p:cBhvr>
                                      <p:to>
                                        <p:strVal val="visible"/>
                                      </p:to>
                                    </p:set>
                                  </p:childTnLst>
                                </p:cTn>
                              </p:par>
                              <p:par>
                                <p:cTn id="16" presetID="1" presetClass="entr" presetSubtype="0" fill="hold" grpId="0" nodeType="withEffect">
                                  <p:stCondLst>
                                    <p:cond delay="0"/>
                                  </p:stCondLst>
                                  <p:childTnLst>
                                    <p:set>
                                      <p:cBhvr>
                                        <p:cTn id="17" dur="1" fill="hold">
                                          <p:stCondLst>
                                            <p:cond delay="0"/>
                                          </p:stCondLst>
                                        </p:cTn>
                                        <p:tgtEl>
                                          <p:spTgt spid="7"/>
                                        </p:tgtEl>
                                        <p:attrNameLst>
                                          <p:attrName>style.visibility</p:attrName>
                                        </p:attrNameLst>
                                      </p:cBhvr>
                                      <p:to>
                                        <p:strVal val="visible"/>
                                      </p:to>
                                    </p:set>
                                  </p:childTnLst>
                                </p:cTn>
                              </p:par>
                              <p:par>
                                <p:cTn id="18" presetID="1" presetClass="entr" presetSubtype="0" fill="hold" nodeType="withEffect">
                                  <p:stCondLst>
                                    <p:cond delay="0"/>
                                  </p:stCondLst>
                                  <p:childTnLst>
                                    <p:set>
                                      <p:cBhvr>
                                        <p:cTn id="19" dur="1" fill="hold">
                                          <p:stCondLst>
                                            <p:cond delay="0"/>
                                          </p:stCondLst>
                                        </p:cTn>
                                        <p:tgtEl>
                                          <p:spTgt spid="23576"/>
                                        </p:tgtEl>
                                        <p:attrNameLst>
                                          <p:attrName>style.visibility</p:attrName>
                                        </p:attrNameLst>
                                      </p:cBhvr>
                                      <p:to>
                                        <p:strVal val="visible"/>
                                      </p:to>
                                    </p:set>
                                  </p:childTnLst>
                                </p:cTn>
                              </p:par>
                              <p:par>
                                <p:cTn id="20" presetID="1" presetClass="entr" presetSubtype="0" fill="hold" nodeType="withEffect">
                                  <p:stCondLst>
                                    <p:cond delay="0"/>
                                  </p:stCondLst>
                                  <p:childTnLst>
                                    <p:set>
                                      <p:cBhvr>
                                        <p:cTn id="21" dur="1" fill="hold">
                                          <p:stCondLst>
                                            <p:cond delay="0"/>
                                          </p:stCondLst>
                                        </p:cTn>
                                        <p:tgtEl>
                                          <p:spTgt spid="23575"/>
                                        </p:tgtEl>
                                        <p:attrNameLst>
                                          <p:attrName>style.visibility</p:attrName>
                                        </p:attrNameLst>
                                      </p:cBhvr>
                                      <p:to>
                                        <p:strVal val="visible"/>
                                      </p:to>
                                    </p:set>
                                  </p:childTnLst>
                                </p:cTn>
                              </p:par>
                              <p:par>
                                <p:cTn id="22" presetID="1" presetClass="entr" presetSubtype="0" fill="hold" nodeType="withEffect">
                                  <p:stCondLst>
                                    <p:cond delay="0"/>
                                  </p:stCondLst>
                                  <p:childTnLst>
                                    <p:set>
                                      <p:cBhvr>
                                        <p:cTn id="23" dur="1" fill="hold">
                                          <p:stCondLst>
                                            <p:cond delay="0"/>
                                          </p:stCondLst>
                                        </p:cTn>
                                        <p:tgtEl>
                                          <p:spTgt spid="23569"/>
                                        </p:tgtEl>
                                        <p:attrNameLst>
                                          <p:attrName>style.visibility</p:attrName>
                                        </p:attrNameLst>
                                      </p:cBhvr>
                                      <p:to>
                                        <p:strVal val="visible"/>
                                      </p:to>
                                    </p:set>
                                  </p:childTnLst>
                                </p:cTn>
                              </p:par>
                              <p:par>
                                <p:cTn id="24" presetID="1" presetClass="entr" presetSubtype="0" fill="hold" grpId="0" nodeType="withEffect">
                                  <p:stCondLst>
                                    <p:cond delay="0"/>
                                  </p:stCondLst>
                                  <p:childTnLst>
                                    <p:set>
                                      <p:cBhvr>
                                        <p:cTn id="25" dur="1" fill="hold">
                                          <p:stCondLst>
                                            <p:cond delay="0"/>
                                          </p:stCondLst>
                                        </p:cTn>
                                        <p:tgtEl>
                                          <p:spTgt spid="45"/>
                                        </p:tgtEl>
                                        <p:attrNameLst>
                                          <p:attrName>style.visibility</p:attrName>
                                        </p:attrNameLst>
                                      </p:cBhvr>
                                      <p:to>
                                        <p:strVal val="visible"/>
                                      </p:to>
                                    </p:set>
                                  </p:childTnLst>
                                </p:cTn>
                              </p:par>
                              <p:par>
                                <p:cTn id="26" presetID="1" presetClass="entr" presetSubtype="0" fill="hold" grpId="0" nodeType="withEffect">
                                  <p:stCondLst>
                                    <p:cond delay="0"/>
                                  </p:stCondLst>
                                  <p:childTnLst>
                                    <p:set>
                                      <p:cBhvr>
                                        <p:cTn id="27" dur="1" fill="hold">
                                          <p:stCondLst>
                                            <p:cond delay="0"/>
                                          </p:stCondLst>
                                        </p:cTn>
                                        <p:tgtEl>
                                          <p:spTgt spid="44"/>
                                        </p:tgtEl>
                                        <p:attrNameLst>
                                          <p:attrName>style.visibility</p:attrName>
                                        </p:attrNameLst>
                                      </p:cBhvr>
                                      <p:to>
                                        <p:strVal val="visible"/>
                                      </p:to>
                                    </p:set>
                                  </p:childTnLst>
                                </p:cTn>
                              </p:par>
                              <p:par>
                                <p:cTn id="28" presetID="1" presetClass="entr" presetSubtype="0" fill="hold" grpId="0" nodeType="withEffect">
                                  <p:stCondLst>
                                    <p:cond delay="0"/>
                                  </p:stCondLst>
                                  <p:childTnLst>
                                    <p:set>
                                      <p:cBhvr>
                                        <p:cTn id="29" dur="1" fill="hold">
                                          <p:stCondLst>
                                            <p:cond delay="0"/>
                                          </p:stCondLst>
                                        </p:cTn>
                                        <p:tgtEl>
                                          <p:spTgt spid="57"/>
                                        </p:tgtEl>
                                        <p:attrNameLst>
                                          <p:attrName>style.visibility</p:attrName>
                                        </p:attrNameLst>
                                      </p:cBhvr>
                                      <p:to>
                                        <p:strVal val="visible"/>
                                      </p:to>
                                    </p:set>
                                  </p:childTnLst>
                                </p:cTn>
                              </p:par>
                            </p:childTnLst>
                          </p:cTn>
                        </p:par>
                      </p:childTnLst>
                    </p:cTn>
                  </p:par>
                  <p:par>
                    <p:cTn id="30" fill="hold" nodeType="clickPar">
                      <p:stCondLst>
                        <p:cond delay="indefinite"/>
                      </p:stCondLst>
                      <p:childTnLst>
                        <p:par>
                          <p:cTn id="31" fill="hold" nodeType="withGroup">
                            <p:stCondLst>
                              <p:cond delay="0"/>
                            </p:stCondLst>
                            <p:childTnLst>
                              <p:par>
                                <p:cTn id="32" presetID="1" presetClass="entr" presetSubtype="0" fill="hold" grpId="0" nodeType="clickEffect">
                                  <p:stCondLst>
                                    <p:cond delay="0"/>
                                  </p:stCondLst>
                                  <p:childTnLst>
                                    <p:set>
                                      <p:cBhvr>
                                        <p:cTn id="33" dur="1" fill="hold">
                                          <p:stCondLst>
                                            <p:cond delay="0"/>
                                          </p:stCondLst>
                                        </p:cTn>
                                        <p:tgtEl>
                                          <p:spTgt spid="18"/>
                                        </p:tgtEl>
                                        <p:attrNameLst>
                                          <p:attrName>style.visibility</p:attrName>
                                        </p:attrNameLst>
                                      </p:cBhvr>
                                      <p:to>
                                        <p:strVal val="visible"/>
                                      </p:to>
                                    </p:set>
                                  </p:childTnLst>
                                </p:cTn>
                              </p:par>
                              <p:par>
                                <p:cTn id="34" presetID="1" presetClass="entr" presetSubtype="0" fill="hold" nodeType="withEffect">
                                  <p:stCondLst>
                                    <p:cond delay="0"/>
                                  </p:stCondLst>
                                  <p:childTnLst>
                                    <p:set>
                                      <p:cBhvr>
                                        <p:cTn id="35" dur="1" fill="hold">
                                          <p:stCondLst>
                                            <p:cond delay="0"/>
                                          </p:stCondLst>
                                        </p:cTn>
                                        <p:tgtEl>
                                          <p:spTgt spid="17"/>
                                        </p:tgtEl>
                                        <p:attrNameLst>
                                          <p:attrName>style.visibility</p:attrName>
                                        </p:attrNameLst>
                                      </p:cBhvr>
                                      <p:to>
                                        <p:strVal val="visible"/>
                                      </p:to>
                                    </p:set>
                                  </p:childTnLst>
                                </p:cTn>
                              </p:par>
                              <p:par>
                                <p:cTn id="36" presetID="1" presetClass="entr" presetSubtype="0" fill="hold" nodeType="withEffect">
                                  <p:stCondLst>
                                    <p:cond delay="0"/>
                                  </p:stCondLst>
                                  <p:childTnLst>
                                    <p:set>
                                      <p:cBhvr>
                                        <p:cTn id="37" dur="1" fill="hold">
                                          <p:stCondLst>
                                            <p:cond delay="0"/>
                                          </p:stCondLst>
                                        </p:cTn>
                                        <p:tgtEl>
                                          <p:spTgt spid="9"/>
                                        </p:tgtEl>
                                        <p:attrNameLst>
                                          <p:attrName>style.visibility</p:attrName>
                                        </p:attrNameLst>
                                      </p:cBhvr>
                                      <p:to>
                                        <p:strVal val="visible"/>
                                      </p:to>
                                    </p:set>
                                  </p:childTnLst>
                                </p:cTn>
                              </p:par>
                              <p:par>
                                <p:cTn id="38" presetID="1" presetClass="entr" presetSubtype="0" fill="hold" grpId="0" nodeType="withEffect">
                                  <p:stCondLst>
                                    <p:cond delay="0"/>
                                  </p:stCondLst>
                                  <p:childTnLst>
                                    <p:set>
                                      <p:cBhvr>
                                        <p:cTn id="39" dur="1" fill="hold">
                                          <p:stCondLst>
                                            <p:cond delay="0"/>
                                          </p:stCondLst>
                                        </p:cTn>
                                        <p:tgtEl>
                                          <p:spTgt spid="10"/>
                                        </p:tgtEl>
                                        <p:attrNameLst>
                                          <p:attrName>style.visibility</p:attrName>
                                        </p:attrNameLst>
                                      </p:cBhvr>
                                      <p:to>
                                        <p:strVal val="visible"/>
                                      </p:to>
                                    </p:set>
                                  </p:childTnLst>
                                </p:cTn>
                              </p:par>
                              <p:par>
                                <p:cTn id="40" presetID="1" presetClass="entr" presetSubtype="0" fill="hold" nodeType="withEffect">
                                  <p:stCondLst>
                                    <p:cond delay="0"/>
                                  </p:stCondLst>
                                  <p:childTnLst>
                                    <p:set>
                                      <p:cBhvr>
                                        <p:cTn id="41" dur="1" fill="hold">
                                          <p:stCondLst>
                                            <p:cond delay="0"/>
                                          </p:stCondLst>
                                        </p:cTn>
                                        <p:tgtEl>
                                          <p:spTgt spid="42"/>
                                        </p:tgtEl>
                                        <p:attrNameLst>
                                          <p:attrName>style.visibility</p:attrName>
                                        </p:attrNameLst>
                                      </p:cBhvr>
                                      <p:to>
                                        <p:strVal val="visible"/>
                                      </p:to>
                                    </p:set>
                                  </p:childTnLst>
                                </p:cTn>
                              </p:par>
                              <p:par>
                                <p:cTn id="42" presetID="1" presetClass="entr" presetSubtype="0" fill="hold" nodeType="withEffect">
                                  <p:stCondLst>
                                    <p:cond delay="0"/>
                                  </p:stCondLst>
                                  <p:childTnLst>
                                    <p:set>
                                      <p:cBhvr>
                                        <p:cTn id="43" dur="1" fill="hold">
                                          <p:stCondLst>
                                            <p:cond delay="0"/>
                                          </p:stCondLst>
                                        </p:cTn>
                                        <p:tgtEl>
                                          <p:spTgt spid="47"/>
                                        </p:tgtEl>
                                        <p:attrNameLst>
                                          <p:attrName>style.visibility</p:attrName>
                                        </p:attrNameLst>
                                      </p:cBhvr>
                                      <p:to>
                                        <p:strVal val="visible"/>
                                      </p:to>
                                    </p:set>
                                  </p:childTnLst>
                                </p:cTn>
                              </p:par>
                              <p:par>
                                <p:cTn id="44" presetID="1" presetClass="entr" presetSubtype="0" fill="hold" grpId="0" nodeType="withEffect">
                                  <p:stCondLst>
                                    <p:cond delay="0"/>
                                  </p:stCondLst>
                                  <p:childTnLst>
                                    <p:set>
                                      <p:cBhvr>
                                        <p:cTn id="45" dur="1" fill="hold">
                                          <p:stCondLst>
                                            <p:cond delay="0"/>
                                          </p:stCondLst>
                                        </p:cTn>
                                        <p:tgtEl>
                                          <p:spTgt spid="41"/>
                                        </p:tgtEl>
                                        <p:attrNameLst>
                                          <p:attrName>style.visibility</p:attrName>
                                        </p:attrNameLst>
                                      </p:cBhvr>
                                      <p:to>
                                        <p:strVal val="visible"/>
                                      </p:to>
                                    </p:set>
                                  </p:childTnLst>
                                </p:cTn>
                              </p:par>
                              <p:par>
                                <p:cTn id="46" presetID="1" presetClass="entr" presetSubtype="0" fill="hold" grpId="0" nodeType="withEffect">
                                  <p:stCondLst>
                                    <p:cond delay="0"/>
                                  </p:stCondLst>
                                  <p:childTnLst>
                                    <p:set>
                                      <p:cBhvr>
                                        <p:cTn id="47" dur="1" fill="hold">
                                          <p:stCondLst>
                                            <p:cond delay="0"/>
                                          </p:stCondLst>
                                        </p:cTn>
                                        <p:tgtEl>
                                          <p:spTgt spid="39"/>
                                        </p:tgtEl>
                                        <p:attrNameLst>
                                          <p:attrName>style.visibility</p:attrName>
                                        </p:attrNameLst>
                                      </p:cBhvr>
                                      <p:to>
                                        <p:strVal val="visible"/>
                                      </p:to>
                                    </p:set>
                                  </p:childTnLst>
                                </p:cTn>
                              </p:par>
                              <p:par>
                                <p:cTn id="48" presetID="1" presetClass="entr" presetSubtype="0" fill="hold" grpId="0" nodeType="withEffect">
                                  <p:stCondLst>
                                    <p:cond delay="0"/>
                                  </p:stCondLst>
                                  <p:childTnLst>
                                    <p:set>
                                      <p:cBhvr>
                                        <p:cTn id="49" dur="1" fill="hold">
                                          <p:stCondLst>
                                            <p:cond delay="0"/>
                                          </p:stCondLst>
                                        </p:cTn>
                                        <p:tgtEl>
                                          <p:spTgt spid="40"/>
                                        </p:tgtEl>
                                        <p:attrNameLst>
                                          <p:attrName>style.visibility</p:attrName>
                                        </p:attrNameLst>
                                      </p:cBhvr>
                                      <p:to>
                                        <p:strVal val="visible"/>
                                      </p:to>
                                    </p:set>
                                  </p:childTnLst>
                                </p:cTn>
                              </p:par>
                            </p:childTnLst>
                          </p:cTn>
                        </p:par>
                      </p:childTnLst>
                    </p:cTn>
                  </p:par>
                  <p:par>
                    <p:cTn id="50" fill="hold" nodeType="clickPar">
                      <p:stCondLst>
                        <p:cond delay="indefinite"/>
                      </p:stCondLst>
                      <p:childTnLst>
                        <p:par>
                          <p:cTn id="51" fill="hold" nodeType="withGroup">
                            <p:stCondLst>
                              <p:cond delay="0"/>
                            </p:stCondLst>
                            <p:childTnLst>
                              <p:par>
                                <p:cTn id="52" presetID="1" presetClass="entr" presetSubtype="0" fill="hold" nodeType="clickEffect">
                                  <p:stCondLst>
                                    <p:cond delay="0"/>
                                  </p:stCondLst>
                                  <p:childTnLst>
                                    <p:set>
                                      <p:cBhvr>
                                        <p:cTn id="53" dur="1" fill="hold">
                                          <p:stCondLst>
                                            <p:cond delay="0"/>
                                          </p:stCondLst>
                                        </p:cTn>
                                        <p:tgtEl>
                                          <p:spTgt spid="19"/>
                                        </p:tgtEl>
                                        <p:attrNameLst>
                                          <p:attrName>style.visibility</p:attrName>
                                        </p:attrNameLst>
                                      </p:cBhvr>
                                      <p:to>
                                        <p:strVal val="visible"/>
                                      </p:to>
                                    </p:set>
                                  </p:childTnLst>
                                </p:cTn>
                              </p:par>
                              <p:par>
                                <p:cTn id="54" presetID="1" presetClass="entr" presetSubtype="0" fill="hold" nodeType="withEffect">
                                  <p:stCondLst>
                                    <p:cond delay="0"/>
                                  </p:stCondLst>
                                  <p:childTnLst>
                                    <p:set>
                                      <p:cBhvr>
                                        <p:cTn id="55" dur="1" fill="hold">
                                          <p:stCondLst>
                                            <p:cond delay="0"/>
                                          </p:stCondLst>
                                        </p:cTn>
                                        <p:tgtEl>
                                          <p:spTgt spid="11"/>
                                        </p:tgtEl>
                                        <p:attrNameLst>
                                          <p:attrName>style.visibility</p:attrName>
                                        </p:attrNameLst>
                                      </p:cBhvr>
                                      <p:to>
                                        <p:strVal val="visible"/>
                                      </p:to>
                                    </p:set>
                                  </p:childTnLst>
                                </p:cTn>
                              </p:par>
                              <p:par>
                                <p:cTn id="56" presetID="1" presetClass="entr" presetSubtype="0" fill="hold" grpId="0" nodeType="withEffect">
                                  <p:stCondLst>
                                    <p:cond delay="0"/>
                                  </p:stCondLst>
                                  <p:childTnLst>
                                    <p:set>
                                      <p:cBhvr>
                                        <p:cTn id="57" dur="1" fill="hold">
                                          <p:stCondLst>
                                            <p:cond delay="0"/>
                                          </p:stCondLst>
                                        </p:cTn>
                                        <p:tgtEl>
                                          <p:spTgt spid="12"/>
                                        </p:tgtEl>
                                        <p:attrNameLst>
                                          <p:attrName>style.visibility</p:attrName>
                                        </p:attrNameLst>
                                      </p:cBhvr>
                                      <p:to>
                                        <p:strVal val="visible"/>
                                      </p:to>
                                    </p:set>
                                  </p:childTnLst>
                                </p:cTn>
                              </p:par>
                              <p:par>
                                <p:cTn id="58" presetID="1" presetClass="entr" presetSubtype="0" fill="hold" nodeType="withEffect">
                                  <p:stCondLst>
                                    <p:cond delay="0"/>
                                  </p:stCondLst>
                                  <p:childTnLst>
                                    <p:set>
                                      <p:cBhvr>
                                        <p:cTn id="59" dur="1" fill="hold">
                                          <p:stCondLst>
                                            <p:cond delay="0"/>
                                          </p:stCondLst>
                                        </p:cTn>
                                        <p:tgtEl>
                                          <p:spTgt spid="13"/>
                                        </p:tgtEl>
                                        <p:attrNameLst>
                                          <p:attrName>style.visibility</p:attrName>
                                        </p:attrNameLst>
                                      </p:cBhvr>
                                      <p:to>
                                        <p:strVal val="visible"/>
                                      </p:to>
                                    </p:set>
                                  </p:childTnLst>
                                </p:cTn>
                              </p:par>
                              <p:par>
                                <p:cTn id="60" presetID="1" presetClass="entr" presetSubtype="0" fill="hold" grpId="0" nodeType="withEffect">
                                  <p:stCondLst>
                                    <p:cond delay="0"/>
                                  </p:stCondLst>
                                  <p:childTnLst>
                                    <p:set>
                                      <p:cBhvr>
                                        <p:cTn id="61" dur="1" fill="hold">
                                          <p:stCondLst>
                                            <p:cond delay="0"/>
                                          </p:stCondLst>
                                        </p:cTn>
                                        <p:tgtEl>
                                          <p:spTgt spid="14"/>
                                        </p:tgtEl>
                                        <p:attrNameLst>
                                          <p:attrName>style.visibility</p:attrName>
                                        </p:attrNameLst>
                                      </p:cBhvr>
                                      <p:to>
                                        <p:strVal val="visible"/>
                                      </p:to>
                                    </p:set>
                                  </p:childTnLst>
                                </p:cTn>
                              </p:par>
                              <p:par>
                                <p:cTn id="62" presetID="1" presetClass="entr" presetSubtype="0" fill="hold" grpId="0" nodeType="withEffect">
                                  <p:stCondLst>
                                    <p:cond delay="0"/>
                                  </p:stCondLst>
                                  <p:childTnLst>
                                    <p:set>
                                      <p:cBhvr>
                                        <p:cTn id="63" dur="1" fill="hold">
                                          <p:stCondLst>
                                            <p:cond delay="0"/>
                                          </p:stCondLst>
                                        </p:cTn>
                                        <p:tgtEl>
                                          <p:spTgt spid="20"/>
                                        </p:tgtEl>
                                        <p:attrNameLst>
                                          <p:attrName>style.visibility</p:attrName>
                                        </p:attrNameLst>
                                      </p:cBhvr>
                                      <p:to>
                                        <p:strVal val="visible"/>
                                      </p:to>
                                    </p:set>
                                  </p:childTnLst>
                                </p:cTn>
                              </p:par>
                              <p:par>
                                <p:cTn id="64" presetID="1" presetClass="entr" presetSubtype="0" fill="hold" nodeType="withEffect">
                                  <p:stCondLst>
                                    <p:cond delay="0"/>
                                  </p:stCondLst>
                                  <p:childTnLst>
                                    <p:set>
                                      <p:cBhvr>
                                        <p:cTn id="65" dur="1" fill="hold">
                                          <p:stCondLst>
                                            <p:cond delay="0"/>
                                          </p:stCondLst>
                                        </p:cTn>
                                        <p:tgtEl>
                                          <p:spTgt spid="23574"/>
                                        </p:tgtEl>
                                        <p:attrNameLst>
                                          <p:attrName>style.visibility</p:attrName>
                                        </p:attrNameLst>
                                      </p:cBhvr>
                                      <p:to>
                                        <p:strVal val="visible"/>
                                      </p:to>
                                    </p:set>
                                  </p:childTnLst>
                                </p:cTn>
                              </p:par>
                              <p:par>
                                <p:cTn id="66" presetID="1" presetClass="entr" presetSubtype="0" fill="hold" grpId="0" nodeType="withEffect">
                                  <p:stCondLst>
                                    <p:cond delay="0"/>
                                  </p:stCondLst>
                                  <p:childTnLst>
                                    <p:set>
                                      <p:cBhvr>
                                        <p:cTn id="67" dur="1" fill="hold">
                                          <p:stCondLst>
                                            <p:cond delay="0"/>
                                          </p:stCondLst>
                                        </p:cTn>
                                        <p:tgtEl>
                                          <p:spTgt spid="52"/>
                                        </p:tgtEl>
                                        <p:attrNameLst>
                                          <p:attrName>style.visibility</p:attrName>
                                        </p:attrNameLst>
                                      </p:cBhvr>
                                      <p:to>
                                        <p:strVal val="visible"/>
                                      </p:to>
                                    </p:set>
                                  </p:childTnLst>
                                </p:cTn>
                              </p:par>
                              <p:par>
                                <p:cTn id="68" presetID="1" presetClass="entr" presetSubtype="0" fill="hold" grpId="0" nodeType="withEffect">
                                  <p:stCondLst>
                                    <p:cond delay="0"/>
                                  </p:stCondLst>
                                  <p:childTnLst>
                                    <p:set>
                                      <p:cBhvr>
                                        <p:cTn id="69" dur="1" fill="hold">
                                          <p:stCondLst>
                                            <p:cond delay="0"/>
                                          </p:stCondLst>
                                        </p:cTn>
                                        <p:tgtEl>
                                          <p:spTgt spid="56"/>
                                        </p:tgtEl>
                                        <p:attrNameLst>
                                          <p:attrName>style.visibility</p:attrName>
                                        </p:attrNameLst>
                                      </p:cBhvr>
                                      <p:to>
                                        <p:strVal val="visible"/>
                                      </p:to>
                                    </p:set>
                                  </p:childTnLst>
                                </p:cTn>
                              </p:par>
                              <p:par>
                                <p:cTn id="70" presetID="1" presetClass="entr" presetSubtype="0" fill="hold" grpId="0" nodeType="withEffect">
                                  <p:stCondLst>
                                    <p:cond delay="0"/>
                                  </p:stCondLst>
                                  <p:childTnLst>
                                    <p:set>
                                      <p:cBhvr>
                                        <p:cTn id="71" dur="1" fill="hold">
                                          <p:stCondLst>
                                            <p:cond delay="0"/>
                                          </p:stCondLst>
                                        </p:cTn>
                                        <p:tgtEl>
                                          <p:spTgt spid="5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16" grpId="0" animBg="1"/>
      <p:bldP spid="18" grpId="0" animBg="1"/>
      <p:bldP spid="20" grpId="0" animBg="1"/>
      <p:bldP spid="3" grpId="0" animBg="1"/>
      <p:bldP spid="7" grpId="0" animBg="1"/>
      <p:bldP spid="12" grpId="0" animBg="1"/>
      <p:bldP spid="14" grpId="0" animBg="1"/>
      <p:bldP spid="39" grpId="0" animBg="1"/>
      <p:bldP spid="40" grpId="0" animBg="1"/>
      <p:bldP spid="41" grpId="0"/>
      <p:bldP spid="44" grpId="0" animBg="1"/>
      <p:bldP spid="45" grpId="0" animBg="1"/>
      <p:bldP spid="51" grpId="0" animBg="1"/>
      <p:bldP spid="52" grpId="0" animBg="1"/>
      <p:bldP spid="56" grpId="0"/>
      <p:bldP spid="57" grpId="0"/>
      <p:bldP spid="10"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a:extLst>
            <a:ext uri="{FF2B5EF4-FFF2-40B4-BE49-F238E27FC236}">
              <a16:creationId xmlns:a16="http://schemas.microsoft.com/office/drawing/2014/main" id="{FD1A2218-A854-D5E9-ED26-4CF88C29846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B505602-0C77-A75A-AE20-1D4B1D1A90B4}"/>
              </a:ext>
            </a:extLst>
          </p:cNvPr>
          <p:cNvSpPr>
            <a:spLocks noGrp="1"/>
          </p:cNvSpPr>
          <p:nvPr>
            <p:ph type="title"/>
          </p:nvPr>
        </p:nvSpPr>
        <p:spPr>
          <a:xfrm>
            <a:off x="461008" y="288152"/>
            <a:ext cx="8221987" cy="522772"/>
          </a:xfrm>
        </p:spPr>
        <p:txBody>
          <a:bodyPr/>
          <a:lstStyle/>
          <a:p>
            <a:r>
              <a:rPr lang="en-US" dirty="0"/>
              <a:t>Beginnings of utility measurement</a:t>
            </a:r>
          </a:p>
        </p:txBody>
      </p:sp>
      <p:pic>
        <p:nvPicPr>
          <p:cNvPr id="6" name="Picture 5">
            <a:extLst>
              <a:ext uri="{FF2B5EF4-FFF2-40B4-BE49-F238E27FC236}">
                <a16:creationId xmlns:a16="http://schemas.microsoft.com/office/drawing/2014/main" id="{D62DC75B-759F-1B10-B965-C6FA0FD4412D}"/>
              </a:ext>
            </a:extLst>
          </p:cNvPr>
          <p:cNvPicPr>
            <a:picLocks noChangeAspect="1"/>
          </p:cNvPicPr>
          <p:nvPr/>
        </p:nvPicPr>
        <p:blipFill>
          <a:blip r:embed="rId4"/>
          <a:stretch>
            <a:fillRect/>
          </a:stretch>
        </p:blipFill>
        <p:spPr>
          <a:xfrm>
            <a:off x="922637" y="876827"/>
            <a:ext cx="6277233" cy="3539343"/>
          </a:xfrm>
          <a:prstGeom prst="rect">
            <a:avLst/>
          </a:prstGeom>
        </p:spPr>
      </p:pic>
    </p:spTree>
    <p:extLst>
      <p:ext uri="{BB962C8B-B14F-4D97-AF65-F5344CB8AC3E}">
        <p14:creationId xmlns:p14="http://schemas.microsoft.com/office/powerpoint/2010/main" val="1816513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1428041" y="215705"/>
            <a:ext cx="5363873" cy="196635"/>
          </a:xfrm>
        </p:spPr>
        <p:txBody>
          <a:bodyPr/>
          <a:lstStyle/>
          <a:p>
            <a:pPr>
              <a:defRPr/>
            </a:pPr>
            <a:r>
              <a:rPr lang="de-DE" dirty="0"/>
              <a:t>DIV04 </a:t>
            </a:r>
            <a:r>
              <a:rPr lang="de-DE" dirty="0" err="1"/>
              <a:t>Product</a:t>
            </a:r>
            <a:r>
              <a:rPr lang="de-DE" dirty="0"/>
              <a:t> </a:t>
            </a:r>
            <a:r>
              <a:rPr lang="de-DE" dirty="0" err="1"/>
              <a:t>portfolio</a:t>
            </a:r>
            <a:endParaRPr lang="de-DE" dirty="0"/>
          </a:p>
        </p:txBody>
      </p:sp>
      <p:sp>
        <p:nvSpPr>
          <p:cNvPr id="5" name="Textplatzhalter 4"/>
          <p:cNvSpPr>
            <a:spLocks noGrp="1"/>
          </p:cNvSpPr>
          <p:nvPr>
            <p:ph type="body" idx="13"/>
          </p:nvPr>
        </p:nvSpPr>
        <p:spPr>
          <a:xfrm>
            <a:off x="1428041" y="412337"/>
            <a:ext cx="5363873" cy="215703"/>
          </a:xfrm>
        </p:spPr>
        <p:txBody>
          <a:bodyPr/>
          <a:lstStyle/>
          <a:p>
            <a:pPr>
              <a:spcBef>
                <a:spcPct val="50000"/>
              </a:spcBef>
              <a:buClrTx/>
              <a:buSzTx/>
              <a:defRPr/>
            </a:pPr>
            <a:r>
              <a:rPr lang="de-DE" altLang="de-DE" dirty="0"/>
              <a:t>FL500 - </a:t>
            </a:r>
            <a:r>
              <a:rPr lang="de-DE" altLang="de-DE" dirty="0" err="1"/>
              <a:t>Application</a:t>
            </a:r>
            <a:endParaRPr lang="de-DE" altLang="de-DE" dirty="0"/>
          </a:p>
          <a:p>
            <a:pPr>
              <a:defRPr/>
            </a:pPr>
            <a:endParaRPr lang="de-DE" dirty="0"/>
          </a:p>
        </p:txBody>
      </p:sp>
      <p:sp>
        <p:nvSpPr>
          <p:cNvPr id="7" name="Fußzeilenplatzhalter 6"/>
          <p:cNvSpPr>
            <a:spLocks noGrp="1"/>
          </p:cNvSpPr>
          <p:nvPr>
            <p:ph type="ftr" sz="quarter" idx="16"/>
          </p:nvPr>
        </p:nvSpPr>
        <p:spPr/>
        <p:txBody>
          <a:bodyPr/>
          <a:lstStyle/>
          <a:p>
            <a:pPr>
              <a:defRPr/>
            </a:pPr>
            <a:r>
              <a:rPr lang="en-US">
                <a:solidFill>
                  <a:srgbClr val="007FC3"/>
                </a:solidFill>
              </a:rPr>
              <a:t>SICK Engineering, Confidential</a:t>
            </a:r>
          </a:p>
        </p:txBody>
      </p:sp>
      <p:sp>
        <p:nvSpPr>
          <p:cNvPr id="8" name="Foliennummernplatzhalter 7"/>
          <p:cNvSpPr>
            <a:spLocks noGrp="1"/>
          </p:cNvSpPr>
          <p:nvPr>
            <p:ph type="sldNum" sz="quarter" idx="17"/>
          </p:nvPr>
        </p:nvSpPr>
        <p:spPr/>
        <p:txBody>
          <a:bodyPr/>
          <a:lstStyle/>
          <a:p>
            <a:pPr>
              <a:defRPr/>
            </a:pPr>
            <a:fld id="{C86CA763-5783-4233-91CD-DE133CD589E1}" type="slidenum">
              <a:rPr lang="en-US" smtClean="0">
                <a:solidFill>
                  <a:srgbClr val="6E7A82"/>
                </a:solidFill>
              </a:rPr>
              <a:pPr>
                <a:defRPr/>
              </a:pPr>
              <a:t>30</a:t>
            </a:fld>
            <a:endParaRPr lang="en-US" dirty="0">
              <a:solidFill>
                <a:srgbClr val="6E7A82"/>
              </a:solidFill>
            </a:endParaRPr>
          </a:p>
        </p:txBody>
      </p:sp>
      <p:sp>
        <p:nvSpPr>
          <p:cNvPr id="9" name="Rectangle 3"/>
          <p:cNvSpPr>
            <a:spLocks noChangeArrowheads="1"/>
          </p:cNvSpPr>
          <p:nvPr/>
        </p:nvSpPr>
        <p:spPr bwMode="auto">
          <a:xfrm>
            <a:off x="1288333" y="732912"/>
            <a:ext cx="6526632" cy="39648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108100" rIns="0" bIns="0"/>
          <a:lstStyle/>
          <a:p>
            <a:pPr marL="203787" indent="-203787" eaLnBrk="0" hangingPunct="0">
              <a:spcBef>
                <a:spcPts val="450"/>
              </a:spcBef>
              <a:buClr>
                <a:srgbClr val="6E7A82"/>
              </a:buClr>
              <a:buSzPct val="100000"/>
              <a:buFont typeface="Wingdings" pitchFamily="2" charset="2"/>
              <a:buChar char="§"/>
              <a:defRPr/>
            </a:pPr>
            <a:r>
              <a:rPr lang="en-US" sz="1501" dirty="0">
                <a:solidFill>
                  <a:srgbClr val="6E7A82"/>
                </a:solidFill>
                <a:latin typeface="SICK Franklin Condensed"/>
              </a:rPr>
              <a:t>Natural gas distribution</a:t>
            </a:r>
          </a:p>
          <a:p>
            <a:pPr marL="203787" indent="-203787" eaLnBrk="0" hangingPunct="0">
              <a:spcBef>
                <a:spcPts val="450"/>
              </a:spcBef>
              <a:buClr>
                <a:srgbClr val="6E7A82"/>
              </a:buClr>
              <a:buSzPct val="100000"/>
              <a:buFont typeface="Wingdings" pitchFamily="2" charset="2"/>
              <a:buChar char="§"/>
              <a:defRPr/>
            </a:pPr>
            <a:r>
              <a:rPr lang="en-US" sz="1501" dirty="0">
                <a:solidFill>
                  <a:srgbClr val="6E7A82"/>
                </a:solidFill>
                <a:latin typeface="SICK Franklin Condensed"/>
              </a:rPr>
              <a:t>Transfer and measuring stations for municipal and regional gas suppliers</a:t>
            </a:r>
          </a:p>
          <a:p>
            <a:pPr marL="203787" indent="-203787" eaLnBrk="0" hangingPunct="0">
              <a:spcBef>
                <a:spcPts val="450"/>
              </a:spcBef>
              <a:buClr>
                <a:srgbClr val="6E7A82"/>
              </a:buClr>
              <a:buSzPct val="100000"/>
              <a:buFont typeface="Wingdings" pitchFamily="2" charset="2"/>
              <a:buChar char="§"/>
              <a:defRPr/>
            </a:pPr>
            <a:r>
              <a:rPr lang="en-US" sz="1501" dirty="0">
                <a:solidFill>
                  <a:srgbClr val="6E7A82"/>
                </a:solidFill>
                <a:latin typeface="SICK Franklin Condensed"/>
              </a:rPr>
              <a:t>Measuring stations of industrial and commercial applications</a:t>
            </a:r>
          </a:p>
          <a:p>
            <a:pPr marL="203787" indent="-203787" eaLnBrk="0" hangingPunct="0">
              <a:spcBef>
                <a:spcPts val="450"/>
              </a:spcBef>
              <a:buClr>
                <a:srgbClr val="6E7A82"/>
              </a:buClr>
              <a:buSzPct val="100000"/>
              <a:buFont typeface="Wingdings" pitchFamily="2" charset="2"/>
              <a:buChar char="§"/>
              <a:defRPr/>
            </a:pPr>
            <a:r>
              <a:rPr lang="en-US" sz="1501" dirty="0">
                <a:solidFill>
                  <a:srgbClr val="6E7A82"/>
                </a:solidFill>
                <a:latin typeface="SICK Franklin Condensed"/>
              </a:rPr>
              <a:t>Applications where continuous gas supply must be ensured  </a:t>
            </a:r>
          </a:p>
          <a:p>
            <a:pPr marL="203787" indent="-203787" eaLnBrk="0" hangingPunct="0">
              <a:spcBef>
                <a:spcPts val="450"/>
              </a:spcBef>
              <a:buClr>
                <a:srgbClr val="6E7A82"/>
              </a:buClr>
              <a:buSzPct val="100000"/>
              <a:buFont typeface="Wingdings" pitchFamily="2" charset="2"/>
              <a:buChar char="§"/>
              <a:defRPr/>
            </a:pPr>
            <a:endParaRPr lang="en-US" sz="1501" dirty="0">
              <a:solidFill>
                <a:srgbClr val="6E7A82"/>
              </a:solidFill>
              <a:latin typeface="SICK Franklin Condensed"/>
            </a:endParaRPr>
          </a:p>
        </p:txBody>
      </p:sp>
      <p:pic>
        <p:nvPicPr>
          <p:cNvPr id="73735"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28040" y="2627759"/>
            <a:ext cx="6338523" cy="20533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3736" name="Picture 5"/>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053726" y="1060640"/>
            <a:ext cx="537928" cy="10940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73737" name="Gerade Verbindung mit Pfeil 3"/>
          <p:cNvCxnSpPr>
            <a:cxnSpLocks noChangeShapeType="1"/>
          </p:cNvCxnSpPr>
          <p:nvPr/>
        </p:nvCxnSpPr>
        <p:spPr bwMode="auto">
          <a:xfrm flipH="1">
            <a:off x="4871217" y="2154643"/>
            <a:ext cx="2046104" cy="635191"/>
          </a:xfrm>
          <a:prstGeom prst="straightConnector1">
            <a:avLst/>
          </a:prstGeom>
          <a:noFill/>
          <a:ln w="25400" algn="ctr">
            <a:solidFill>
              <a:srgbClr val="0000FF"/>
            </a:solidFill>
            <a:round/>
            <a:headEnd type="none" w="lg" len="lg"/>
            <a:tailEnd type="stealth"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3738" name="Gerade Verbindung mit Pfeil 15"/>
          <p:cNvCxnSpPr>
            <a:cxnSpLocks noChangeShapeType="1"/>
          </p:cNvCxnSpPr>
          <p:nvPr/>
        </p:nvCxnSpPr>
        <p:spPr bwMode="auto">
          <a:xfrm flipH="1">
            <a:off x="6618106" y="2154643"/>
            <a:ext cx="548928" cy="635191"/>
          </a:xfrm>
          <a:prstGeom prst="straightConnector1">
            <a:avLst/>
          </a:prstGeom>
          <a:noFill/>
          <a:ln w="25400" algn="ctr">
            <a:solidFill>
              <a:srgbClr val="0000FF"/>
            </a:solidFill>
            <a:round/>
            <a:headEnd type="none" w="lg" len="lg"/>
            <a:tailEnd type="stealth"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3739" name="Gerade Verbindung mit Pfeil 17"/>
          <p:cNvCxnSpPr>
            <a:cxnSpLocks noChangeShapeType="1"/>
          </p:cNvCxnSpPr>
          <p:nvPr/>
        </p:nvCxnSpPr>
        <p:spPr bwMode="auto">
          <a:xfrm>
            <a:off x="7366143" y="2154643"/>
            <a:ext cx="0" cy="635191"/>
          </a:xfrm>
          <a:prstGeom prst="straightConnector1">
            <a:avLst/>
          </a:prstGeom>
          <a:noFill/>
          <a:ln w="25400" algn="ctr">
            <a:solidFill>
              <a:srgbClr val="0000FF"/>
            </a:solidFill>
            <a:round/>
            <a:headEnd type="none" w="lg" len="lg"/>
            <a:tailEnd type="stealth"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1726127433"/>
      </p:ext>
    </p:extLst>
  </p:cSld>
  <p:clrMapOvr>
    <a:masterClrMapping/>
  </p:clrMapOvr>
  <p:transition>
    <p:zoom/>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Fußzeilenplatzhalter 3"/>
          <p:cNvSpPr>
            <a:spLocks noGrp="1"/>
          </p:cNvSpPr>
          <p:nvPr>
            <p:ph type="ftr" sz="quarter" idx="10"/>
          </p:nvPr>
        </p:nvSpPr>
        <p:spPr>
          <a:xfrm>
            <a:off x="5892067" y="4961164"/>
            <a:ext cx="1623683" cy="163266"/>
          </a:xfrm>
          <a:noFill/>
        </p:spPr>
        <p:txBody>
          <a:bodyPr/>
          <a:lstStyle>
            <a:lvl1pPr eaLnBrk="0" hangingPunct="0">
              <a:spcBef>
                <a:spcPct val="20000"/>
              </a:spcBef>
              <a:buClr>
                <a:srgbClr val="0084C2"/>
              </a:buClr>
              <a:buSzPct val="130000"/>
              <a:buFont typeface="Arial" charset="0"/>
              <a:buChar char=":"/>
              <a:defRPr sz="1276">
                <a:solidFill>
                  <a:schemeClr val="tx1"/>
                </a:solidFill>
                <a:latin typeface="Arial" charset="0"/>
                <a:cs typeface="Arial" charset="0"/>
              </a:defRPr>
            </a:lvl1pPr>
            <a:lvl2pPr marL="557733" indent="-214513" eaLnBrk="0" hangingPunct="0">
              <a:spcBef>
                <a:spcPct val="20000"/>
              </a:spcBef>
              <a:buClr>
                <a:srgbClr val="0084C2"/>
              </a:buClr>
              <a:buFont typeface="Arial" charset="0"/>
              <a:buChar char="-"/>
              <a:defRPr sz="1201">
                <a:solidFill>
                  <a:schemeClr val="tx1"/>
                </a:solidFill>
                <a:latin typeface="Arial" charset="0"/>
                <a:cs typeface="Arial" charset="0"/>
              </a:defRPr>
            </a:lvl2pPr>
            <a:lvl3pPr marL="858050" indent="-171610" eaLnBrk="0" hangingPunct="0">
              <a:spcBef>
                <a:spcPct val="20000"/>
              </a:spcBef>
              <a:buClr>
                <a:srgbClr val="0084C2"/>
              </a:buClr>
              <a:buSzPct val="50000"/>
              <a:buFont typeface="Arial" charset="0"/>
              <a:buChar char="▪"/>
              <a:defRPr sz="1201">
                <a:solidFill>
                  <a:schemeClr val="tx1"/>
                </a:solidFill>
                <a:latin typeface="Arial" charset="0"/>
                <a:cs typeface="Arial" charset="0"/>
              </a:defRPr>
            </a:lvl3pPr>
            <a:lvl4pPr marL="1201270" indent="-171610" eaLnBrk="0" hangingPunct="0">
              <a:spcBef>
                <a:spcPct val="20000"/>
              </a:spcBef>
              <a:buClr>
                <a:srgbClr val="0084C2"/>
              </a:buClr>
              <a:buSzPct val="50000"/>
              <a:buFont typeface="Arial" charset="0"/>
              <a:buChar char="▪"/>
              <a:defRPr sz="1201">
                <a:solidFill>
                  <a:schemeClr val="tx1"/>
                </a:solidFill>
                <a:latin typeface="Arial" charset="0"/>
                <a:cs typeface="Arial" charset="0"/>
              </a:defRPr>
            </a:lvl4pPr>
            <a:lvl5pPr marL="1544490" indent="-171610" eaLnBrk="0" hangingPunct="0">
              <a:spcBef>
                <a:spcPct val="20000"/>
              </a:spcBef>
              <a:buChar char="»"/>
              <a:defRPr sz="1201">
                <a:solidFill>
                  <a:schemeClr val="tx1"/>
                </a:solidFill>
                <a:latin typeface="Arial" charset="0"/>
                <a:cs typeface="Arial" charset="0"/>
              </a:defRPr>
            </a:lvl5pPr>
            <a:lvl6pPr marL="1887710" indent="-171610" eaLnBrk="0" fontAlgn="base" hangingPunct="0">
              <a:spcBef>
                <a:spcPct val="20000"/>
              </a:spcBef>
              <a:spcAft>
                <a:spcPct val="0"/>
              </a:spcAft>
              <a:buChar char="»"/>
              <a:defRPr sz="1201">
                <a:solidFill>
                  <a:schemeClr val="tx1"/>
                </a:solidFill>
                <a:latin typeface="Arial" charset="0"/>
                <a:cs typeface="Arial" charset="0"/>
              </a:defRPr>
            </a:lvl6pPr>
            <a:lvl7pPr marL="2230930" indent="-171610" eaLnBrk="0" fontAlgn="base" hangingPunct="0">
              <a:spcBef>
                <a:spcPct val="20000"/>
              </a:spcBef>
              <a:spcAft>
                <a:spcPct val="0"/>
              </a:spcAft>
              <a:buChar char="»"/>
              <a:defRPr sz="1201">
                <a:solidFill>
                  <a:schemeClr val="tx1"/>
                </a:solidFill>
                <a:latin typeface="Arial" charset="0"/>
                <a:cs typeface="Arial" charset="0"/>
              </a:defRPr>
            </a:lvl7pPr>
            <a:lvl8pPr marL="2574150" indent="-171610" eaLnBrk="0" fontAlgn="base" hangingPunct="0">
              <a:spcBef>
                <a:spcPct val="20000"/>
              </a:spcBef>
              <a:spcAft>
                <a:spcPct val="0"/>
              </a:spcAft>
              <a:buChar char="»"/>
              <a:defRPr sz="1201">
                <a:solidFill>
                  <a:schemeClr val="tx1"/>
                </a:solidFill>
                <a:latin typeface="Arial" charset="0"/>
                <a:cs typeface="Arial" charset="0"/>
              </a:defRPr>
            </a:lvl8pPr>
            <a:lvl9pPr marL="2917370" indent="-171610" eaLnBrk="0" fontAlgn="base" hangingPunct="0">
              <a:spcBef>
                <a:spcPct val="20000"/>
              </a:spcBef>
              <a:spcAft>
                <a:spcPct val="0"/>
              </a:spcAft>
              <a:buChar char="»"/>
              <a:defRPr sz="1201">
                <a:solidFill>
                  <a:schemeClr val="tx1"/>
                </a:solidFill>
                <a:latin typeface="Arial" charset="0"/>
                <a:cs typeface="Arial" charset="0"/>
              </a:defRPr>
            </a:lvl9pPr>
          </a:lstStyle>
          <a:p>
            <a:pPr eaLnBrk="1" hangingPunct="1">
              <a:spcBef>
                <a:spcPct val="0"/>
              </a:spcBef>
              <a:buClrTx/>
              <a:buSzTx/>
              <a:buFontTx/>
              <a:buNone/>
            </a:pPr>
            <a:r>
              <a:rPr lang="en-US" altLang="en-US" sz="676">
                <a:solidFill>
                  <a:srgbClr val="808080"/>
                </a:solidFill>
              </a:rPr>
              <a:t>: Name (Date)</a:t>
            </a:r>
          </a:p>
        </p:txBody>
      </p:sp>
      <p:sp>
        <p:nvSpPr>
          <p:cNvPr id="13315" name="Foliennummernplatzhalter 4"/>
          <p:cNvSpPr>
            <a:spLocks noGrp="1"/>
          </p:cNvSpPr>
          <p:nvPr>
            <p:ph type="sldNum" sz="quarter" idx="11"/>
          </p:nvPr>
        </p:nvSpPr>
        <p:spPr>
          <a:xfrm>
            <a:off x="7515752" y="4961164"/>
            <a:ext cx="249713" cy="163266"/>
          </a:xfrm>
          <a:noFill/>
        </p:spPr>
        <p:txBody>
          <a:bodyPr/>
          <a:lstStyle>
            <a:lvl1pPr eaLnBrk="0" hangingPunct="0">
              <a:spcBef>
                <a:spcPct val="20000"/>
              </a:spcBef>
              <a:buClr>
                <a:srgbClr val="0084C2"/>
              </a:buClr>
              <a:buSzPct val="130000"/>
              <a:buFont typeface="Arial" charset="0"/>
              <a:buChar char=":"/>
              <a:defRPr sz="1276">
                <a:solidFill>
                  <a:schemeClr val="tx1"/>
                </a:solidFill>
                <a:latin typeface="Arial" charset="0"/>
                <a:cs typeface="Arial" charset="0"/>
              </a:defRPr>
            </a:lvl1pPr>
            <a:lvl2pPr marL="557733" indent="-214513" eaLnBrk="0" hangingPunct="0">
              <a:spcBef>
                <a:spcPct val="20000"/>
              </a:spcBef>
              <a:buClr>
                <a:srgbClr val="0084C2"/>
              </a:buClr>
              <a:buFont typeface="Arial" charset="0"/>
              <a:buChar char="-"/>
              <a:defRPr sz="1201">
                <a:solidFill>
                  <a:schemeClr val="tx1"/>
                </a:solidFill>
                <a:latin typeface="Arial" charset="0"/>
                <a:cs typeface="Arial" charset="0"/>
              </a:defRPr>
            </a:lvl2pPr>
            <a:lvl3pPr marL="858050" indent="-171610" eaLnBrk="0" hangingPunct="0">
              <a:spcBef>
                <a:spcPct val="20000"/>
              </a:spcBef>
              <a:buClr>
                <a:srgbClr val="0084C2"/>
              </a:buClr>
              <a:buSzPct val="50000"/>
              <a:buFont typeface="Arial" charset="0"/>
              <a:buChar char="▪"/>
              <a:defRPr sz="1201">
                <a:solidFill>
                  <a:schemeClr val="tx1"/>
                </a:solidFill>
                <a:latin typeface="Arial" charset="0"/>
                <a:cs typeface="Arial" charset="0"/>
              </a:defRPr>
            </a:lvl3pPr>
            <a:lvl4pPr marL="1201270" indent="-171610" eaLnBrk="0" hangingPunct="0">
              <a:spcBef>
                <a:spcPct val="20000"/>
              </a:spcBef>
              <a:buClr>
                <a:srgbClr val="0084C2"/>
              </a:buClr>
              <a:buSzPct val="50000"/>
              <a:buFont typeface="Arial" charset="0"/>
              <a:buChar char="▪"/>
              <a:defRPr sz="1201">
                <a:solidFill>
                  <a:schemeClr val="tx1"/>
                </a:solidFill>
                <a:latin typeface="Arial" charset="0"/>
                <a:cs typeface="Arial" charset="0"/>
              </a:defRPr>
            </a:lvl4pPr>
            <a:lvl5pPr marL="1544490" indent="-171610" eaLnBrk="0" hangingPunct="0">
              <a:spcBef>
                <a:spcPct val="20000"/>
              </a:spcBef>
              <a:buChar char="»"/>
              <a:defRPr sz="1201">
                <a:solidFill>
                  <a:schemeClr val="tx1"/>
                </a:solidFill>
                <a:latin typeface="Arial" charset="0"/>
                <a:cs typeface="Arial" charset="0"/>
              </a:defRPr>
            </a:lvl5pPr>
            <a:lvl6pPr marL="1887710" indent="-171610" eaLnBrk="0" fontAlgn="base" hangingPunct="0">
              <a:spcBef>
                <a:spcPct val="20000"/>
              </a:spcBef>
              <a:spcAft>
                <a:spcPct val="0"/>
              </a:spcAft>
              <a:buChar char="»"/>
              <a:defRPr sz="1201">
                <a:solidFill>
                  <a:schemeClr val="tx1"/>
                </a:solidFill>
                <a:latin typeface="Arial" charset="0"/>
                <a:cs typeface="Arial" charset="0"/>
              </a:defRPr>
            </a:lvl6pPr>
            <a:lvl7pPr marL="2230930" indent="-171610" eaLnBrk="0" fontAlgn="base" hangingPunct="0">
              <a:spcBef>
                <a:spcPct val="20000"/>
              </a:spcBef>
              <a:spcAft>
                <a:spcPct val="0"/>
              </a:spcAft>
              <a:buChar char="»"/>
              <a:defRPr sz="1201">
                <a:solidFill>
                  <a:schemeClr val="tx1"/>
                </a:solidFill>
                <a:latin typeface="Arial" charset="0"/>
                <a:cs typeface="Arial" charset="0"/>
              </a:defRPr>
            </a:lvl7pPr>
            <a:lvl8pPr marL="2574150" indent="-171610" eaLnBrk="0" fontAlgn="base" hangingPunct="0">
              <a:spcBef>
                <a:spcPct val="20000"/>
              </a:spcBef>
              <a:spcAft>
                <a:spcPct val="0"/>
              </a:spcAft>
              <a:buChar char="»"/>
              <a:defRPr sz="1201">
                <a:solidFill>
                  <a:schemeClr val="tx1"/>
                </a:solidFill>
                <a:latin typeface="Arial" charset="0"/>
                <a:cs typeface="Arial" charset="0"/>
              </a:defRPr>
            </a:lvl8pPr>
            <a:lvl9pPr marL="2917370" indent="-171610" eaLnBrk="0" fontAlgn="base" hangingPunct="0">
              <a:spcBef>
                <a:spcPct val="20000"/>
              </a:spcBef>
              <a:spcAft>
                <a:spcPct val="0"/>
              </a:spcAft>
              <a:buChar char="»"/>
              <a:defRPr sz="1201">
                <a:solidFill>
                  <a:schemeClr val="tx1"/>
                </a:solidFill>
                <a:latin typeface="Arial" charset="0"/>
                <a:cs typeface="Arial" charset="0"/>
              </a:defRPr>
            </a:lvl9pPr>
          </a:lstStyle>
          <a:p>
            <a:pPr eaLnBrk="1" hangingPunct="1">
              <a:spcBef>
                <a:spcPct val="0"/>
              </a:spcBef>
              <a:buClrTx/>
              <a:buSzTx/>
              <a:buFontTx/>
              <a:buNone/>
            </a:pPr>
            <a:fld id="{BBB5DAE2-5C79-4D6A-8A3A-D01D0CCEF9D3}" type="slidenum">
              <a:rPr lang="en-US" altLang="en-US" sz="676" smtClean="0">
                <a:solidFill>
                  <a:srgbClr val="808080"/>
                </a:solidFill>
              </a:rPr>
              <a:pPr eaLnBrk="1" hangingPunct="1">
                <a:spcBef>
                  <a:spcPct val="0"/>
                </a:spcBef>
                <a:buClrTx/>
                <a:buSzTx/>
                <a:buFontTx/>
                <a:buNone/>
              </a:pPr>
              <a:t>31</a:t>
            </a:fld>
            <a:endParaRPr lang="en-US" altLang="en-US" sz="676">
              <a:solidFill>
                <a:srgbClr val="808080"/>
              </a:solidFill>
            </a:endParaRPr>
          </a:p>
        </p:txBody>
      </p:sp>
      <p:sp>
        <p:nvSpPr>
          <p:cNvPr id="13316" name="Rectangle 2"/>
          <p:cNvSpPr>
            <a:spLocks noChangeArrowheads="1"/>
          </p:cNvSpPr>
          <p:nvPr/>
        </p:nvSpPr>
        <p:spPr bwMode="auto">
          <a:xfrm>
            <a:off x="1544647" y="1064213"/>
            <a:ext cx="6171315" cy="27052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Clr>
                <a:srgbClr val="0084C2"/>
              </a:buClr>
              <a:buSzPct val="130000"/>
              <a:buFont typeface="Arial" charset="0"/>
              <a:buChar char=":"/>
              <a:defRPr sz="1700">
                <a:solidFill>
                  <a:schemeClr val="tx1"/>
                </a:solidFill>
                <a:latin typeface="Arial" charset="0"/>
                <a:cs typeface="Arial" charset="0"/>
              </a:defRPr>
            </a:lvl1pPr>
            <a:lvl2pPr marL="742950" indent="-285750" eaLnBrk="0" hangingPunct="0">
              <a:spcBef>
                <a:spcPct val="20000"/>
              </a:spcBef>
              <a:buClr>
                <a:srgbClr val="0084C2"/>
              </a:buClr>
              <a:buFont typeface="Arial" charset="0"/>
              <a:buChar char="-"/>
              <a:defRPr sz="1600">
                <a:solidFill>
                  <a:schemeClr val="tx1"/>
                </a:solidFill>
                <a:latin typeface="Arial" charset="0"/>
                <a:cs typeface="Arial" charset="0"/>
              </a:defRPr>
            </a:lvl2pPr>
            <a:lvl3pPr marL="1143000" indent="-228600" eaLnBrk="0" hangingPunct="0">
              <a:spcBef>
                <a:spcPct val="20000"/>
              </a:spcBef>
              <a:buClr>
                <a:srgbClr val="0084C2"/>
              </a:buClr>
              <a:buSzPct val="50000"/>
              <a:buFont typeface="Arial" charset="0"/>
              <a:buChar char="▪"/>
              <a:defRPr sz="1600">
                <a:solidFill>
                  <a:schemeClr val="tx1"/>
                </a:solidFill>
                <a:latin typeface="Arial" charset="0"/>
                <a:cs typeface="Arial" charset="0"/>
              </a:defRPr>
            </a:lvl3pPr>
            <a:lvl4pPr marL="1600200" indent="-228600" eaLnBrk="0" hangingPunct="0">
              <a:spcBef>
                <a:spcPct val="20000"/>
              </a:spcBef>
              <a:buClr>
                <a:srgbClr val="0084C2"/>
              </a:buClr>
              <a:buSzPct val="50000"/>
              <a:buFont typeface="Arial" charset="0"/>
              <a:buChar char="▪"/>
              <a:defRPr sz="1600">
                <a:solidFill>
                  <a:schemeClr val="tx1"/>
                </a:solidFill>
                <a:latin typeface="Arial" charset="0"/>
                <a:cs typeface="Arial" charset="0"/>
              </a:defRPr>
            </a:lvl4pPr>
            <a:lvl5pPr marL="2057400" indent="-228600" eaLnBrk="0" hangingPunct="0">
              <a:spcBef>
                <a:spcPct val="20000"/>
              </a:spcBef>
              <a:buChar char="»"/>
              <a:defRPr sz="1600">
                <a:solidFill>
                  <a:schemeClr val="tx1"/>
                </a:solidFill>
                <a:latin typeface="Arial" charset="0"/>
                <a:cs typeface="Arial" charset="0"/>
              </a:defRPr>
            </a:lvl5pPr>
            <a:lvl6pPr marL="2514600" indent="-228600" eaLnBrk="0" fontAlgn="base" hangingPunct="0">
              <a:spcBef>
                <a:spcPct val="20000"/>
              </a:spcBef>
              <a:spcAft>
                <a:spcPct val="0"/>
              </a:spcAft>
              <a:buChar char="»"/>
              <a:defRPr sz="1600">
                <a:solidFill>
                  <a:schemeClr val="tx1"/>
                </a:solidFill>
                <a:latin typeface="Arial" charset="0"/>
                <a:cs typeface="Arial" charset="0"/>
              </a:defRPr>
            </a:lvl6pPr>
            <a:lvl7pPr marL="2971800" indent="-228600" eaLnBrk="0" fontAlgn="base" hangingPunct="0">
              <a:spcBef>
                <a:spcPct val="20000"/>
              </a:spcBef>
              <a:spcAft>
                <a:spcPct val="0"/>
              </a:spcAft>
              <a:buChar char="»"/>
              <a:defRPr sz="1600">
                <a:solidFill>
                  <a:schemeClr val="tx1"/>
                </a:solidFill>
                <a:latin typeface="Arial" charset="0"/>
                <a:cs typeface="Arial" charset="0"/>
              </a:defRPr>
            </a:lvl7pPr>
            <a:lvl8pPr marL="3429000" indent="-228600" eaLnBrk="0" fontAlgn="base" hangingPunct="0">
              <a:spcBef>
                <a:spcPct val="20000"/>
              </a:spcBef>
              <a:spcAft>
                <a:spcPct val="0"/>
              </a:spcAft>
              <a:buChar char="»"/>
              <a:defRPr sz="1600">
                <a:solidFill>
                  <a:schemeClr val="tx1"/>
                </a:solidFill>
                <a:latin typeface="Arial" charset="0"/>
                <a:cs typeface="Arial" charset="0"/>
              </a:defRPr>
            </a:lvl8pPr>
            <a:lvl9pPr marL="3886200" indent="-228600" eaLnBrk="0" fontAlgn="base" hangingPunct="0">
              <a:spcBef>
                <a:spcPct val="20000"/>
              </a:spcBef>
              <a:spcAft>
                <a:spcPct val="0"/>
              </a:spcAft>
              <a:buChar char="»"/>
              <a:defRPr sz="1600">
                <a:solidFill>
                  <a:schemeClr val="tx1"/>
                </a:solidFill>
                <a:latin typeface="Arial" charset="0"/>
                <a:cs typeface="Arial" charset="0"/>
              </a:defRPr>
            </a:lvl9pPr>
          </a:lstStyle>
          <a:p>
            <a:pPr eaLnBrk="1" hangingPunct="1">
              <a:buFont typeface="Times New Roman" pitchFamily="18" charset="0"/>
              <a:buNone/>
            </a:pPr>
            <a:endParaRPr lang="en-US" altLang="en-US" sz="1276" u="sng">
              <a:solidFill>
                <a:srgbClr val="000000"/>
              </a:solidFill>
            </a:endParaRPr>
          </a:p>
        </p:txBody>
      </p:sp>
      <p:sp>
        <p:nvSpPr>
          <p:cNvPr id="11" name="Rectangle 2"/>
          <p:cNvSpPr>
            <a:spLocks noChangeArrowheads="1"/>
          </p:cNvSpPr>
          <p:nvPr/>
        </p:nvSpPr>
        <p:spPr bwMode="auto">
          <a:xfrm>
            <a:off x="1376337" y="110831"/>
            <a:ext cx="5380374" cy="4290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buClr>
                <a:srgbClr val="0084C2"/>
              </a:buClr>
              <a:buSzPct val="130000"/>
              <a:defRPr/>
            </a:pPr>
            <a:r>
              <a:rPr lang="en-US" sz="1952" dirty="0">
                <a:solidFill>
                  <a:srgbClr val="0084C2"/>
                </a:solidFill>
                <a:latin typeface="Arial"/>
                <a:cs typeface="Arial"/>
              </a:rPr>
              <a:t>FLOWSIC500</a:t>
            </a:r>
          </a:p>
          <a:p>
            <a:pPr>
              <a:buClr>
                <a:srgbClr val="0084C2"/>
              </a:buClr>
              <a:buSzPct val="130000"/>
              <a:defRPr/>
            </a:pPr>
            <a:r>
              <a:rPr lang="en-US" sz="1501" dirty="0">
                <a:solidFill>
                  <a:srgbClr val="0084C2"/>
                </a:solidFill>
                <a:latin typeface="Arial"/>
                <a:cs typeface="Arial"/>
              </a:rPr>
              <a:t>Device variants</a:t>
            </a:r>
          </a:p>
        </p:txBody>
      </p:sp>
      <p:sp>
        <p:nvSpPr>
          <p:cNvPr id="9" name="Rectangle 3"/>
          <p:cNvSpPr>
            <a:spLocks noChangeArrowheads="1"/>
          </p:cNvSpPr>
          <p:nvPr/>
        </p:nvSpPr>
        <p:spPr bwMode="auto">
          <a:xfrm>
            <a:off x="1393940" y="847318"/>
            <a:ext cx="6526632" cy="39648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spcBef>
                <a:spcPct val="30000"/>
              </a:spcBef>
              <a:buClr>
                <a:srgbClr val="0084C2"/>
              </a:buClr>
              <a:buSzPct val="130000"/>
              <a:defRPr/>
            </a:pPr>
            <a:r>
              <a:rPr lang="en-US" sz="1276" dirty="0">
                <a:solidFill>
                  <a:srgbClr val="000000"/>
                </a:solidFill>
                <a:latin typeface="Arial" charset="0"/>
                <a:cs typeface="Arial"/>
              </a:rPr>
              <a:t>   </a:t>
            </a:r>
            <a:r>
              <a:rPr lang="en-US" sz="1276" b="1" dirty="0">
                <a:solidFill>
                  <a:srgbClr val="000000"/>
                </a:solidFill>
                <a:latin typeface="Arial" charset="0"/>
                <a:cs typeface="Arial"/>
              </a:rPr>
              <a:t>Meter sizes: </a:t>
            </a:r>
            <a:r>
              <a:rPr lang="en-US" sz="1276" dirty="0">
                <a:solidFill>
                  <a:srgbClr val="000000"/>
                </a:solidFill>
                <a:latin typeface="Arial" charset="0"/>
                <a:cs typeface="Arial"/>
              </a:rPr>
              <a:t>	</a:t>
            </a:r>
          </a:p>
          <a:p>
            <a:pPr marL="133474" indent="-133474">
              <a:spcBef>
                <a:spcPct val="30000"/>
              </a:spcBef>
              <a:buClr>
                <a:srgbClr val="0084C2"/>
              </a:buClr>
              <a:buSzPct val="130000"/>
              <a:buFont typeface="Arial" pitchFamily="34" charset="0"/>
              <a:buChar char=":"/>
              <a:defRPr/>
            </a:pPr>
            <a:endParaRPr lang="en-US" sz="751" dirty="0">
              <a:solidFill>
                <a:srgbClr val="000000"/>
              </a:solidFill>
              <a:latin typeface="Arial" charset="0"/>
              <a:cs typeface="Arial"/>
            </a:endParaRPr>
          </a:p>
          <a:p>
            <a:pPr marL="476695" lvl="1" indent="-133474">
              <a:spcBef>
                <a:spcPct val="30000"/>
              </a:spcBef>
              <a:buClr>
                <a:srgbClr val="0084C2"/>
              </a:buClr>
              <a:buSzPct val="130000"/>
              <a:buFont typeface="Arial" pitchFamily="34" charset="0"/>
              <a:buChar char=":"/>
              <a:defRPr/>
            </a:pPr>
            <a:endParaRPr lang="en-US" sz="1276" dirty="0">
              <a:solidFill>
                <a:srgbClr val="000000"/>
              </a:solidFill>
              <a:latin typeface="Arial" charset="0"/>
              <a:cs typeface="Arial"/>
            </a:endParaRPr>
          </a:p>
          <a:p>
            <a:pPr marL="476695" lvl="1" indent="-133474">
              <a:spcBef>
                <a:spcPct val="30000"/>
              </a:spcBef>
              <a:buClr>
                <a:srgbClr val="0084C2"/>
              </a:buClr>
              <a:buSzPct val="130000"/>
              <a:buFont typeface="Arial" pitchFamily="34" charset="0"/>
              <a:buChar char=":"/>
              <a:defRPr/>
            </a:pPr>
            <a:endParaRPr lang="en-US" sz="751" dirty="0">
              <a:solidFill>
                <a:srgbClr val="000000"/>
              </a:solidFill>
              <a:latin typeface="Arial" charset="0"/>
              <a:cs typeface="Arial"/>
            </a:endParaRPr>
          </a:p>
          <a:p>
            <a:pPr marL="476695" lvl="1" indent="-133474">
              <a:spcBef>
                <a:spcPct val="30000"/>
              </a:spcBef>
              <a:buClr>
                <a:srgbClr val="0084C2"/>
              </a:buClr>
              <a:buSzPct val="130000"/>
              <a:buFont typeface="Arial" pitchFamily="34" charset="0"/>
              <a:buChar char=":"/>
              <a:defRPr/>
            </a:pPr>
            <a:endParaRPr lang="en-US" sz="751" u="sng" dirty="0">
              <a:solidFill>
                <a:srgbClr val="000000"/>
              </a:solidFill>
              <a:latin typeface="Arial" charset="0"/>
              <a:cs typeface="Arial"/>
            </a:endParaRPr>
          </a:p>
          <a:p>
            <a:pPr marL="202595" lvl="1">
              <a:spcBef>
                <a:spcPct val="20000"/>
              </a:spcBef>
              <a:buClr>
                <a:srgbClr val="0084C2"/>
              </a:buClr>
              <a:defRPr/>
            </a:pPr>
            <a:br>
              <a:rPr lang="en-US" sz="1276" u="sng" dirty="0">
                <a:solidFill>
                  <a:srgbClr val="000000"/>
                </a:solidFill>
                <a:latin typeface="Arial" charset="0"/>
                <a:cs typeface="Arial"/>
              </a:rPr>
            </a:br>
            <a:endParaRPr lang="en-US" sz="1276" u="sng" dirty="0">
              <a:solidFill>
                <a:srgbClr val="000000"/>
              </a:solidFill>
              <a:latin typeface="Arial" charset="0"/>
              <a:cs typeface="Arial"/>
            </a:endParaRPr>
          </a:p>
        </p:txBody>
      </p:sp>
      <p:pic>
        <p:nvPicPr>
          <p:cNvPr id="1331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66978" y="997479"/>
            <a:ext cx="1815093" cy="23238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320"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17208" y="1021313"/>
            <a:ext cx="1300267" cy="21379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321"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72729" y="1139291"/>
            <a:ext cx="976850" cy="1901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322" name="Picture 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76442" y="1314478"/>
            <a:ext cx="1036253" cy="15516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323" name="Rechteck 1"/>
          <p:cNvSpPr>
            <a:spLocks noChangeArrowheads="1"/>
          </p:cNvSpPr>
          <p:nvPr/>
        </p:nvSpPr>
        <p:spPr bwMode="auto">
          <a:xfrm>
            <a:off x="6674358" y="3492955"/>
            <a:ext cx="1031052" cy="2886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lr>
                <a:srgbClr val="0084C2"/>
              </a:buClr>
              <a:buSzPct val="130000"/>
              <a:buFont typeface="Arial" charset="0"/>
              <a:buChar char=":"/>
              <a:defRPr sz="1700">
                <a:solidFill>
                  <a:schemeClr val="tx1"/>
                </a:solidFill>
                <a:latin typeface="Arial" charset="0"/>
                <a:cs typeface="Arial" charset="0"/>
              </a:defRPr>
            </a:lvl1pPr>
            <a:lvl2pPr marL="742950" indent="-285750" eaLnBrk="0" hangingPunct="0">
              <a:spcBef>
                <a:spcPct val="20000"/>
              </a:spcBef>
              <a:buClr>
                <a:srgbClr val="0084C2"/>
              </a:buClr>
              <a:buFont typeface="Arial" charset="0"/>
              <a:buChar char="-"/>
              <a:defRPr sz="1600">
                <a:solidFill>
                  <a:schemeClr val="tx1"/>
                </a:solidFill>
                <a:latin typeface="Arial" charset="0"/>
                <a:cs typeface="Arial" charset="0"/>
              </a:defRPr>
            </a:lvl2pPr>
            <a:lvl3pPr marL="1143000" indent="-228600" eaLnBrk="0" hangingPunct="0">
              <a:spcBef>
                <a:spcPct val="20000"/>
              </a:spcBef>
              <a:buClr>
                <a:srgbClr val="0084C2"/>
              </a:buClr>
              <a:buSzPct val="50000"/>
              <a:buFont typeface="Arial" charset="0"/>
              <a:buChar char="▪"/>
              <a:defRPr sz="1600">
                <a:solidFill>
                  <a:schemeClr val="tx1"/>
                </a:solidFill>
                <a:latin typeface="Arial" charset="0"/>
                <a:cs typeface="Arial" charset="0"/>
              </a:defRPr>
            </a:lvl3pPr>
            <a:lvl4pPr marL="1600200" indent="-228600" eaLnBrk="0" hangingPunct="0">
              <a:spcBef>
                <a:spcPct val="20000"/>
              </a:spcBef>
              <a:buClr>
                <a:srgbClr val="0084C2"/>
              </a:buClr>
              <a:buSzPct val="50000"/>
              <a:buFont typeface="Arial" charset="0"/>
              <a:buChar char="▪"/>
              <a:defRPr sz="1600">
                <a:solidFill>
                  <a:schemeClr val="tx1"/>
                </a:solidFill>
                <a:latin typeface="Arial" charset="0"/>
                <a:cs typeface="Arial" charset="0"/>
              </a:defRPr>
            </a:lvl4pPr>
            <a:lvl5pPr marL="2057400" indent="-228600" eaLnBrk="0" hangingPunct="0">
              <a:spcBef>
                <a:spcPct val="20000"/>
              </a:spcBef>
              <a:buChar char="»"/>
              <a:defRPr sz="1600">
                <a:solidFill>
                  <a:schemeClr val="tx1"/>
                </a:solidFill>
                <a:latin typeface="Arial" charset="0"/>
                <a:cs typeface="Arial" charset="0"/>
              </a:defRPr>
            </a:lvl5pPr>
            <a:lvl6pPr marL="2514600" indent="-228600" eaLnBrk="0" fontAlgn="base" hangingPunct="0">
              <a:spcBef>
                <a:spcPct val="20000"/>
              </a:spcBef>
              <a:spcAft>
                <a:spcPct val="0"/>
              </a:spcAft>
              <a:buChar char="»"/>
              <a:defRPr sz="1600">
                <a:solidFill>
                  <a:schemeClr val="tx1"/>
                </a:solidFill>
                <a:latin typeface="Arial" charset="0"/>
                <a:cs typeface="Arial" charset="0"/>
              </a:defRPr>
            </a:lvl6pPr>
            <a:lvl7pPr marL="2971800" indent="-228600" eaLnBrk="0" fontAlgn="base" hangingPunct="0">
              <a:spcBef>
                <a:spcPct val="20000"/>
              </a:spcBef>
              <a:spcAft>
                <a:spcPct val="0"/>
              </a:spcAft>
              <a:buChar char="»"/>
              <a:defRPr sz="1600">
                <a:solidFill>
                  <a:schemeClr val="tx1"/>
                </a:solidFill>
                <a:latin typeface="Arial" charset="0"/>
                <a:cs typeface="Arial" charset="0"/>
              </a:defRPr>
            </a:lvl7pPr>
            <a:lvl8pPr marL="3429000" indent="-228600" eaLnBrk="0" fontAlgn="base" hangingPunct="0">
              <a:spcBef>
                <a:spcPct val="20000"/>
              </a:spcBef>
              <a:spcAft>
                <a:spcPct val="0"/>
              </a:spcAft>
              <a:buChar char="»"/>
              <a:defRPr sz="1600">
                <a:solidFill>
                  <a:schemeClr val="tx1"/>
                </a:solidFill>
                <a:latin typeface="Arial" charset="0"/>
                <a:cs typeface="Arial" charset="0"/>
              </a:defRPr>
            </a:lvl8pPr>
            <a:lvl9pPr marL="3886200" indent="-228600" eaLnBrk="0" fontAlgn="base" hangingPunct="0">
              <a:spcBef>
                <a:spcPct val="20000"/>
              </a:spcBef>
              <a:spcAft>
                <a:spcPct val="0"/>
              </a:spcAft>
              <a:buChar char="»"/>
              <a:defRPr sz="1600">
                <a:solidFill>
                  <a:schemeClr val="tx1"/>
                </a:solidFill>
                <a:latin typeface="Arial" charset="0"/>
                <a:cs typeface="Arial" charset="0"/>
              </a:defRPr>
            </a:lvl9pPr>
          </a:lstStyle>
          <a:p>
            <a:pPr eaLnBrk="1" hangingPunct="1">
              <a:spcBef>
                <a:spcPct val="0"/>
              </a:spcBef>
              <a:buClrTx/>
              <a:buSzTx/>
              <a:buFontTx/>
              <a:buNone/>
            </a:pPr>
            <a:r>
              <a:rPr lang="en-US" altLang="en-US" sz="1276">
                <a:solidFill>
                  <a:srgbClr val="000000"/>
                </a:solidFill>
              </a:rPr>
              <a:t>6” 35M285</a:t>
            </a:r>
            <a:endParaRPr lang="de-DE" altLang="en-US" sz="1276" u="sng">
              <a:solidFill>
                <a:srgbClr val="000000"/>
              </a:solidFill>
            </a:endParaRPr>
          </a:p>
        </p:txBody>
      </p:sp>
      <p:sp>
        <p:nvSpPr>
          <p:cNvPr id="13324" name="Rechteck 15"/>
          <p:cNvSpPr>
            <a:spLocks noChangeArrowheads="1"/>
          </p:cNvSpPr>
          <p:nvPr/>
        </p:nvSpPr>
        <p:spPr bwMode="auto">
          <a:xfrm>
            <a:off x="4919844" y="3482172"/>
            <a:ext cx="1020269" cy="2886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lr>
                <a:srgbClr val="0084C2"/>
              </a:buClr>
              <a:buSzPct val="130000"/>
              <a:buFont typeface="Arial" charset="0"/>
              <a:buChar char=":"/>
              <a:defRPr sz="1700">
                <a:solidFill>
                  <a:schemeClr val="tx1"/>
                </a:solidFill>
                <a:latin typeface="Arial" charset="0"/>
                <a:cs typeface="Arial" charset="0"/>
              </a:defRPr>
            </a:lvl1pPr>
            <a:lvl2pPr marL="742950" indent="-285750" eaLnBrk="0" hangingPunct="0">
              <a:spcBef>
                <a:spcPct val="20000"/>
              </a:spcBef>
              <a:buClr>
                <a:srgbClr val="0084C2"/>
              </a:buClr>
              <a:buFont typeface="Arial" charset="0"/>
              <a:buChar char="-"/>
              <a:defRPr sz="1600">
                <a:solidFill>
                  <a:schemeClr val="tx1"/>
                </a:solidFill>
                <a:latin typeface="Arial" charset="0"/>
                <a:cs typeface="Arial" charset="0"/>
              </a:defRPr>
            </a:lvl2pPr>
            <a:lvl3pPr marL="1143000" indent="-228600" eaLnBrk="0" hangingPunct="0">
              <a:spcBef>
                <a:spcPct val="20000"/>
              </a:spcBef>
              <a:buClr>
                <a:srgbClr val="0084C2"/>
              </a:buClr>
              <a:buSzPct val="50000"/>
              <a:buFont typeface="Arial" charset="0"/>
              <a:buChar char="▪"/>
              <a:defRPr sz="1600">
                <a:solidFill>
                  <a:schemeClr val="tx1"/>
                </a:solidFill>
                <a:latin typeface="Arial" charset="0"/>
                <a:cs typeface="Arial" charset="0"/>
              </a:defRPr>
            </a:lvl3pPr>
            <a:lvl4pPr marL="1600200" indent="-228600" eaLnBrk="0" hangingPunct="0">
              <a:spcBef>
                <a:spcPct val="20000"/>
              </a:spcBef>
              <a:buClr>
                <a:srgbClr val="0084C2"/>
              </a:buClr>
              <a:buSzPct val="50000"/>
              <a:buFont typeface="Arial" charset="0"/>
              <a:buChar char="▪"/>
              <a:defRPr sz="1600">
                <a:solidFill>
                  <a:schemeClr val="tx1"/>
                </a:solidFill>
                <a:latin typeface="Arial" charset="0"/>
                <a:cs typeface="Arial" charset="0"/>
              </a:defRPr>
            </a:lvl4pPr>
            <a:lvl5pPr marL="2057400" indent="-228600" eaLnBrk="0" hangingPunct="0">
              <a:spcBef>
                <a:spcPct val="20000"/>
              </a:spcBef>
              <a:buChar char="»"/>
              <a:defRPr sz="1600">
                <a:solidFill>
                  <a:schemeClr val="tx1"/>
                </a:solidFill>
                <a:latin typeface="Arial" charset="0"/>
                <a:cs typeface="Arial" charset="0"/>
              </a:defRPr>
            </a:lvl5pPr>
            <a:lvl6pPr marL="2514600" indent="-228600" eaLnBrk="0" fontAlgn="base" hangingPunct="0">
              <a:spcBef>
                <a:spcPct val="20000"/>
              </a:spcBef>
              <a:spcAft>
                <a:spcPct val="0"/>
              </a:spcAft>
              <a:buChar char="»"/>
              <a:defRPr sz="1600">
                <a:solidFill>
                  <a:schemeClr val="tx1"/>
                </a:solidFill>
                <a:latin typeface="Arial" charset="0"/>
                <a:cs typeface="Arial" charset="0"/>
              </a:defRPr>
            </a:lvl6pPr>
            <a:lvl7pPr marL="2971800" indent="-228600" eaLnBrk="0" fontAlgn="base" hangingPunct="0">
              <a:spcBef>
                <a:spcPct val="20000"/>
              </a:spcBef>
              <a:spcAft>
                <a:spcPct val="0"/>
              </a:spcAft>
              <a:buChar char="»"/>
              <a:defRPr sz="1600">
                <a:solidFill>
                  <a:schemeClr val="tx1"/>
                </a:solidFill>
                <a:latin typeface="Arial" charset="0"/>
                <a:cs typeface="Arial" charset="0"/>
              </a:defRPr>
            </a:lvl7pPr>
            <a:lvl8pPr marL="3429000" indent="-228600" eaLnBrk="0" fontAlgn="base" hangingPunct="0">
              <a:spcBef>
                <a:spcPct val="20000"/>
              </a:spcBef>
              <a:spcAft>
                <a:spcPct val="0"/>
              </a:spcAft>
              <a:buChar char="»"/>
              <a:defRPr sz="1600">
                <a:solidFill>
                  <a:schemeClr val="tx1"/>
                </a:solidFill>
                <a:latin typeface="Arial" charset="0"/>
                <a:cs typeface="Arial" charset="0"/>
              </a:defRPr>
            </a:lvl8pPr>
            <a:lvl9pPr marL="3886200" indent="-228600" eaLnBrk="0" fontAlgn="base" hangingPunct="0">
              <a:spcBef>
                <a:spcPct val="20000"/>
              </a:spcBef>
              <a:spcAft>
                <a:spcPct val="0"/>
              </a:spcAft>
              <a:buChar char="»"/>
              <a:defRPr sz="1600">
                <a:solidFill>
                  <a:schemeClr val="tx1"/>
                </a:solidFill>
                <a:latin typeface="Arial" charset="0"/>
                <a:cs typeface="Arial" charset="0"/>
              </a:defRPr>
            </a:lvl9pPr>
          </a:lstStyle>
          <a:p>
            <a:pPr eaLnBrk="1" hangingPunct="1">
              <a:spcBef>
                <a:spcPct val="0"/>
              </a:spcBef>
              <a:buClrTx/>
              <a:buSzTx/>
              <a:buFontTx/>
              <a:buNone/>
            </a:pPr>
            <a:r>
              <a:rPr lang="en-US" altLang="en-US" sz="1276">
                <a:solidFill>
                  <a:srgbClr val="000000"/>
                </a:solidFill>
              </a:rPr>
              <a:t>4” 23M285</a:t>
            </a:r>
            <a:endParaRPr lang="de-DE" altLang="en-US" sz="1276" u="sng">
              <a:solidFill>
                <a:srgbClr val="000000"/>
              </a:solidFill>
            </a:endParaRPr>
          </a:p>
        </p:txBody>
      </p:sp>
      <p:sp>
        <p:nvSpPr>
          <p:cNvPr id="13325" name="Rechteck 16"/>
          <p:cNvSpPr>
            <a:spLocks noChangeArrowheads="1"/>
          </p:cNvSpPr>
          <p:nvPr/>
        </p:nvSpPr>
        <p:spPr bwMode="auto">
          <a:xfrm>
            <a:off x="3208156" y="3492955"/>
            <a:ext cx="1095750" cy="2886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lr>
                <a:srgbClr val="0084C2"/>
              </a:buClr>
              <a:buSzPct val="130000"/>
              <a:buFont typeface="Arial" charset="0"/>
              <a:buChar char=":"/>
              <a:defRPr sz="1700">
                <a:solidFill>
                  <a:schemeClr val="tx1"/>
                </a:solidFill>
                <a:latin typeface="Arial" charset="0"/>
                <a:cs typeface="Arial" charset="0"/>
              </a:defRPr>
            </a:lvl1pPr>
            <a:lvl2pPr marL="742950" indent="-285750" eaLnBrk="0" hangingPunct="0">
              <a:spcBef>
                <a:spcPct val="20000"/>
              </a:spcBef>
              <a:buClr>
                <a:srgbClr val="0084C2"/>
              </a:buClr>
              <a:buFont typeface="Arial" charset="0"/>
              <a:buChar char="-"/>
              <a:defRPr sz="1600">
                <a:solidFill>
                  <a:schemeClr val="tx1"/>
                </a:solidFill>
                <a:latin typeface="Arial" charset="0"/>
                <a:cs typeface="Arial" charset="0"/>
              </a:defRPr>
            </a:lvl2pPr>
            <a:lvl3pPr marL="1143000" indent="-228600" eaLnBrk="0" hangingPunct="0">
              <a:spcBef>
                <a:spcPct val="20000"/>
              </a:spcBef>
              <a:buClr>
                <a:srgbClr val="0084C2"/>
              </a:buClr>
              <a:buSzPct val="50000"/>
              <a:buFont typeface="Arial" charset="0"/>
              <a:buChar char="▪"/>
              <a:defRPr sz="1600">
                <a:solidFill>
                  <a:schemeClr val="tx1"/>
                </a:solidFill>
                <a:latin typeface="Arial" charset="0"/>
                <a:cs typeface="Arial" charset="0"/>
              </a:defRPr>
            </a:lvl3pPr>
            <a:lvl4pPr marL="1600200" indent="-228600" eaLnBrk="0" hangingPunct="0">
              <a:spcBef>
                <a:spcPct val="20000"/>
              </a:spcBef>
              <a:buClr>
                <a:srgbClr val="0084C2"/>
              </a:buClr>
              <a:buSzPct val="50000"/>
              <a:buFont typeface="Arial" charset="0"/>
              <a:buChar char="▪"/>
              <a:defRPr sz="1600">
                <a:solidFill>
                  <a:schemeClr val="tx1"/>
                </a:solidFill>
                <a:latin typeface="Arial" charset="0"/>
                <a:cs typeface="Arial" charset="0"/>
              </a:defRPr>
            </a:lvl4pPr>
            <a:lvl5pPr marL="2057400" indent="-228600" eaLnBrk="0" hangingPunct="0">
              <a:spcBef>
                <a:spcPct val="20000"/>
              </a:spcBef>
              <a:buChar char="»"/>
              <a:defRPr sz="1600">
                <a:solidFill>
                  <a:schemeClr val="tx1"/>
                </a:solidFill>
                <a:latin typeface="Arial" charset="0"/>
                <a:cs typeface="Arial" charset="0"/>
              </a:defRPr>
            </a:lvl5pPr>
            <a:lvl6pPr marL="2514600" indent="-228600" eaLnBrk="0" fontAlgn="base" hangingPunct="0">
              <a:spcBef>
                <a:spcPct val="20000"/>
              </a:spcBef>
              <a:spcAft>
                <a:spcPct val="0"/>
              </a:spcAft>
              <a:buChar char="»"/>
              <a:defRPr sz="1600">
                <a:solidFill>
                  <a:schemeClr val="tx1"/>
                </a:solidFill>
                <a:latin typeface="Arial" charset="0"/>
                <a:cs typeface="Arial" charset="0"/>
              </a:defRPr>
            </a:lvl6pPr>
            <a:lvl7pPr marL="2971800" indent="-228600" eaLnBrk="0" fontAlgn="base" hangingPunct="0">
              <a:spcBef>
                <a:spcPct val="20000"/>
              </a:spcBef>
              <a:spcAft>
                <a:spcPct val="0"/>
              </a:spcAft>
              <a:buChar char="»"/>
              <a:defRPr sz="1600">
                <a:solidFill>
                  <a:schemeClr val="tx1"/>
                </a:solidFill>
                <a:latin typeface="Arial" charset="0"/>
                <a:cs typeface="Arial" charset="0"/>
              </a:defRPr>
            </a:lvl7pPr>
            <a:lvl8pPr marL="3429000" indent="-228600" eaLnBrk="0" fontAlgn="base" hangingPunct="0">
              <a:spcBef>
                <a:spcPct val="20000"/>
              </a:spcBef>
              <a:spcAft>
                <a:spcPct val="0"/>
              </a:spcAft>
              <a:buChar char="»"/>
              <a:defRPr sz="1600">
                <a:solidFill>
                  <a:schemeClr val="tx1"/>
                </a:solidFill>
                <a:latin typeface="Arial" charset="0"/>
                <a:cs typeface="Arial" charset="0"/>
              </a:defRPr>
            </a:lvl8pPr>
            <a:lvl9pPr marL="3886200" indent="-228600" eaLnBrk="0" fontAlgn="base" hangingPunct="0">
              <a:spcBef>
                <a:spcPct val="20000"/>
              </a:spcBef>
              <a:spcAft>
                <a:spcPct val="0"/>
              </a:spcAft>
              <a:buChar char="»"/>
              <a:defRPr sz="1600">
                <a:solidFill>
                  <a:schemeClr val="tx1"/>
                </a:solidFill>
                <a:latin typeface="Arial" charset="0"/>
                <a:cs typeface="Arial" charset="0"/>
              </a:defRPr>
            </a:lvl9pPr>
          </a:lstStyle>
          <a:p>
            <a:pPr eaLnBrk="1" hangingPunct="1">
              <a:spcBef>
                <a:spcPct val="0"/>
              </a:spcBef>
              <a:buClrTx/>
              <a:buSzTx/>
              <a:buFontTx/>
              <a:buNone/>
            </a:pPr>
            <a:r>
              <a:rPr lang="en-US" altLang="en-US" sz="1276">
                <a:solidFill>
                  <a:srgbClr val="000000"/>
                </a:solidFill>
              </a:rPr>
              <a:t>3” 14M285</a:t>
            </a:r>
            <a:endParaRPr lang="de-DE" altLang="en-US" sz="1276" u="sng">
              <a:solidFill>
                <a:srgbClr val="000000"/>
              </a:solidFill>
            </a:endParaRPr>
          </a:p>
        </p:txBody>
      </p:sp>
      <p:sp>
        <p:nvSpPr>
          <p:cNvPr id="13326" name="Rechteck 17"/>
          <p:cNvSpPr>
            <a:spLocks noChangeArrowheads="1"/>
          </p:cNvSpPr>
          <p:nvPr/>
        </p:nvSpPr>
        <p:spPr bwMode="auto">
          <a:xfrm>
            <a:off x="1473616" y="3482172"/>
            <a:ext cx="1055214" cy="2886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lr>
                <a:srgbClr val="0084C2"/>
              </a:buClr>
              <a:buSzPct val="130000"/>
              <a:buFont typeface="Arial" charset="0"/>
              <a:buChar char=":"/>
              <a:defRPr sz="1700">
                <a:solidFill>
                  <a:schemeClr val="tx1"/>
                </a:solidFill>
                <a:latin typeface="Arial" charset="0"/>
                <a:cs typeface="Arial" charset="0"/>
              </a:defRPr>
            </a:lvl1pPr>
            <a:lvl2pPr marL="742950" indent="-285750" eaLnBrk="0" hangingPunct="0">
              <a:spcBef>
                <a:spcPct val="20000"/>
              </a:spcBef>
              <a:buClr>
                <a:srgbClr val="0084C2"/>
              </a:buClr>
              <a:buFont typeface="Arial" charset="0"/>
              <a:buChar char="-"/>
              <a:defRPr sz="1600">
                <a:solidFill>
                  <a:schemeClr val="tx1"/>
                </a:solidFill>
                <a:latin typeface="Arial" charset="0"/>
                <a:cs typeface="Arial" charset="0"/>
              </a:defRPr>
            </a:lvl2pPr>
            <a:lvl3pPr marL="1143000" indent="-228600" eaLnBrk="0" hangingPunct="0">
              <a:spcBef>
                <a:spcPct val="20000"/>
              </a:spcBef>
              <a:buClr>
                <a:srgbClr val="0084C2"/>
              </a:buClr>
              <a:buSzPct val="50000"/>
              <a:buFont typeface="Arial" charset="0"/>
              <a:buChar char="▪"/>
              <a:defRPr sz="1600">
                <a:solidFill>
                  <a:schemeClr val="tx1"/>
                </a:solidFill>
                <a:latin typeface="Arial" charset="0"/>
                <a:cs typeface="Arial" charset="0"/>
              </a:defRPr>
            </a:lvl3pPr>
            <a:lvl4pPr marL="1600200" indent="-228600" eaLnBrk="0" hangingPunct="0">
              <a:spcBef>
                <a:spcPct val="20000"/>
              </a:spcBef>
              <a:buClr>
                <a:srgbClr val="0084C2"/>
              </a:buClr>
              <a:buSzPct val="50000"/>
              <a:buFont typeface="Arial" charset="0"/>
              <a:buChar char="▪"/>
              <a:defRPr sz="1600">
                <a:solidFill>
                  <a:schemeClr val="tx1"/>
                </a:solidFill>
                <a:latin typeface="Arial" charset="0"/>
                <a:cs typeface="Arial" charset="0"/>
              </a:defRPr>
            </a:lvl4pPr>
            <a:lvl5pPr marL="2057400" indent="-228600" eaLnBrk="0" hangingPunct="0">
              <a:spcBef>
                <a:spcPct val="20000"/>
              </a:spcBef>
              <a:buChar char="»"/>
              <a:defRPr sz="1600">
                <a:solidFill>
                  <a:schemeClr val="tx1"/>
                </a:solidFill>
                <a:latin typeface="Arial" charset="0"/>
                <a:cs typeface="Arial" charset="0"/>
              </a:defRPr>
            </a:lvl5pPr>
            <a:lvl6pPr marL="2514600" indent="-228600" eaLnBrk="0" fontAlgn="base" hangingPunct="0">
              <a:spcBef>
                <a:spcPct val="20000"/>
              </a:spcBef>
              <a:spcAft>
                <a:spcPct val="0"/>
              </a:spcAft>
              <a:buChar char="»"/>
              <a:defRPr sz="1600">
                <a:solidFill>
                  <a:schemeClr val="tx1"/>
                </a:solidFill>
                <a:latin typeface="Arial" charset="0"/>
                <a:cs typeface="Arial" charset="0"/>
              </a:defRPr>
            </a:lvl6pPr>
            <a:lvl7pPr marL="2971800" indent="-228600" eaLnBrk="0" fontAlgn="base" hangingPunct="0">
              <a:spcBef>
                <a:spcPct val="20000"/>
              </a:spcBef>
              <a:spcAft>
                <a:spcPct val="0"/>
              </a:spcAft>
              <a:buChar char="»"/>
              <a:defRPr sz="1600">
                <a:solidFill>
                  <a:schemeClr val="tx1"/>
                </a:solidFill>
                <a:latin typeface="Arial" charset="0"/>
                <a:cs typeface="Arial" charset="0"/>
              </a:defRPr>
            </a:lvl7pPr>
            <a:lvl8pPr marL="3429000" indent="-228600" eaLnBrk="0" fontAlgn="base" hangingPunct="0">
              <a:spcBef>
                <a:spcPct val="20000"/>
              </a:spcBef>
              <a:spcAft>
                <a:spcPct val="0"/>
              </a:spcAft>
              <a:buChar char="»"/>
              <a:defRPr sz="1600">
                <a:solidFill>
                  <a:schemeClr val="tx1"/>
                </a:solidFill>
                <a:latin typeface="Arial" charset="0"/>
                <a:cs typeface="Arial" charset="0"/>
              </a:defRPr>
            </a:lvl8pPr>
            <a:lvl9pPr marL="3886200" indent="-228600" eaLnBrk="0" fontAlgn="base" hangingPunct="0">
              <a:spcBef>
                <a:spcPct val="20000"/>
              </a:spcBef>
              <a:spcAft>
                <a:spcPct val="0"/>
              </a:spcAft>
              <a:buChar char="»"/>
              <a:defRPr sz="1600">
                <a:solidFill>
                  <a:schemeClr val="tx1"/>
                </a:solidFill>
                <a:latin typeface="Arial" charset="0"/>
                <a:cs typeface="Arial" charset="0"/>
              </a:defRPr>
            </a:lvl9pPr>
          </a:lstStyle>
          <a:p>
            <a:pPr eaLnBrk="1" hangingPunct="1">
              <a:spcBef>
                <a:spcPct val="0"/>
              </a:spcBef>
              <a:buClrTx/>
              <a:buSzTx/>
              <a:buFontTx/>
              <a:buNone/>
            </a:pPr>
            <a:r>
              <a:rPr lang="en-US" altLang="en-US" sz="1276">
                <a:solidFill>
                  <a:srgbClr val="000000"/>
                </a:solidFill>
              </a:rPr>
              <a:t>2” 5.5M285</a:t>
            </a:r>
            <a:endParaRPr lang="de-DE" altLang="en-US" sz="1276" u="sng">
              <a:solidFill>
                <a:srgbClr val="000000"/>
              </a:solidFill>
            </a:endParaRPr>
          </a:p>
        </p:txBody>
      </p:sp>
      <p:sp>
        <p:nvSpPr>
          <p:cNvPr id="13327" name="Rechteck 18"/>
          <p:cNvSpPr>
            <a:spLocks noChangeArrowheads="1"/>
          </p:cNvSpPr>
          <p:nvPr/>
        </p:nvSpPr>
        <p:spPr bwMode="auto">
          <a:xfrm>
            <a:off x="1540246" y="3854049"/>
            <a:ext cx="573679" cy="2540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lr>
                <a:srgbClr val="0084C2"/>
              </a:buClr>
              <a:buSzPct val="130000"/>
              <a:buFont typeface="Arial" charset="0"/>
              <a:buChar char=":"/>
              <a:defRPr sz="1700">
                <a:solidFill>
                  <a:schemeClr val="tx1"/>
                </a:solidFill>
                <a:latin typeface="Arial" charset="0"/>
                <a:cs typeface="Arial" charset="0"/>
              </a:defRPr>
            </a:lvl1pPr>
            <a:lvl2pPr marL="742950" indent="-285750" eaLnBrk="0" hangingPunct="0">
              <a:spcBef>
                <a:spcPct val="20000"/>
              </a:spcBef>
              <a:buClr>
                <a:srgbClr val="0084C2"/>
              </a:buClr>
              <a:buFont typeface="Arial" charset="0"/>
              <a:buChar char="-"/>
              <a:defRPr sz="1600">
                <a:solidFill>
                  <a:schemeClr val="tx1"/>
                </a:solidFill>
                <a:latin typeface="Arial" charset="0"/>
                <a:cs typeface="Arial" charset="0"/>
              </a:defRPr>
            </a:lvl2pPr>
            <a:lvl3pPr marL="1143000" indent="-228600" eaLnBrk="0" hangingPunct="0">
              <a:spcBef>
                <a:spcPct val="20000"/>
              </a:spcBef>
              <a:buClr>
                <a:srgbClr val="0084C2"/>
              </a:buClr>
              <a:buSzPct val="50000"/>
              <a:buFont typeface="Arial" charset="0"/>
              <a:buChar char="▪"/>
              <a:defRPr sz="1600">
                <a:solidFill>
                  <a:schemeClr val="tx1"/>
                </a:solidFill>
                <a:latin typeface="Arial" charset="0"/>
                <a:cs typeface="Arial" charset="0"/>
              </a:defRPr>
            </a:lvl3pPr>
            <a:lvl4pPr marL="1600200" indent="-228600" eaLnBrk="0" hangingPunct="0">
              <a:spcBef>
                <a:spcPct val="20000"/>
              </a:spcBef>
              <a:buClr>
                <a:srgbClr val="0084C2"/>
              </a:buClr>
              <a:buSzPct val="50000"/>
              <a:buFont typeface="Arial" charset="0"/>
              <a:buChar char="▪"/>
              <a:defRPr sz="1600">
                <a:solidFill>
                  <a:schemeClr val="tx1"/>
                </a:solidFill>
                <a:latin typeface="Arial" charset="0"/>
                <a:cs typeface="Arial" charset="0"/>
              </a:defRPr>
            </a:lvl4pPr>
            <a:lvl5pPr marL="2057400" indent="-228600" eaLnBrk="0" hangingPunct="0">
              <a:spcBef>
                <a:spcPct val="20000"/>
              </a:spcBef>
              <a:buChar char="»"/>
              <a:defRPr sz="1600">
                <a:solidFill>
                  <a:schemeClr val="tx1"/>
                </a:solidFill>
                <a:latin typeface="Arial" charset="0"/>
                <a:cs typeface="Arial" charset="0"/>
              </a:defRPr>
            </a:lvl5pPr>
            <a:lvl6pPr marL="2514600" indent="-228600" eaLnBrk="0" fontAlgn="base" hangingPunct="0">
              <a:spcBef>
                <a:spcPct val="20000"/>
              </a:spcBef>
              <a:spcAft>
                <a:spcPct val="0"/>
              </a:spcAft>
              <a:buChar char="»"/>
              <a:defRPr sz="1600">
                <a:solidFill>
                  <a:schemeClr val="tx1"/>
                </a:solidFill>
                <a:latin typeface="Arial" charset="0"/>
                <a:cs typeface="Arial" charset="0"/>
              </a:defRPr>
            </a:lvl6pPr>
            <a:lvl7pPr marL="2971800" indent="-228600" eaLnBrk="0" fontAlgn="base" hangingPunct="0">
              <a:spcBef>
                <a:spcPct val="20000"/>
              </a:spcBef>
              <a:spcAft>
                <a:spcPct val="0"/>
              </a:spcAft>
              <a:buChar char="»"/>
              <a:defRPr sz="1600">
                <a:solidFill>
                  <a:schemeClr val="tx1"/>
                </a:solidFill>
                <a:latin typeface="Arial" charset="0"/>
                <a:cs typeface="Arial" charset="0"/>
              </a:defRPr>
            </a:lvl7pPr>
            <a:lvl8pPr marL="3429000" indent="-228600" eaLnBrk="0" fontAlgn="base" hangingPunct="0">
              <a:spcBef>
                <a:spcPct val="20000"/>
              </a:spcBef>
              <a:spcAft>
                <a:spcPct val="0"/>
              </a:spcAft>
              <a:buChar char="»"/>
              <a:defRPr sz="1600">
                <a:solidFill>
                  <a:schemeClr val="tx1"/>
                </a:solidFill>
                <a:latin typeface="Arial" charset="0"/>
                <a:cs typeface="Arial" charset="0"/>
              </a:defRPr>
            </a:lvl8pPr>
            <a:lvl9pPr marL="3886200" indent="-228600" eaLnBrk="0" fontAlgn="base" hangingPunct="0">
              <a:spcBef>
                <a:spcPct val="20000"/>
              </a:spcBef>
              <a:spcAft>
                <a:spcPct val="0"/>
              </a:spcAft>
              <a:buChar char="»"/>
              <a:defRPr sz="1600">
                <a:solidFill>
                  <a:schemeClr val="tx1"/>
                </a:solidFill>
                <a:latin typeface="Arial" charset="0"/>
                <a:cs typeface="Arial" charset="0"/>
              </a:defRPr>
            </a:lvl9pPr>
          </a:lstStyle>
          <a:p>
            <a:pPr eaLnBrk="1" hangingPunct="1">
              <a:spcBef>
                <a:spcPct val="0"/>
              </a:spcBef>
              <a:buClrTx/>
              <a:buSzTx/>
              <a:buFontTx/>
              <a:buNone/>
            </a:pPr>
            <a:r>
              <a:rPr lang="en-US" altLang="en-US" sz="1051">
                <a:solidFill>
                  <a:srgbClr val="000000"/>
                </a:solidFill>
              </a:rPr>
              <a:t>6.75”</a:t>
            </a:r>
            <a:endParaRPr lang="de-DE" altLang="en-US" sz="1051" u="sng">
              <a:solidFill>
                <a:srgbClr val="000000"/>
              </a:solidFill>
            </a:endParaRPr>
          </a:p>
        </p:txBody>
      </p:sp>
      <p:sp>
        <p:nvSpPr>
          <p:cNvPr id="13328" name="Rechteck 20"/>
          <p:cNvSpPr>
            <a:spLocks noChangeArrowheads="1"/>
          </p:cNvSpPr>
          <p:nvPr/>
        </p:nvSpPr>
        <p:spPr bwMode="auto">
          <a:xfrm>
            <a:off x="3264035" y="3857625"/>
            <a:ext cx="1054410" cy="2540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lr>
                <a:srgbClr val="0084C2"/>
              </a:buClr>
              <a:buSzPct val="130000"/>
              <a:buFont typeface="Arial" charset="0"/>
              <a:buChar char=":"/>
              <a:defRPr sz="1700">
                <a:solidFill>
                  <a:schemeClr val="tx1"/>
                </a:solidFill>
                <a:latin typeface="Arial" charset="0"/>
                <a:cs typeface="Arial" charset="0"/>
              </a:defRPr>
            </a:lvl1pPr>
            <a:lvl2pPr marL="742950" indent="-285750" eaLnBrk="0" hangingPunct="0">
              <a:spcBef>
                <a:spcPct val="20000"/>
              </a:spcBef>
              <a:buClr>
                <a:srgbClr val="0084C2"/>
              </a:buClr>
              <a:buFont typeface="Arial" charset="0"/>
              <a:buChar char="-"/>
              <a:defRPr sz="1600">
                <a:solidFill>
                  <a:schemeClr val="tx1"/>
                </a:solidFill>
                <a:latin typeface="Arial" charset="0"/>
                <a:cs typeface="Arial" charset="0"/>
              </a:defRPr>
            </a:lvl2pPr>
            <a:lvl3pPr marL="1143000" indent="-228600" eaLnBrk="0" hangingPunct="0">
              <a:spcBef>
                <a:spcPct val="20000"/>
              </a:spcBef>
              <a:buClr>
                <a:srgbClr val="0084C2"/>
              </a:buClr>
              <a:buSzPct val="50000"/>
              <a:buFont typeface="Arial" charset="0"/>
              <a:buChar char="▪"/>
              <a:defRPr sz="1600">
                <a:solidFill>
                  <a:schemeClr val="tx1"/>
                </a:solidFill>
                <a:latin typeface="Arial" charset="0"/>
                <a:cs typeface="Arial" charset="0"/>
              </a:defRPr>
            </a:lvl3pPr>
            <a:lvl4pPr marL="1600200" indent="-228600" eaLnBrk="0" hangingPunct="0">
              <a:spcBef>
                <a:spcPct val="20000"/>
              </a:spcBef>
              <a:buClr>
                <a:srgbClr val="0084C2"/>
              </a:buClr>
              <a:buSzPct val="50000"/>
              <a:buFont typeface="Arial" charset="0"/>
              <a:buChar char="▪"/>
              <a:defRPr sz="1600">
                <a:solidFill>
                  <a:schemeClr val="tx1"/>
                </a:solidFill>
                <a:latin typeface="Arial" charset="0"/>
                <a:cs typeface="Arial" charset="0"/>
              </a:defRPr>
            </a:lvl4pPr>
            <a:lvl5pPr marL="2057400" indent="-228600" eaLnBrk="0" hangingPunct="0">
              <a:spcBef>
                <a:spcPct val="20000"/>
              </a:spcBef>
              <a:buChar char="»"/>
              <a:defRPr sz="1600">
                <a:solidFill>
                  <a:schemeClr val="tx1"/>
                </a:solidFill>
                <a:latin typeface="Arial" charset="0"/>
                <a:cs typeface="Arial" charset="0"/>
              </a:defRPr>
            </a:lvl5pPr>
            <a:lvl6pPr marL="2514600" indent="-228600" eaLnBrk="0" fontAlgn="base" hangingPunct="0">
              <a:spcBef>
                <a:spcPct val="20000"/>
              </a:spcBef>
              <a:spcAft>
                <a:spcPct val="0"/>
              </a:spcAft>
              <a:buChar char="»"/>
              <a:defRPr sz="1600">
                <a:solidFill>
                  <a:schemeClr val="tx1"/>
                </a:solidFill>
                <a:latin typeface="Arial" charset="0"/>
                <a:cs typeface="Arial" charset="0"/>
              </a:defRPr>
            </a:lvl6pPr>
            <a:lvl7pPr marL="2971800" indent="-228600" eaLnBrk="0" fontAlgn="base" hangingPunct="0">
              <a:spcBef>
                <a:spcPct val="20000"/>
              </a:spcBef>
              <a:spcAft>
                <a:spcPct val="0"/>
              </a:spcAft>
              <a:buChar char="»"/>
              <a:defRPr sz="1600">
                <a:solidFill>
                  <a:schemeClr val="tx1"/>
                </a:solidFill>
                <a:latin typeface="Arial" charset="0"/>
                <a:cs typeface="Arial" charset="0"/>
              </a:defRPr>
            </a:lvl7pPr>
            <a:lvl8pPr marL="3429000" indent="-228600" eaLnBrk="0" fontAlgn="base" hangingPunct="0">
              <a:spcBef>
                <a:spcPct val="20000"/>
              </a:spcBef>
              <a:spcAft>
                <a:spcPct val="0"/>
              </a:spcAft>
              <a:buChar char="»"/>
              <a:defRPr sz="1600">
                <a:solidFill>
                  <a:schemeClr val="tx1"/>
                </a:solidFill>
                <a:latin typeface="Arial" charset="0"/>
                <a:cs typeface="Arial" charset="0"/>
              </a:defRPr>
            </a:lvl8pPr>
            <a:lvl9pPr marL="3886200" indent="-228600" eaLnBrk="0" fontAlgn="base" hangingPunct="0">
              <a:spcBef>
                <a:spcPct val="20000"/>
              </a:spcBef>
              <a:spcAft>
                <a:spcPct val="0"/>
              </a:spcAft>
              <a:buChar char="»"/>
              <a:defRPr sz="1600">
                <a:solidFill>
                  <a:schemeClr val="tx1"/>
                </a:solidFill>
                <a:latin typeface="Arial" charset="0"/>
                <a:cs typeface="Arial" charset="0"/>
              </a:defRPr>
            </a:lvl9pPr>
          </a:lstStyle>
          <a:p>
            <a:pPr eaLnBrk="1" hangingPunct="1">
              <a:spcBef>
                <a:spcPct val="0"/>
              </a:spcBef>
              <a:buClrTx/>
              <a:buSzTx/>
              <a:buFontTx/>
              <a:buNone/>
            </a:pPr>
            <a:r>
              <a:rPr lang="en-US" altLang="en-US" sz="1051">
                <a:solidFill>
                  <a:srgbClr val="000000"/>
                </a:solidFill>
              </a:rPr>
              <a:t>6.75” | 9.5”</a:t>
            </a:r>
            <a:endParaRPr lang="de-DE" altLang="en-US" sz="1051" u="sng">
              <a:solidFill>
                <a:srgbClr val="000000"/>
              </a:solidFill>
            </a:endParaRPr>
          </a:p>
        </p:txBody>
      </p:sp>
      <p:sp>
        <p:nvSpPr>
          <p:cNvPr id="13329" name="Rechteck 22"/>
          <p:cNvSpPr>
            <a:spLocks noChangeArrowheads="1"/>
          </p:cNvSpPr>
          <p:nvPr/>
        </p:nvSpPr>
        <p:spPr bwMode="auto">
          <a:xfrm>
            <a:off x="4947120" y="3860008"/>
            <a:ext cx="1075875" cy="2540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lr>
                <a:srgbClr val="0084C2"/>
              </a:buClr>
              <a:buSzPct val="130000"/>
              <a:buFont typeface="Arial" charset="0"/>
              <a:buChar char=":"/>
              <a:defRPr sz="1700">
                <a:solidFill>
                  <a:schemeClr val="tx1"/>
                </a:solidFill>
                <a:latin typeface="Arial" charset="0"/>
                <a:cs typeface="Arial" charset="0"/>
              </a:defRPr>
            </a:lvl1pPr>
            <a:lvl2pPr marL="742950" indent="-285750" eaLnBrk="0" hangingPunct="0">
              <a:spcBef>
                <a:spcPct val="20000"/>
              </a:spcBef>
              <a:buClr>
                <a:srgbClr val="0084C2"/>
              </a:buClr>
              <a:buFont typeface="Arial" charset="0"/>
              <a:buChar char="-"/>
              <a:defRPr sz="1600">
                <a:solidFill>
                  <a:schemeClr val="tx1"/>
                </a:solidFill>
                <a:latin typeface="Arial" charset="0"/>
                <a:cs typeface="Arial" charset="0"/>
              </a:defRPr>
            </a:lvl2pPr>
            <a:lvl3pPr marL="1143000" indent="-228600" eaLnBrk="0" hangingPunct="0">
              <a:spcBef>
                <a:spcPct val="20000"/>
              </a:spcBef>
              <a:buClr>
                <a:srgbClr val="0084C2"/>
              </a:buClr>
              <a:buSzPct val="50000"/>
              <a:buFont typeface="Arial" charset="0"/>
              <a:buChar char="▪"/>
              <a:defRPr sz="1600">
                <a:solidFill>
                  <a:schemeClr val="tx1"/>
                </a:solidFill>
                <a:latin typeface="Arial" charset="0"/>
                <a:cs typeface="Arial" charset="0"/>
              </a:defRPr>
            </a:lvl3pPr>
            <a:lvl4pPr marL="1600200" indent="-228600" eaLnBrk="0" hangingPunct="0">
              <a:spcBef>
                <a:spcPct val="20000"/>
              </a:spcBef>
              <a:buClr>
                <a:srgbClr val="0084C2"/>
              </a:buClr>
              <a:buSzPct val="50000"/>
              <a:buFont typeface="Arial" charset="0"/>
              <a:buChar char="▪"/>
              <a:defRPr sz="1600">
                <a:solidFill>
                  <a:schemeClr val="tx1"/>
                </a:solidFill>
                <a:latin typeface="Arial" charset="0"/>
                <a:cs typeface="Arial" charset="0"/>
              </a:defRPr>
            </a:lvl4pPr>
            <a:lvl5pPr marL="2057400" indent="-228600" eaLnBrk="0" hangingPunct="0">
              <a:spcBef>
                <a:spcPct val="20000"/>
              </a:spcBef>
              <a:buChar char="»"/>
              <a:defRPr sz="1600">
                <a:solidFill>
                  <a:schemeClr val="tx1"/>
                </a:solidFill>
                <a:latin typeface="Arial" charset="0"/>
                <a:cs typeface="Arial" charset="0"/>
              </a:defRPr>
            </a:lvl5pPr>
            <a:lvl6pPr marL="2514600" indent="-228600" eaLnBrk="0" fontAlgn="base" hangingPunct="0">
              <a:spcBef>
                <a:spcPct val="20000"/>
              </a:spcBef>
              <a:spcAft>
                <a:spcPct val="0"/>
              </a:spcAft>
              <a:buChar char="»"/>
              <a:defRPr sz="1600">
                <a:solidFill>
                  <a:schemeClr val="tx1"/>
                </a:solidFill>
                <a:latin typeface="Arial" charset="0"/>
                <a:cs typeface="Arial" charset="0"/>
              </a:defRPr>
            </a:lvl6pPr>
            <a:lvl7pPr marL="2971800" indent="-228600" eaLnBrk="0" fontAlgn="base" hangingPunct="0">
              <a:spcBef>
                <a:spcPct val="20000"/>
              </a:spcBef>
              <a:spcAft>
                <a:spcPct val="0"/>
              </a:spcAft>
              <a:buChar char="»"/>
              <a:defRPr sz="1600">
                <a:solidFill>
                  <a:schemeClr val="tx1"/>
                </a:solidFill>
                <a:latin typeface="Arial" charset="0"/>
                <a:cs typeface="Arial" charset="0"/>
              </a:defRPr>
            </a:lvl7pPr>
            <a:lvl8pPr marL="3429000" indent="-228600" eaLnBrk="0" fontAlgn="base" hangingPunct="0">
              <a:spcBef>
                <a:spcPct val="20000"/>
              </a:spcBef>
              <a:spcAft>
                <a:spcPct val="0"/>
              </a:spcAft>
              <a:buChar char="»"/>
              <a:defRPr sz="1600">
                <a:solidFill>
                  <a:schemeClr val="tx1"/>
                </a:solidFill>
                <a:latin typeface="Arial" charset="0"/>
                <a:cs typeface="Arial" charset="0"/>
              </a:defRPr>
            </a:lvl8pPr>
            <a:lvl9pPr marL="3886200" indent="-228600" eaLnBrk="0" fontAlgn="base" hangingPunct="0">
              <a:spcBef>
                <a:spcPct val="20000"/>
              </a:spcBef>
              <a:spcAft>
                <a:spcPct val="0"/>
              </a:spcAft>
              <a:buChar char="»"/>
              <a:defRPr sz="1600">
                <a:solidFill>
                  <a:schemeClr val="tx1"/>
                </a:solidFill>
                <a:latin typeface="Arial" charset="0"/>
                <a:cs typeface="Arial" charset="0"/>
              </a:defRPr>
            </a:lvl9pPr>
          </a:lstStyle>
          <a:p>
            <a:pPr eaLnBrk="1" hangingPunct="1">
              <a:spcBef>
                <a:spcPct val="0"/>
              </a:spcBef>
              <a:buClrTx/>
              <a:buSzTx/>
              <a:buFontTx/>
              <a:buNone/>
            </a:pPr>
            <a:r>
              <a:rPr lang="en-US" altLang="en-US" sz="1051">
                <a:solidFill>
                  <a:srgbClr val="000000"/>
                </a:solidFill>
              </a:rPr>
              <a:t>9.5” | 11.81”</a:t>
            </a:r>
            <a:endParaRPr lang="de-DE" altLang="en-US" sz="1051" u="sng">
              <a:solidFill>
                <a:srgbClr val="000000"/>
              </a:solidFill>
            </a:endParaRPr>
          </a:p>
        </p:txBody>
      </p:sp>
      <p:sp>
        <p:nvSpPr>
          <p:cNvPr id="13330" name="Rechteck 24"/>
          <p:cNvSpPr>
            <a:spLocks noChangeArrowheads="1"/>
          </p:cNvSpPr>
          <p:nvPr/>
        </p:nvSpPr>
        <p:spPr bwMode="auto">
          <a:xfrm>
            <a:off x="6749665" y="3860008"/>
            <a:ext cx="680636" cy="2540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lr>
                <a:srgbClr val="0084C2"/>
              </a:buClr>
              <a:buSzPct val="130000"/>
              <a:buFont typeface="Arial" charset="0"/>
              <a:buChar char=":"/>
              <a:defRPr sz="1700">
                <a:solidFill>
                  <a:schemeClr val="tx1"/>
                </a:solidFill>
                <a:latin typeface="Arial" charset="0"/>
                <a:cs typeface="Arial" charset="0"/>
              </a:defRPr>
            </a:lvl1pPr>
            <a:lvl2pPr marL="742950" indent="-285750" eaLnBrk="0" hangingPunct="0">
              <a:spcBef>
                <a:spcPct val="20000"/>
              </a:spcBef>
              <a:buClr>
                <a:srgbClr val="0084C2"/>
              </a:buClr>
              <a:buFont typeface="Arial" charset="0"/>
              <a:buChar char="-"/>
              <a:defRPr sz="1600">
                <a:solidFill>
                  <a:schemeClr val="tx1"/>
                </a:solidFill>
                <a:latin typeface="Arial" charset="0"/>
                <a:cs typeface="Arial" charset="0"/>
              </a:defRPr>
            </a:lvl2pPr>
            <a:lvl3pPr marL="1143000" indent="-228600" eaLnBrk="0" hangingPunct="0">
              <a:spcBef>
                <a:spcPct val="20000"/>
              </a:spcBef>
              <a:buClr>
                <a:srgbClr val="0084C2"/>
              </a:buClr>
              <a:buSzPct val="50000"/>
              <a:buFont typeface="Arial" charset="0"/>
              <a:buChar char="▪"/>
              <a:defRPr sz="1600">
                <a:solidFill>
                  <a:schemeClr val="tx1"/>
                </a:solidFill>
                <a:latin typeface="Arial" charset="0"/>
                <a:cs typeface="Arial" charset="0"/>
              </a:defRPr>
            </a:lvl3pPr>
            <a:lvl4pPr marL="1600200" indent="-228600" eaLnBrk="0" hangingPunct="0">
              <a:spcBef>
                <a:spcPct val="20000"/>
              </a:spcBef>
              <a:buClr>
                <a:srgbClr val="0084C2"/>
              </a:buClr>
              <a:buSzPct val="50000"/>
              <a:buFont typeface="Arial" charset="0"/>
              <a:buChar char="▪"/>
              <a:defRPr sz="1600">
                <a:solidFill>
                  <a:schemeClr val="tx1"/>
                </a:solidFill>
                <a:latin typeface="Arial" charset="0"/>
                <a:cs typeface="Arial" charset="0"/>
              </a:defRPr>
            </a:lvl4pPr>
            <a:lvl5pPr marL="2057400" indent="-228600" eaLnBrk="0" hangingPunct="0">
              <a:spcBef>
                <a:spcPct val="20000"/>
              </a:spcBef>
              <a:buChar char="»"/>
              <a:defRPr sz="1600">
                <a:solidFill>
                  <a:schemeClr val="tx1"/>
                </a:solidFill>
                <a:latin typeface="Arial" charset="0"/>
                <a:cs typeface="Arial" charset="0"/>
              </a:defRPr>
            </a:lvl5pPr>
            <a:lvl6pPr marL="2514600" indent="-228600" eaLnBrk="0" fontAlgn="base" hangingPunct="0">
              <a:spcBef>
                <a:spcPct val="20000"/>
              </a:spcBef>
              <a:spcAft>
                <a:spcPct val="0"/>
              </a:spcAft>
              <a:buChar char="»"/>
              <a:defRPr sz="1600">
                <a:solidFill>
                  <a:schemeClr val="tx1"/>
                </a:solidFill>
                <a:latin typeface="Arial" charset="0"/>
                <a:cs typeface="Arial" charset="0"/>
              </a:defRPr>
            </a:lvl6pPr>
            <a:lvl7pPr marL="2971800" indent="-228600" eaLnBrk="0" fontAlgn="base" hangingPunct="0">
              <a:spcBef>
                <a:spcPct val="20000"/>
              </a:spcBef>
              <a:spcAft>
                <a:spcPct val="0"/>
              </a:spcAft>
              <a:buChar char="»"/>
              <a:defRPr sz="1600">
                <a:solidFill>
                  <a:schemeClr val="tx1"/>
                </a:solidFill>
                <a:latin typeface="Arial" charset="0"/>
                <a:cs typeface="Arial" charset="0"/>
              </a:defRPr>
            </a:lvl7pPr>
            <a:lvl8pPr marL="3429000" indent="-228600" eaLnBrk="0" fontAlgn="base" hangingPunct="0">
              <a:spcBef>
                <a:spcPct val="20000"/>
              </a:spcBef>
              <a:spcAft>
                <a:spcPct val="0"/>
              </a:spcAft>
              <a:buChar char="»"/>
              <a:defRPr sz="1600">
                <a:solidFill>
                  <a:schemeClr val="tx1"/>
                </a:solidFill>
                <a:latin typeface="Arial" charset="0"/>
                <a:cs typeface="Arial" charset="0"/>
              </a:defRPr>
            </a:lvl8pPr>
            <a:lvl9pPr marL="3886200" indent="-228600" eaLnBrk="0" fontAlgn="base" hangingPunct="0">
              <a:spcBef>
                <a:spcPct val="20000"/>
              </a:spcBef>
              <a:spcAft>
                <a:spcPct val="0"/>
              </a:spcAft>
              <a:buChar char="»"/>
              <a:defRPr sz="1600">
                <a:solidFill>
                  <a:schemeClr val="tx1"/>
                </a:solidFill>
                <a:latin typeface="Arial" charset="0"/>
                <a:cs typeface="Arial" charset="0"/>
              </a:defRPr>
            </a:lvl9pPr>
          </a:lstStyle>
          <a:p>
            <a:pPr eaLnBrk="1" hangingPunct="1">
              <a:spcBef>
                <a:spcPct val="0"/>
              </a:spcBef>
              <a:buClrTx/>
              <a:buSzTx/>
              <a:buFontTx/>
              <a:buNone/>
            </a:pPr>
            <a:r>
              <a:rPr lang="en-US" altLang="en-US" sz="1051">
                <a:solidFill>
                  <a:srgbClr val="000000"/>
                </a:solidFill>
              </a:rPr>
              <a:t>17.75”</a:t>
            </a:r>
            <a:endParaRPr lang="de-DE" altLang="en-US" sz="1051" u="sng">
              <a:solidFill>
                <a:srgbClr val="000000"/>
              </a:solidFill>
            </a:endParaRPr>
          </a:p>
        </p:txBody>
      </p:sp>
      <p:sp>
        <p:nvSpPr>
          <p:cNvPr id="13331" name="Rechteck 25"/>
          <p:cNvSpPr>
            <a:spLocks noChangeArrowheads="1"/>
          </p:cNvSpPr>
          <p:nvPr/>
        </p:nvSpPr>
        <p:spPr bwMode="auto">
          <a:xfrm>
            <a:off x="2701249" y="4602454"/>
            <a:ext cx="3741504" cy="2540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lr>
                <a:srgbClr val="0084C2"/>
              </a:buClr>
              <a:buSzPct val="130000"/>
              <a:buFont typeface="Arial" charset="0"/>
              <a:buChar char=":"/>
              <a:defRPr sz="1700">
                <a:solidFill>
                  <a:schemeClr val="tx1"/>
                </a:solidFill>
                <a:latin typeface="Arial" charset="0"/>
                <a:cs typeface="Arial" charset="0"/>
              </a:defRPr>
            </a:lvl1pPr>
            <a:lvl2pPr marL="742950" indent="-285750" eaLnBrk="0" hangingPunct="0">
              <a:spcBef>
                <a:spcPct val="20000"/>
              </a:spcBef>
              <a:buClr>
                <a:srgbClr val="0084C2"/>
              </a:buClr>
              <a:buFont typeface="Arial" charset="0"/>
              <a:buChar char="-"/>
              <a:defRPr sz="1600">
                <a:solidFill>
                  <a:schemeClr val="tx1"/>
                </a:solidFill>
                <a:latin typeface="Arial" charset="0"/>
                <a:cs typeface="Arial" charset="0"/>
              </a:defRPr>
            </a:lvl2pPr>
            <a:lvl3pPr marL="1143000" indent="-228600" eaLnBrk="0" hangingPunct="0">
              <a:spcBef>
                <a:spcPct val="20000"/>
              </a:spcBef>
              <a:buClr>
                <a:srgbClr val="0084C2"/>
              </a:buClr>
              <a:buSzPct val="50000"/>
              <a:buFont typeface="Arial" charset="0"/>
              <a:buChar char="▪"/>
              <a:defRPr sz="1600">
                <a:solidFill>
                  <a:schemeClr val="tx1"/>
                </a:solidFill>
                <a:latin typeface="Arial" charset="0"/>
                <a:cs typeface="Arial" charset="0"/>
              </a:defRPr>
            </a:lvl3pPr>
            <a:lvl4pPr marL="1600200" indent="-228600" eaLnBrk="0" hangingPunct="0">
              <a:spcBef>
                <a:spcPct val="20000"/>
              </a:spcBef>
              <a:buClr>
                <a:srgbClr val="0084C2"/>
              </a:buClr>
              <a:buSzPct val="50000"/>
              <a:buFont typeface="Arial" charset="0"/>
              <a:buChar char="▪"/>
              <a:defRPr sz="1600">
                <a:solidFill>
                  <a:schemeClr val="tx1"/>
                </a:solidFill>
                <a:latin typeface="Arial" charset="0"/>
                <a:cs typeface="Arial" charset="0"/>
              </a:defRPr>
            </a:lvl4pPr>
            <a:lvl5pPr marL="2057400" indent="-228600" eaLnBrk="0" hangingPunct="0">
              <a:spcBef>
                <a:spcPct val="20000"/>
              </a:spcBef>
              <a:buChar char="»"/>
              <a:defRPr sz="1600">
                <a:solidFill>
                  <a:schemeClr val="tx1"/>
                </a:solidFill>
                <a:latin typeface="Arial" charset="0"/>
                <a:cs typeface="Arial" charset="0"/>
              </a:defRPr>
            </a:lvl5pPr>
            <a:lvl6pPr marL="2514600" indent="-228600" eaLnBrk="0" fontAlgn="base" hangingPunct="0">
              <a:spcBef>
                <a:spcPct val="20000"/>
              </a:spcBef>
              <a:spcAft>
                <a:spcPct val="0"/>
              </a:spcAft>
              <a:buChar char="»"/>
              <a:defRPr sz="1600">
                <a:solidFill>
                  <a:schemeClr val="tx1"/>
                </a:solidFill>
                <a:latin typeface="Arial" charset="0"/>
                <a:cs typeface="Arial" charset="0"/>
              </a:defRPr>
            </a:lvl6pPr>
            <a:lvl7pPr marL="2971800" indent="-228600" eaLnBrk="0" fontAlgn="base" hangingPunct="0">
              <a:spcBef>
                <a:spcPct val="20000"/>
              </a:spcBef>
              <a:spcAft>
                <a:spcPct val="0"/>
              </a:spcAft>
              <a:buChar char="»"/>
              <a:defRPr sz="1600">
                <a:solidFill>
                  <a:schemeClr val="tx1"/>
                </a:solidFill>
                <a:latin typeface="Arial" charset="0"/>
                <a:cs typeface="Arial" charset="0"/>
              </a:defRPr>
            </a:lvl7pPr>
            <a:lvl8pPr marL="3429000" indent="-228600" eaLnBrk="0" fontAlgn="base" hangingPunct="0">
              <a:spcBef>
                <a:spcPct val="20000"/>
              </a:spcBef>
              <a:spcAft>
                <a:spcPct val="0"/>
              </a:spcAft>
              <a:buChar char="»"/>
              <a:defRPr sz="1600">
                <a:solidFill>
                  <a:schemeClr val="tx1"/>
                </a:solidFill>
                <a:latin typeface="Arial" charset="0"/>
                <a:cs typeface="Arial" charset="0"/>
              </a:defRPr>
            </a:lvl8pPr>
            <a:lvl9pPr marL="3886200" indent="-228600" eaLnBrk="0" fontAlgn="base" hangingPunct="0">
              <a:spcBef>
                <a:spcPct val="20000"/>
              </a:spcBef>
              <a:spcAft>
                <a:spcPct val="0"/>
              </a:spcAft>
              <a:buChar char="»"/>
              <a:defRPr sz="1600">
                <a:solidFill>
                  <a:schemeClr val="tx1"/>
                </a:solidFill>
                <a:latin typeface="Arial" charset="0"/>
                <a:cs typeface="Arial" charset="0"/>
              </a:defRPr>
            </a:lvl9pPr>
          </a:lstStyle>
          <a:p>
            <a:pPr algn="ctr" eaLnBrk="1" hangingPunct="1">
              <a:spcBef>
                <a:spcPct val="0"/>
              </a:spcBef>
              <a:buClrTx/>
              <a:buSzTx/>
              <a:buFontTx/>
              <a:buNone/>
            </a:pPr>
            <a:r>
              <a:rPr lang="en-US" altLang="en-US" sz="1051">
                <a:solidFill>
                  <a:srgbClr val="000000"/>
                </a:solidFill>
              </a:rPr>
              <a:t>ANSI CL150    |    flat face - smooth finished    |    aluminum  </a:t>
            </a:r>
            <a:endParaRPr lang="de-DE" altLang="en-US" sz="1051" u="sng">
              <a:solidFill>
                <a:srgbClr val="000000"/>
              </a:solidFill>
            </a:endParaRPr>
          </a:p>
        </p:txBody>
      </p:sp>
      <p:sp>
        <p:nvSpPr>
          <p:cNvPr id="13332" name="Rechteck 3"/>
          <p:cNvSpPr>
            <a:spLocks noChangeArrowheads="1"/>
          </p:cNvSpPr>
          <p:nvPr/>
        </p:nvSpPr>
        <p:spPr bwMode="auto">
          <a:xfrm>
            <a:off x="1397890" y="4174624"/>
            <a:ext cx="1306197" cy="2540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lr>
                <a:srgbClr val="0084C2"/>
              </a:buClr>
              <a:buSzPct val="130000"/>
              <a:buFont typeface="Arial" charset="0"/>
              <a:buChar char=":"/>
              <a:defRPr sz="1700">
                <a:solidFill>
                  <a:schemeClr val="tx1"/>
                </a:solidFill>
                <a:latin typeface="Arial" charset="0"/>
                <a:cs typeface="Arial" charset="0"/>
              </a:defRPr>
            </a:lvl1pPr>
            <a:lvl2pPr marL="742950" indent="-285750" eaLnBrk="0" hangingPunct="0">
              <a:spcBef>
                <a:spcPct val="20000"/>
              </a:spcBef>
              <a:buClr>
                <a:srgbClr val="0084C2"/>
              </a:buClr>
              <a:buFont typeface="Arial" charset="0"/>
              <a:buChar char="-"/>
              <a:defRPr sz="1600">
                <a:solidFill>
                  <a:schemeClr val="tx1"/>
                </a:solidFill>
                <a:latin typeface="Arial" charset="0"/>
                <a:cs typeface="Arial" charset="0"/>
              </a:defRPr>
            </a:lvl2pPr>
            <a:lvl3pPr marL="1143000" indent="-228600" eaLnBrk="0" hangingPunct="0">
              <a:spcBef>
                <a:spcPct val="20000"/>
              </a:spcBef>
              <a:buClr>
                <a:srgbClr val="0084C2"/>
              </a:buClr>
              <a:buSzPct val="50000"/>
              <a:buFont typeface="Arial" charset="0"/>
              <a:buChar char="▪"/>
              <a:defRPr sz="1600">
                <a:solidFill>
                  <a:schemeClr val="tx1"/>
                </a:solidFill>
                <a:latin typeface="Arial" charset="0"/>
                <a:cs typeface="Arial" charset="0"/>
              </a:defRPr>
            </a:lvl3pPr>
            <a:lvl4pPr marL="1600200" indent="-228600" eaLnBrk="0" hangingPunct="0">
              <a:spcBef>
                <a:spcPct val="20000"/>
              </a:spcBef>
              <a:buClr>
                <a:srgbClr val="0084C2"/>
              </a:buClr>
              <a:buSzPct val="50000"/>
              <a:buFont typeface="Arial" charset="0"/>
              <a:buChar char="▪"/>
              <a:defRPr sz="1600">
                <a:solidFill>
                  <a:schemeClr val="tx1"/>
                </a:solidFill>
                <a:latin typeface="Arial" charset="0"/>
                <a:cs typeface="Arial" charset="0"/>
              </a:defRPr>
            </a:lvl4pPr>
            <a:lvl5pPr marL="2057400" indent="-228600" eaLnBrk="0" hangingPunct="0">
              <a:spcBef>
                <a:spcPct val="20000"/>
              </a:spcBef>
              <a:buChar char="»"/>
              <a:defRPr sz="1600">
                <a:solidFill>
                  <a:schemeClr val="tx1"/>
                </a:solidFill>
                <a:latin typeface="Arial" charset="0"/>
                <a:cs typeface="Arial" charset="0"/>
              </a:defRPr>
            </a:lvl5pPr>
            <a:lvl6pPr marL="2514600" indent="-228600" eaLnBrk="0" fontAlgn="base" hangingPunct="0">
              <a:spcBef>
                <a:spcPct val="20000"/>
              </a:spcBef>
              <a:spcAft>
                <a:spcPct val="0"/>
              </a:spcAft>
              <a:buChar char="»"/>
              <a:defRPr sz="1600">
                <a:solidFill>
                  <a:schemeClr val="tx1"/>
                </a:solidFill>
                <a:latin typeface="Arial" charset="0"/>
                <a:cs typeface="Arial" charset="0"/>
              </a:defRPr>
            </a:lvl6pPr>
            <a:lvl7pPr marL="2971800" indent="-228600" eaLnBrk="0" fontAlgn="base" hangingPunct="0">
              <a:spcBef>
                <a:spcPct val="20000"/>
              </a:spcBef>
              <a:spcAft>
                <a:spcPct val="0"/>
              </a:spcAft>
              <a:buChar char="»"/>
              <a:defRPr sz="1600">
                <a:solidFill>
                  <a:schemeClr val="tx1"/>
                </a:solidFill>
                <a:latin typeface="Arial" charset="0"/>
                <a:cs typeface="Arial" charset="0"/>
              </a:defRPr>
            </a:lvl7pPr>
            <a:lvl8pPr marL="3429000" indent="-228600" eaLnBrk="0" fontAlgn="base" hangingPunct="0">
              <a:spcBef>
                <a:spcPct val="20000"/>
              </a:spcBef>
              <a:spcAft>
                <a:spcPct val="0"/>
              </a:spcAft>
              <a:buChar char="»"/>
              <a:defRPr sz="1600">
                <a:solidFill>
                  <a:schemeClr val="tx1"/>
                </a:solidFill>
                <a:latin typeface="Arial" charset="0"/>
                <a:cs typeface="Arial" charset="0"/>
              </a:defRPr>
            </a:lvl8pPr>
            <a:lvl9pPr marL="3886200" indent="-228600" eaLnBrk="0" fontAlgn="base" hangingPunct="0">
              <a:spcBef>
                <a:spcPct val="20000"/>
              </a:spcBef>
              <a:spcAft>
                <a:spcPct val="0"/>
              </a:spcAft>
              <a:buChar char="»"/>
              <a:defRPr sz="1600">
                <a:solidFill>
                  <a:schemeClr val="tx1"/>
                </a:solidFill>
                <a:latin typeface="Arial" charset="0"/>
                <a:cs typeface="Arial" charset="0"/>
              </a:defRPr>
            </a:lvl9pPr>
          </a:lstStyle>
          <a:p>
            <a:pPr eaLnBrk="1" hangingPunct="1">
              <a:spcBef>
                <a:spcPct val="0"/>
              </a:spcBef>
              <a:buClrTx/>
              <a:buSzTx/>
              <a:buFontTx/>
              <a:buNone/>
            </a:pPr>
            <a:r>
              <a:rPr lang="en-US" altLang="en-US" sz="1051">
                <a:solidFill>
                  <a:srgbClr val="000000"/>
                </a:solidFill>
              </a:rPr>
              <a:t>35… 5,650 ft³/h </a:t>
            </a:r>
            <a:endParaRPr lang="de-DE" altLang="en-US" sz="1051" u="sng">
              <a:solidFill>
                <a:srgbClr val="000000"/>
              </a:solidFill>
            </a:endParaRPr>
          </a:p>
        </p:txBody>
      </p:sp>
      <p:sp>
        <p:nvSpPr>
          <p:cNvPr id="13333" name="Rechteck 4"/>
          <p:cNvSpPr>
            <a:spLocks noChangeArrowheads="1"/>
          </p:cNvSpPr>
          <p:nvPr/>
        </p:nvSpPr>
        <p:spPr bwMode="auto">
          <a:xfrm>
            <a:off x="3102325" y="4172241"/>
            <a:ext cx="1213233" cy="2540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lr>
                <a:srgbClr val="0084C2"/>
              </a:buClr>
              <a:buSzPct val="130000"/>
              <a:buFont typeface="Arial" charset="0"/>
              <a:buChar char=":"/>
              <a:defRPr sz="1700">
                <a:solidFill>
                  <a:schemeClr val="tx1"/>
                </a:solidFill>
                <a:latin typeface="Arial" charset="0"/>
                <a:cs typeface="Arial" charset="0"/>
              </a:defRPr>
            </a:lvl1pPr>
            <a:lvl2pPr marL="742950" indent="-285750" eaLnBrk="0" hangingPunct="0">
              <a:spcBef>
                <a:spcPct val="20000"/>
              </a:spcBef>
              <a:buClr>
                <a:srgbClr val="0084C2"/>
              </a:buClr>
              <a:buFont typeface="Arial" charset="0"/>
              <a:buChar char="-"/>
              <a:defRPr sz="1600">
                <a:solidFill>
                  <a:schemeClr val="tx1"/>
                </a:solidFill>
                <a:latin typeface="Arial" charset="0"/>
                <a:cs typeface="Arial" charset="0"/>
              </a:defRPr>
            </a:lvl2pPr>
            <a:lvl3pPr marL="1143000" indent="-228600" eaLnBrk="0" hangingPunct="0">
              <a:spcBef>
                <a:spcPct val="20000"/>
              </a:spcBef>
              <a:buClr>
                <a:srgbClr val="0084C2"/>
              </a:buClr>
              <a:buSzPct val="50000"/>
              <a:buFont typeface="Arial" charset="0"/>
              <a:buChar char="▪"/>
              <a:defRPr sz="1600">
                <a:solidFill>
                  <a:schemeClr val="tx1"/>
                </a:solidFill>
                <a:latin typeface="Arial" charset="0"/>
                <a:cs typeface="Arial" charset="0"/>
              </a:defRPr>
            </a:lvl3pPr>
            <a:lvl4pPr marL="1600200" indent="-228600" eaLnBrk="0" hangingPunct="0">
              <a:spcBef>
                <a:spcPct val="20000"/>
              </a:spcBef>
              <a:buClr>
                <a:srgbClr val="0084C2"/>
              </a:buClr>
              <a:buSzPct val="50000"/>
              <a:buFont typeface="Arial" charset="0"/>
              <a:buChar char="▪"/>
              <a:defRPr sz="1600">
                <a:solidFill>
                  <a:schemeClr val="tx1"/>
                </a:solidFill>
                <a:latin typeface="Arial" charset="0"/>
                <a:cs typeface="Arial" charset="0"/>
              </a:defRPr>
            </a:lvl4pPr>
            <a:lvl5pPr marL="2057400" indent="-228600" eaLnBrk="0" hangingPunct="0">
              <a:spcBef>
                <a:spcPct val="20000"/>
              </a:spcBef>
              <a:buChar char="»"/>
              <a:defRPr sz="1600">
                <a:solidFill>
                  <a:schemeClr val="tx1"/>
                </a:solidFill>
                <a:latin typeface="Arial" charset="0"/>
                <a:cs typeface="Arial" charset="0"/>
              </a:defRPr>
            </a:lvl5pPr>
            <a:lvl6pPr marL="2514600" indent="-228600" eaLnBrk="0" fontAlgn="base" hangingPunct="0">
              <a:spcBef>
                <a:spcPct val="20000"/>
              </a:spcBef>
              <a:spcAft>
                <a:spcPct val="0"/>
              </a:spcAft>
              <a:buChar char="»"/>
              <a:defRPr sz="1600">
                <a:solidFill>
                  <a:schemeClr val="tx1"/>
                </a:solidFill>
                <a:latin typeface="Arial" charset="0"/>
                <a:cs typeface="Arial" charset="0"/>
              </a:defRPr>
            </a:lvl6pPr>
            <a:lvl7pPr marL="2971800" indent="-228600" eaLnBrk="0" fontAlgn="base" hangingPunct="0">
              <a:spcBef>
                <a:spcPct val="20000"/>
              </a:spcBef>
              <a:spcAft>
                <a:spcPct val="0"/>
              </a:spcAft>
              <a:buChar char="»"/>
              <a:defRPr sz="1600">
                <a:solidFill>
                  <a:schemeClr val="tx1"/>
                </a:solidFill>
                <a:latin typeface="Arial" charset="0"/>
                <a:cs typeface="Arial" charset="0"/>
              </a:defRPr>
            </a:lvl7pPr>
            <a:lvl8pPr marL="3429000" indent="-228600" eaLnBrk="0" fontAlgn="base" hangingPunct="0">
              <a:spcBef>
                <a:spcPct val="20000"/>
              </a:spcBef>
              <a:spcAft>
                <a:spcPct val="0"/>
              </a:spcAft>
              <a:buChar char="»"/>
              <a:defRPr sz="1600">
                <a:solidFill>
                  <a:schemeClr val="tx1"/>
                </a:solidFill>
                <a:latin typeface="Arial" charset="0"/>
                <a:cs typeface="Arial" charset="0"/>
              </a:defRPr>
            </a:lvl8pPr>
            <a:lvl9pPr marL="3886200" indent="-228600" eaLnBrk="0" fontAlgn="base" hangingPunct="0">
              <a:spcBef>
                <a:spcPct val="20000"/>
              </a:spcBef>
              <a:spcAft>
                <a:spcPct val="0"/>
              </a:spcAft>
              <a:buChar char="»"/>
              <a:defRPr sz="1600">
                <a:solidFill>
                  <a:schemeClr val="tx1"/>
                </a:solidFill>
                <a:latin typeface="Arial" charset="0"/>
                <a:cs typeface="Arial" charset="0"/>
              </a:defRPr>
            </a:lvl9pPr>
          </a:lstStyle>
          <a:p>
            <a:pPr eaLnBrk="1" hangingPunct="1">
              <a:spcBef>
                <a:spcPct val="30000"/>
              </a:spcBef>
              <a:buFontTx/>
              <a:buNone/>
            </a:pPr>
            <a:r>
              <a:rPr lang="en-US" altLang="en-US" sz="1051">
                <a:solidFill>
                  <a:srgbClr val="000000"/>
                </a:solidFill>
              </a:rPr>
              <a:t>88… 14,150 ft³/h  </a:t>
            </a:r>
          </a:p>
        </p:txBody>
      </p:sp>
      <p:sp>
        <p:nvSpPr>
          <p:cNvPr id="13334" name="Rechteck 5"/>
          <p:cNvSpPr>
            <a:spLocks noChangeArrowheads="1"/>
          </p:cNvSpPr>
          <p:nvPr/>
        </p:nvSpPr>
        <p:spPr bwMode="auto">
          <a:xfrm>
            <a:off x="4779912" y="4178199"/>
            <a:ext cx="1287842" cy="2540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lr>
                <a:srgbClr val="0084C2"/>
              </a:buClr>
              <a:buSzPct val="130000"/>
              <a:buFont typeface="Arial" charset="0"/>
              <a:buChar char=":"/>
              <a:defRPr sz="1700">
                <a:solidFill>
                  <a:schemeClr val="tx1"/>
                </a:solidFill>
                <a:latin typeface="Arial" charset="0"/>
                <a:cs typeface="Arial" charset="0"/>
              </a:defRPr>
            </a:lvl1pPr>
            <a:lvl2pPr marL="742950" indent="-285750" eaLnBrk="0" hangingPunct="0">
              <a:spcBef>
                <a:spcPct val="20000"/>
              </a:spcBef>
              <a:buClr>
                <a:srgbClr val="0084C2"/>
              </a:buClr>
              <a:buFont typeface="Arial" charset="0"/>
              <a:buChar char="-"/>
              <a:defRPr sz="1600">
                <a:solidFill>
                  <a:schemeClr val="tx1"/>
                </a:solidFill>
                <a:latin typeface="Arial" charset="0"/>
                <a:cs typeface="Arial" charset="0"/>
              </a:defRPr>
            </a:lvl2pPr>
            <a:lvl3pPr marL="1143000" indent="-228600" eaLnBrk="0" hangingPunct="0">
              <a:spcBef>
                <a:spcPct val="20000"/>
              </a:spcBef>
              <a:buClr>
                <a:srgbClr val="0084C2"/>
              </a:buClr>
              <a:buSzPct val="50000"/>
              <a:buFont typeface="Arial" charset="0"/>
              <a:buChar char="▪"/>
              <a:defRPr sz="1600">
                <a:solidFill>
                  <a:schemeClr val="tx1"/>
                </a:solidFill>
                <a:latin typeface="Arial" charset="0"/>
                <a:cs typeface="Arial" charset="0"/>
              </a:defRPr>
            </a:lvl3pPr>
            <a:lvl4pPr marL="1600200" indent="-228600" eaLnBrk="0" hangingPunct="0">
              <a:spcBef>
                <a:spcPct val="20000"/>
              </a:spcBef>
              <a:buClr>
                <a:srgbClr val="0084C2"/>
              </a:buClr>
              <a:buSzPct val="50000"/>
              <a:buFont typeface="Arial" charset="0"/>
              <a:buChar char="▪"/>
              <a:defRPr sz="1600">
                <a:solidFill>
                  <a:schemeClr val="tx1"/>
                </a:solidFill>
                <a:latin typeface="Arial" charset="0"/>
                <a:cs typeface="Arial" charset="0"/>
              </a:defRPr>
            </a:lvl4pPr>
            <a:lvl5pPr marL="2057400" indent="-228600" eaLnBrk="0" hangingPunct="0">
              <a:spcBef>
                <a:spcPct val="20000"/>
              </a:spcBef>
              <a:buChar char="»"/>
              <a:defRPr sz="1600">
                <a:solidFill>
                  <a:schemeClr val="tx1"/>
                </a:solidFill>
                <a:latin typeface="Arial" charset="0"/>
                <a:cs typeface="Arial" charset="0"/>
              </a:defRPr>
            </a:lvl5pPr>
            <a:lvl6pPr marL="2514600" indent="-228600" eaLnBrk="0" fontAlgn="base" hangingPunct="0">
              <a:spcBef>
                <a:spcPct val="20000"/>
              </a:spcBef>
              <a:spcAft>
                <a:spcPct val="0"/>
              </a:spcAft>
              <a:buChar char="»"/>
              <a:defRPr sz="1600">
                <a:solidFill>
                  <a:schemeClr val="tx1"/>
                </a:solidFill>
                <a:latin typeface="Arial" charset="0"/>
                <a:cs typeface="Arial" charset="0"/>
              </a:defRPr>
            </a:lvl6pPr>
            <a:lvl7pPr marL="2971800" indent="-228600" eaLnBrk="0" fontAlgn="base" hangingPunct="0">
              <a:spcBef>
                <a:spcPct val="20000"/>
              </a:spcBef>
              <a:spcAft>
                <a:spcPct val="0"/>
              </a:spcAft>
              <a:buChar char="»"/>
              <a:defRPr sz="1600">
                <a:solidFill>
                  <a:schemeClr val="tx1"/>
                </a:solidFill>
                <a:latin typeface="Arial" charset="0"/>
                <a:cs typeface="Arial" charset="0"/>
              </a:defRPr>
            </a:lvl7pPr>
            <a:lvl8pPr marL="3429000" indent="-228600" eaLnBrk="0" fontAlgn="base" hangingPunct="0">
              <a:spcBef>
                <a:spcPct val="20000"/>
              </a:spcBef>
              <a:spcAft>
                <a:spcPct val="0"/>
              </a:spcAft>
              <a:buChar char="»"/>
              <a:defRPr sz="1600">
                <a:solidFill>
                  <a:schemeClr val="tx1"/>
                </a:solidFill>
                <a:latin typeface="Arial" charset="0"/>
                <a:cs typeface="Arial" charset="0"/>
              </a:defRPr>
            </a:lvl8pPr>
            <a:lvl9pPr marL="3886200" indent="-228600" eaLnBrk="0" fontAlgn="base" hangingPunct="0">
              <a:spcBef>
                <a:spcPct val="20000"/>
              </a:spcBef>
              <a:spcAft>
                <a:spcPct val="0"/>
              </a:spcAft>
              <a:buChar char="»"/>
              <a:defRPr sz="1600">
                <a:solidFill>
                  <a:schemeClr val="tx1"/>
                </a:solidFill>
                <a:latin typeface="Arial" charset="0"/>
                <a:cs typeface="Arial" charset="0"/>
              </a:defRPr>
            </a:lvl9pPr>
          </a:lstStyle>
          <a:p>
            <a:pPr eaLnBrk="1" hangingPunct="1">
              <a:spcBef>
                <a:spcPct val="30000"/>
              </a:spcBef>
              <a:buFontTx/>
              <a:buNone/>
            </a:pPr>
            <a:r>
              <a:rPr lang="en-US" altLang="en-US" sz="1051">
                <a:solidFill>
                  <a:srgbClr val="000000"/>
                </a:solidFill>
              </a:rPr>
              <a:t>141… 23,000 ft³/h  </a:t>
            </a:r>
          </a:p>
        </p:txBody>
      </p:sp>
      <p:sp>
        <p:nvSpPr>
          <p:cNvPr id="13335" name="Rechteck 6"/>
          <p:cNvSpPr>
            <a:spLocks noChangeArrowheads="1"/>
          </p:cNvSpPr>
          <p:nvPr/>
        </p:nvSpPr>
        <p:spPr bwMode="auto">
          <a:xfrm>
            <a:off x="6426695" y="4181775"/>
            <a:ext cx="1287842" cy="2540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lr>
                <a:srgbClr val="0084C2"/>
              </a:buClr>
              <a:buSzPct val="130000"/>
              <a:buFont typeface="Arial" charset="0"/>
              <a:buChar char=":"/>
              <a:defRPr sz="1700">
                <a:solidFill>
                  <a:schemeClr val="tx1"/>
                </a:solidFill>
                <a:latin typeface="Arial" charset="0"/>
                <a:cs typeface="Arial" charset="0"/>
              </a:defRPr>
            </a:lvl1pPr>
            <a:lvl2pPr marL="742950" indent="-285750" eaLnBrk="0" hangingPunct="0">
              <a:spcBef>
                <a:spcPct val="20000"/>
              </a:spcBef>
              <a:buClr>
                <a:srgbClr val="0084C2"/>
              </a:buClr>
              <a:buFont typeface="Arial" charset="0"/>
              <a:buChar char="-"/>
              <a:defRPr sz="1600">
                <a:solidFill>
                  <a:schemeClr val="tx1"/>
                </a:solidFill>
                <a:latin typeface="Arial" charset="0"/>
                <a:cs typeface="Arial" charset="0"/>
              </a:defRPr>
            </a:lvl2pPr>
            <a:lvl3pPr marL="1143000" indent="-228600" eaLnBrk="0" hangingPunct="0">
              <a:spcBef>
                <a:spcPct val="20000"/>
              </a:spcBef>
              <a:buClr>
                <a:srgbClr val="0084C2"/>
              </a:buClr>
              <a:buSzPct val="50000"/>
              <a:buFont typeface="Arial" charset="0"/>
              <a:buChar char="▪"/>
              <a:defRPr sz="1600">
                <a:solidFill>
                  <a:schemeClr val="tx1"/>
                </a:solidFill>
                <a:latin typeface="Arial" charset="0"/>
                <a:cs typeface="Arial" charset="0"/>
              </a:defRPr>
            </a:lvl3pPr>
            <a:lvl4pPr marL="1600200" indent="-228600" eaLnBrk="0" hangingPunct="0">
              <a:spcBef>
                <a:spcPct val="20000"/>
              </a:spcBef>
              <a:buClr>
                <a:srgbClr val="0084C2"/>
              </a:buClr>
              <a:buSzPct val="50000"/>
              <a:buFont typeface="Arial" charset="0"/>
              <a:buChar char="▪"/>
              <a:defRPr sz="1600">
                <a:solidFill>
                  <a:schemeClr val="tx1"/>
                </a:solidFill>
                <a:latin typeface="Arial" charset="0"/>
                <a:cs typeface="Arial" charset="0"/>
              </a:defRPr>
            </a:lvl4pPr>
            <a:lvl5pPr marL="2057400" indent="-228600" eaLnBrk="0" hangingPunct="0">
              <a:spcBef>
                <a:spcPct val="20000"/>
              </a:spcBef>
              <a:buChar char="»"/>
              <a:defRPr sz="1600">
                <a:solidFill>
                  <a:schemeClr val="tx1"/>
                </a:solidFill>
                <a:latin typeface="Arial" charset="0"/>
                <a:cs typeface="Arial" charset="0"/>
              </a:defRPr>
            </a:lvl5pPr>
            <a:lvl6pPr marL="2514600" indent="-228600" eaLnBrk="0" fontAlgn="base" hangingPunct="0">
              <a:spcBef>
                <a:spcPct val="20000"/>
              </a:spcBef>
              <a:spcAft>
                <a:spcPct val="0"/>
              </a:spcAft>
              <a:buChar char="»"/>
              <a:defRPr sz="1600">
                <a:solidFill>
                  <a:schemeClr val="tx1"/>
                </a:solidFill>
                <a:latin typeface="Arial" charset="0"/>
                <a:cs typeface="Arial" charset="0"/>
              </a:defRPr>
            </a:lvl6pPr>
            <a:lvl7pPr marL="2971800" indent="-228600" eaLnBrk="0" fontAlgn="base" hangingPunct="0">
              <a:spcBef>
                <a:spcPct val="20000"/>
              </a:spcBef>
              <a:spcAft>
                <a:spcPct val="0"/>
              </a:spcAft>
              <a:buChar char="»"/>
              <a:defRPr sz="1600">
                <a:solidFill>
                  <a:schemeClr val="tx1"/>
                </a:solidFill>
                <a:latin typeface="Arial" charset="0"/>
                <a:cs typeface="Arial" charset="0"/>
              </a:defRPr>
            </a:lvl7pPr>
            <a:lvl8pPr marL="3429000" indent="-228600" eaLnBrk="0" fontAlgn="base" hangingPunct="0">
              <a:spcBef>
                <a:spcPct val="20000"/>
              </a:spcBef>
              <a:spcAft>
                <a:spcPct val="0"/>
              </a:spcAft>
              <a:buChar char="»"/>
              <a:defRPr sz="1600">
                <a:solidFill>
                  <a:schemeClr val="tx1"/>
                </a:solidFill>
                <a:latin typeface="Arial" charset="0"/>
                <a:cs typeface="Arial" charset="0"/>
              </a:defRPr>
            </a:lvl8pPr>
            <a:lvl9pPr marL="3886200" indent="-228600" eaLnBrk="0" fontAlgn="base" hangingPunct="0">
              <a:spcBef>
                <a:spcPct val="20000"/>
              </a:spcBef>
              <a:spcAft>
                <a:spcPct val="0"/>
              </a:spcAft>
              <a:buChar char="»"/>
              <a:defRPr sz="1600">
                <a:solidFill>
                  <a:schemeClr val="tx1"/>
                </a:solidFill>
                <a:latin typeface="Arial" charset="0"/>
                <a:cs typeface="Arial" charset="0"/>
              </a:defRPr>
            </a:lvl9pPr>
          </a:lstStyle>
          <a:p>
            <a:pPr eaLnBrk="1" hangingPunct="1">
              <a:spcBef>
                <a:spcPct val="30000"/>
              </a:spcBef>
              <a:buFontTx/>
              <a:buNone/>
            </a:pPr>
            <a:r>
              <a:rPr lang="en-US" altLang="en-US" sz="1051">
                <a:solidFill>
                  <a:srgbClr val="000000"/>
                </a:solidFill>
              </a:rPr>
              <a:t>141… 35,300 ft³/h  </a:t>
            </a:r>
          </a:p>
        </p:txBody>
      </p:sp>
      <p:cxnSp>
        <p:nvCxnSpPr>
          <p:cNvPr id="13336" name="Gerade Verbindung 9"/>
          <p:cNvCxnSpPr>
            <a:cxnSpLocks noChangeShapeType="1"/>
          </p:cNvCxnSpPr>
          <p:nvPr/>
        </p:nvCxnSpPr>
        <p:spPr bwMode="auto">
          <a:xfrm>
            <a:off x="1314508" y="3869884"/>
            <a:ext cx="6487031" cy="0"/>
          </a:xfrm>
          <a:prstGeom prst="line">
            <a:avLst/>
          </a:prstGeom>
          <a:noFill/>
          <a:ln w="9525" algn="ctr">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3337" name="Gerade Verbindung 32"/>
          <p:cNvCxnSpPr>
            <a:cxnSpLocks noChangeShapeType="1"/>
          </p:cNvCxnSpPr>
          <p:nvPr/>
        </p:nvCxnSpPr>
        <p:spPr bwMode="auto">
          <a:xfrm>
            <a:off x="1276043" y="4552858"/>
            <a:ext cx="6487031" cy="0"/>
          </a:xfrm>
          <a:prstGeom prst="line">
            <a:avLst/>
          </a:prstGeom>
          <a:noFill/>
          <a:ln w="9525" algn="ctr">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34399238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52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96010" y="1141675"/>
            <a:ext cx="2378688" cy="32343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itel 3"/>
          <p:cNvSpPr>
            <a:spLocks noGrp="1"/>
          </p:cNvSpPr>
          <p:nvPr>
            <p:ph type="title"/>
          </p:nvPr>
        </p:nvSpPr>
        <p:spPr>
          <a:xfrm>
            <a:off x="1166043" y="215703"/>
            <a:ext cx="5810863" cy="196635"/>
          </a:xfrm>
        </p:spPr>
        <p:txBody>
          <a:bodyPr/>
          <a:lstStyle>
            <a:defPPr>
              <a:defRPr lang="de-DE"/>
            </a:defPPr>
            <a:lvl1pPr marL="0" algn="l" defTabSz="779526" rtl="0" eaLnBrk="1" latinLnBrk="0" hangingPunct="1">
              <a:defRPr sz="1535" kern="1200">
                <a:solidFill>
                  <a:schemeClr val="tx1"/>
                </a:solidFill>
                <a:latin typeface="+mn-lt"/>
                <a:ea typeface="+mn-ea"/>
                <a:cs typeface="+mn-cs"/>
              </a:defRPr>
            </a:lvl1pPr>
            <a:lvl2pPr marL="389763" algn="l" defTabSz="779526" rtl="0" eaLnBrk="1" latinLnBrk="0" hangingPunct="1">
              <a:defRPr sz="1535" kern="1200">
                <a:solidFill>
                  <a:schemeClr val="tx1"/>
                </a:solidFill>
                <a:latin typeface="+mn-lt"/>
                <a:ea typeface="+mn-ea"/>
                <a:cs typeface="+mn-cs"/>
              </a:defRPr>
            </a:lvl2pPr>
            <a:lvl3pPr marL="779526" algn="l" defTabSz="779526" rtl="0" eaLnBrk="1" latinLnBrk="0" hangingPunct="1">
              <a:defRPr sz="1535" kern="1200">
                <a:solidFill>
                  <a:schemeClr val="tx1"/>
                </a:solidFill>
                <a:latin typeface="+mn-lt"/>
                <a:ea typeface="+mn-ea"/>
                <a:cs typeface="+mn-cs"/>
              </a:defRPr>
            </a:lvl3pPr>
            <a:lvl4pPr marL="1169289" algn="l" defTabSz="779526" rtl="0" eaLnBrk="1" latinLnBrk="0" hangingPunct="1">
              <a:defRPr sz="1535" kern="1200">
                <a:solidFill>
                  <a:schemeClr val="tx1"/>
                </a:solidFill>
                <a:latin typeface="+mn-lt"/>
                <a:ea typeface="+mn-ea"/>
                <a:cs typeface="+mn-cs"/>
              </a:defRPr>
            </a:lvl4pPr>
            <a:lvl5pPr marL="1559052" algn="l" defTabSz="779526" rtl="0" eaLnBrk="1" latinLnBrk="0" hangingPunct="1">
              <a:defRPr sz="1535" kern="1200">
                <a:solidFill>
                  <a:schemeClr val="tx1"/>
                </a:solidFill>
                <a:latin typeface="+mn-lt"/>
                <a:ea typeface="+mn-ea"/>
                <a:cs typeface="+mn-cs"/>
              </a:defRPr>
            </a:lvl5pPr>
            <a:lvl6pPr marL="1948815" algn="l" defTabSz="779526" rtl="0" eaLnBrk="1" latinLnBrk="0" hangingPunct="1">
              <a:defRPr sz="1535" kern="1200">
                <a:solidFill>
                  <a:schemeClr val="tx1"/>
                </a:solidFill>
                <a:latin typeface="+mn-lt"/>
                <a:ea typeface="+mn-ea"/>
                <a:cs typeface="+mn-cs"/>
              </a:defRPr>
            </a:lvl6pPr>
            <a:lvl7pPr marL="2338578" algn="l" defTabSz="779526" rtl="0" eaLnBrk="1" latinLnBrk="0" hangingPunct="1">
              <a:defRPr sz="1535" kern="1200">
                <a:solidFill>
                  <a:schemeClr val="tx1"/>
                </a:solidFill>
                <a:latin typeface="+mn-lt"/>
                <a:ea typeface="+mn-ea"/>
                <a:cs typeface="+mn-cs"/>
              </a:defRPr>
            </a:lvl7pPr>
            <a:lvl8pPr marL="2728341" algn="l" defTabSz="779526" rtl="0" eaLnBrk="1" latinLnBrk="0" hangingPunct="1">
              <a:defRPr sz="1535" kern="1200">
                <a:solidFill>
                  <a:schemeClr val="tx1"/>
                </a:solidFill>
                <a:latin typeface="+mn-lt"/>
                <a:ea typeface="+mn-ea"/>
                <a:cs typeface="+mn-cs"/>
              </a:defRPr>
            </a:lvl8pPr>
            <a:lvl9pPr marL="3118104" algn="l" defTabSz="779526" rtl="0" eaLnBrk="1" latinLnBrk="0" hangingPunct="1">
              <a:defRPr sz="1535" kern="1200">
                <a:solidFill>
                  <a:schemeClr val="tx1"/>
                </a:solidFill>
                <a:latin typeface="+mn-lt"/>
                <a:ea typeface="+mn-ea"/>
                <a:cs typeface="+mn-cs"/>
              </a:defRPr>
            </a:lvl9pPr>
          </a:lstStyle>
          <a:p>
            <a:pPr>
              <a:defRPr/>
            </a:pPr>
            <a:r>
              <a:rPr lang="de-DE"/>
              <a:t>DIV04 </a:t>
            </a:r>
            <a:r>
              <a:rPr lang="de-DE" err="1"/>
              <a:t>Product</a:t>
            </a:r>
            <a:r>
              <a:rPr lang="de-DE"/>
              <a:t> </a:t>
            </a:r>
            <a:r>
              <a:rPr lang="de-DE" err="1"/>
              <a:t>portfolio</a:t>
            </a:r>
            <a:endParaRPr lang="de-DE"/>
          </a:p>
        </p:txBody>
      </p:sp>
      <p:sp>
        <p:nvSpPr>
          <p:cNvPr id="5" name="Textplatzhalter 4"/>
          <p:cNvSpPr>
            <a:spLocks noGrp="1"/>
          </p:cNvSpPr>
          <p:nvPr>
            <p:ph type="body" idx="13"/>
          </p:nvPr>
        </p:nvSpPr>
        <p:spPr>
          <a:xfrm>
            <a:off x="1166043" y="412337"/>
            <a:ext cx="5810863" cy="215703"/>
          </a:xfrm>
        </p:spPr>
        <p:txBody>
          <a:bodyPr/>
          <a:lstStyle>
            <a:defPPr>
              <a:defRPr lang="de-DE"/>
            </a:defPPr>
            <a:lvl1pPr marL="0" algn="l" defTabSz="779526" rtl="0" eaLnBrk="1" latinLnBrk="0" hangingPunct="1">
              <a:defRPr sz="1535" kern="1200">
                <a:solidFill>
                  <a:schemeClr val="tx1"/>
                </a:solidFill>
                <a:latin typeface="+mn-lt"/>
                <a:ea typeface="+mn-ea"/>
                <a:cs typeface="+mn-cs"/>
              </a:defRPr>
            </a:lvl1pPr>
            <a:lvl2pPr marL="389763" algn="l" defTabSz="779526" rtl="0" eaLnBrk="1" latinLnBrk="0" hangingPunct="1">
              <a:defRPr sz="1535" kern="1200">
                <a:solidFill>
                  <a:schemeClr val="tx1"/>
                </a:solidFill>
                <a:latin typeface="+mn-lt"/>
                <a:ea typeface="+mn-ea"/>
                <a:cs typeface="+mn-cs"/>
              </a:defRPr>
            </a:lvl2pPr>
            <a:lvl3pPr marL="779526" algn="l" defTabSz="779526" rtl="0" eaLnBrk="1" latinLnBrk="0" hangingPunct="1">
              <a:defRPr sz="1535" kern="1200">
                <a:solidFill>
                  <a:schemeClr val="tx1"/>
                </a:solidFill>
                <a:latin typeface="+mn-lt"/>
                <a:ea typeface="+mn-ea"/>
                <a:cs typeface="+mn-cs"/>
              </a:defRPr>
            </a:lvl3pPr>
            <a:lvl4pPr marL="1169289" algn="l" defTabSz="779526" rtl="0" eaLnBrk="1" latinLnBrk="0" hangingPunct="1">
              <a:defRPr sz="1535" kern="1200">
                <a:solidFill>
                  <a:schemeClr val="tx1"/>
                </a:solidFill>
                <a:latin typeface="+mn-lt"/>
                <a:ea typeface="+mn-ea"/>
                <a:cs typeface="+mn-cs"/>
              </a:defRPr>
            </a:lvl4pPr>
            <a:lvl5pPr marL="1559052" algn="l" defTabSz="779526" rtl="0" eaLnBrk="1" latinLnBrk="0" hangingPunct="1">
              <a:defRPr sz="1535" kern="1200">
                <a:solidFill>
                  <a:schemeClr val="tx1"/>
                </a:solidFill>
                <a:latin typeface="+mn-lt"/>
                <a:ea typeface="+mn-ea"/>
                <a:cs typeface="+mn-cs"/>
              </a:defRPr>
            </a:lvl5pPr>
            <a:lvl6pPr marL="1948815" algn="l" defTabSz="779526" rtl="0" eaLnBrk="1" latinLnBrk="0" hangingPunct="1">
              <a:defRPr sz="1535" kern="1200">
                <a:solidFill>
                  <a:schemeClr val="tx1"/>
                </a:solidFill>
                <a:latin typeface="+mn-lt"/>
                <a:ea typeface="+mn-ea"/>
                <a:cs typeface="+mn-cs"/>
              </a:defRPr>
            </a:lvl6pPr>
            <a:lvl7pPr marL="2338578" algn="l" defTabSz="779526" rtl="0" eaLnBrk="1" latinLnBrk="0" hangingPunct="1">
              <a:defRPr sz="1535" kern="1200">
                <a:solidFill>
                  <a:schemeClr val="tx1"/>
                </a:solidFill>
                <a:latin typeface="+mn-lt"/>
                <a:ea typeface="+mn-ea"/>
                <a:cs typeface="+mn-cs"/>
              </a:defRPr>
            </a:lvl7pPr>
            <a:lvl8pPr marL="2728341" algn="l" defTabSz="779526" rtl="0" eaLnBrk="1" latinLnBrk="0" hangingPunct="1">
              <a:defRPr sz="1535" kern="1200">
                <a:solidFill>
                  <a:schemeClr val="tx1"/>
                </a:solidFill>
                <a:latin typeface="+mn-lt"/>
                <a:ea typeface="+mn-ea"/>
                <a:cs typeface="+mn-cs"/>
              </a:defRPr>
            </a:lvl8pPr>
            <a:lvl9pPr marL="3118104" algn="l" defTabSz="779526" rtl="0" eaLnBrk="1" latinLnBrk="0" hangingPunct="1">
              <a:defRPr sz="1535" kern="1200">
                <a:solidFill>
                  <a:schemeClr val="tx1"/>
                </a:solidFill>
                <a:latin typeface="+mn-lt"/>
                <a:ea typeface="+mn-ea"/>
                <a:cs typeface="+mn-cs"/>
              </a:defRPr>
            </a:lvl9pPr>
          </a:lstStyle>
          <a:p>
            <a:pPr>
              <a:spcBef>
                <a:spcPct val="50000"/>
              </a:spcBef>
              <a:buClrTx/>
              <a:buSzTx/>
              <a:defRPr/>
            </a:pPr>
            <a:r>
              <a:rPr lang="de-DE" altLang="de-DE"/>
              <a:t>FLowsic500 - Design</a:t>
            </a:r>
          </a:p>
          <a:p>
            <a:pPr>
              <a:defRPr/>
            </a:pPr>
            <a:endParaRPr lang="de-DE"/>
          </a:p>
        </p:txBody>
      </p:sp>
      <p:sp>
        <p:nvSpPr>
          <p:cNvPr id="8" name="Foliennummernplatzhalter 7"/>
          <p:cNvSpPr>
            <a:spLocks noGrp="1"/>
          </p:cNvSpPr>
          <p:nvPr>
            <p:ph type="sldNum" sz="quarter" idx="17"/>
          </p:nvPr>
        </p:nvSpPr>
        <p:spPr/>
        <p:txBody>
          <a:bodyPr/>
          <a:lstStyle>
            <a:defPPr>
              <a:defRPr lang="de-DE"/>
            </a:defPPr>
            <a:lvl1pPr marL="0" algn="l" defTabSz="585190" rtl="0" eaLnBrk="1" latinLnBrk="0" hangingPunct="1">
              <a:defRPr sz="1152" kern="1200">
                <a:solidFill>
                  <a:schemeClr val="tx1"/>
                </a:solidFill>
                <a:latin typeface="+mn-lt"/>
                <a:ea typeface="+mn-ea"/>
                <a:cs typeface="+mn-cs"/>
              </a:defRPr>
            </a:lvl1pPr>
            <a:lvl2pPr marL="292595" algn="l" defTabSz="585190" rtl="0" eaLnBrk="1" latinLnBrk="0" hangingPunct="1">
              <a:defRPr sz="1152" kern="1200">
                <a:solidFill>
                  <a:schemeClr val="tx1"/>
                </a:solidFill>
                <a:latin typeface="+mn-lt"/>
                <a:ea typeface="+mn-ea"/>
                <a:cs typeface="+mn-cs"/>
              </a:defRPr>
            </a:lvl2pPr>
            <a:lvl3pPr marL="585190" algn="l" defTabSz="585190" rtl="0" eaLnBrk="1" latinLnBrk="0" hangingPunct="1">
              <a:defRPr sz="1152" kern="1200">
                <a:solidFill>
                  <a:schemeClr val="tx1"/>
                </a:solidFill>
                <a:latin typeface="+mn-lt"/>
                <a:ea typeface="+mn-ea"/>
                <a:cs typeface="+mn-cs"/>
              </a:defRPr>
            </a:lvl3pPr>
            <a:lvl4pPr marL="877785" algn="l" defTabSz="585190" rtl="0" eaLnBrk="1" latinLnBrk="0" hangingPunct="1">
              <a:defRPr sz="1152" kern="1200">
                <a:solidFill>
                  <a:schemeClr val="tx1"/>
                </a:solidFill>
                <a:latin typeface="+mn-lt"/>
                <a:ea typeface="+mn-ea"/>
                <a:cs typeface="+mn-cs"/>
              </a:defRPr>
            </a:lvl4pPr>
            <a:lvl5pPr marL="1170380" algn="l" defTabSz="585190" rtl="0" eaLnBrk="1" latinLnBrk="0" hangingPunct="1">
              <a:defRPr sz="1152" kern="1200">
                <a:solidFill>
                  <a:schemeClr val="tx1"/>
                </a:solidFill>
                <a:latin typeface="+mn-lt"/>
                <a:ea typeface="+mn-ea"/>
                <a:cs typeface="+mn-cs"/>
              </a:defRPr>
            </a:lvl5pPr>
            <a:lvl6pPr marL="1462975" algn="l" defTabSz="585190" rtl="0" eaLnBrk="1" latinLnBrk="0" hangingPunct="1">
              <a:defRPr sz="1152" kern="1200">
                <a:solidFill>
                  <a:schemeClr val="tx1"/>
                </a:solidFill>
                <a:latin typeface="+mn-lt"/>
                <a:ea typeface="+mn-ea"/>
                <a:cs typeface="+mn-cs"/>
              </a:defRPr>
            </a:lvl6pPr>
            <a:lvl7pPr marL="1755571" algn="l" defTabSz="585190" rtl="0" eaLnBrk="1" latinLnBrk="0" hangingPunct="1">
              <a:defRPr sz="1152" kern="1200">
                <a:solidFill>
                  <a:schemeClr val="tx1"/>
                </a:solidFill>
                <a:latin typeface="+mn-lt"/>
                <a:ea typeface="+mn-ea"/>
                <a:cs typeface="+mn-cs"/>
              </a:defRPr>
            </a:lvl7pPr>
            <a:lvl8pPr marL="2048166" algn="l" defTabSz="585190" rtl="0" eaLnBrk="1" latinLnBrk="0" hangingPunct="1">
              <a:defRPr sz="1152" kern="1200">
                <a:solidFill>
                  <a:schemeClr val="tx1"/>
                </a:solidFill>
                <a:latin typeface="+mn-lt"/>
                <a:ea typeface="+mn-ea"/>
                <a:cs typeface="+mn-cs"/>
              </a:defRPr>
            </a:lvl8pPr>
            <a:lvl9pPr marL="2340761" algn="l" defTabSz="585190" rtl="0" eaLnBrk="1" latinLnBrk="0" hangingPunct="1">
              <a:defRPr sz="1152" kern="1200">
                <a:solidFill>
                  <a:schemeClr val="tx1"/>
                </a:solidFill>
                <a:latin typeface="+mn-lt"/>
                <a:ea typeface="+mn-ea"/>
                <a:cs typeface="+mn-cs"/>
              </a:defRPr>
            </a:lvl9pPr>
          </a:lstStyle>
          <a:p>
            <a:pPr>
              <a:defRPr/>
            </a:pPr>
            <a:fld id="{725D990C-704F-43AE-AE9A-55D6F4631523}" type="slidenum">
              <a:rPr lang="en-US" smtClean="0"/>
              <a:pPr>
                <a:defRPr/>
              </a:pPr>
              <a:t>32</a:t>
            </a:fld>
            <a:endParaRPr lang="en-US"/>
          </a:p>
        </p:txBody>
      </p:sp>
      <p:pic>
        <p:nvPicPr>
          <p:cNvPr id="55303"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63694" y="1226288"/>
            <a:ext cx="2316718" cy="32677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55304" name="Group 39"/>
          <p:cNvGrpSpPr>
            <a:grpSpLocks/>
          </p:cNvGrpSpPr>
          <p:nvPr/>
        </p:nvGrpSpPr>
        <p:grpSpPr bwMode="auto">
          <a:xfrm>
            <a:off x="4655421" y="1493235"/>
            <a:ext cx="1749456" cy="283631"/>
            <a:chOff x="4209" y="1253"/>
            <a:chExt cx="1468" cy="238"/>
          </a:xfrm>
        </p:grpSpPr>
        <p:sp>
          <p:nvSpPr>
            <p:cNvPr id="55314" name="AutoShape 21"/>
            <p:cNvSpPr>
              <a:spLocks noChangeArrowheads="1"/>
            </p:cNvSpPr>
            <p:nvPr/>
          </p:nvSpPr>
          <p:spPr bwMode="auto">
            <a:xfrm rot="-5400000">
              <a:off x="4323" y="1139"/>
              <a:ext cx="136" cy="363"/>
            </a:xfrm>
            <a:prstGeom prst="upArrow">
              <a:avLst>
                <a:gd name="adj1" fmla="val 50000"/>
                <a:gd name="adj2" fmla="val 66728"/>
              </a:avLst>
            </a:prstGeom>
            <a:solidFill>
              <a:srgbClr val="FFFF00"/>
            </a:solidFill>
            <a:ln>
              <a:noFill/>
            </a:ln>
            <a:effectLst/>
            <a:extLs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de-DE"/>
              </a:defPPr>
              <a:lvl1pPr marL="0" algn="l" defTabSz="779526" rtl="0" eaLnBrk="1" latinLnBrk="0" hangingPunct="1">
                <a:defRPr sz="1535" kern="1200">
                  <a:solidFill>
                    <a:schemeClr val="tx1"/>
                  </a:solidFill>
                  <a:latin typeface="+mn-lt"/>
                  <a:ea typeface="+mn-ea"/>
                  <a:cs typeface="+mn-cs"/>
                </a:defRPr>
              </a:lvl1pPr>
              <a:lvl2pPr marL="389763" algn="l" defTabSz="779526" rtl="0" eaLnBrk="1" latinLnBrk="0" hangingPunct="1">
                <a:defRPr sz="1535" kern="1200">
                  <a:solidFill>
                    <a:schemeClr val="tx1"/>
                  </a:solidFill>
                  <a:latin typeface="+mn-lt"/>
                  <a:ea typeface="+mn-ea"/>
                  <a:cs typeface="+mn-cs"/>
                </a:defRPr>
              </a:lvl2pPr>
              <a:lvl3pPr marL="779526" algn="l" defTabSz="779526" rtl="0" eaLnBrk="1" latinLnBrk="0" hangingPunct="1">
                <a:defRPr sz="1535" kern="1200">
                  <a:solidFill>
                    <a:schemeClr val="tx1"/>
                  </a:solidFill>
                  <a:latin typeface="+mn-lt"/>
                  <a:ea typeface="+mn-ea"/>
                  <a:cs typeface="+mn-cs"/>
                </a:defRPr>
              </a:lvl3pPr>
              <a:lvl4pPr marL="1169289" algn="l" defTabSz="779526" rtl="0" eaLnBrk="1" latinLnBrk="0" hangingPunct="1">
                <a:defRPr sz="1535" kern="1200">
                  <a:solidFill>
                    <a:schemeClr val="tx1"/>
                  </a:solidFill>
                  <a:latin typeface="+mn-lt"/>
                  <a:ea typeface="+mn-ea"/>
                  <a:cs typeface="+mn-cs"/>
                </a:defRPr>
              </a:lvl4pPr>
              <a:lvl5pPr marL="1559052" algn="l" defTabSz="779526" rtl="0" eaLnBrk="1" latinLnBrk="0" hangingPunct="1">
                <a:defRPr sz="1535" kern="1200">
                  <a:solidFill>
                    <a:schemeClr val="tx1"/>
                  </a:solidFill>
                  <a:latin typeface="+mn-lt"/>
                  <a:ea typeface="+mn-ea"/>
                  <a:cs typeface="+mn-cs"/>
                </a:defRPr>
              </a:lvl5pPr>
              <a:lvl6pPr marL="1948815" algn="l" defTabSz="779526" rtl="0" eaLnBrk="1" latinLnBrk="0" hangingPunct="1">
                <a:defRPr sz="1535" kern="1200">
                  <a:solidFill>
                    <a:schemeClr val="tx1"/>
                  </a:solidFill>
                  <a:latin typeface="+mn-lt"/>
                  <a:ea typeface="+mn-ea"/>
                  <a:cs typeface="+mn-cs"/>
                </a:defRPr>
              </a:lvl6pPr>
              <a:lvl7pPr marL="2338578" algn="l" defTabSz="779526" rtl="0" eaLnBrk="1" latinLnBrk="0" hangingPunct="1">
                <a:defRPr sz="1535" kern="1200">
                  <a:solidFill>
                    <a:schemeClr val="tx1"/>
                  </a:solidFill>
                  <a:latin typeface="+mn-lt"/>
                  <a:ea typeface="+mn-ea"/>
                  <a:cs typeface="+mn-cs"/>
                </a:defRPr>
              </a:lvl7pPr>
              <a:lvl8pPr marL="2728341" algn="l" defTabSz="779526" rtl="0" eaLnBrk="1" latinLnBrk="0" hangingPunct="1">
                <a:defRPr sz="1535" kern="1200">
                  <a:solidFill>
                    <a:schemeClr val="tx1"/>
                  </a:solidFill>
                  <a:latin typeface="+mn-lt"/>
                  <a:ea typeface="+mn-ea"/>
                  <a:cs typeface="+mn-cs"/>
                </a:defRPr>
              </a:lvl8pPr>
              <a:lvl9pPr marL="3118104" algn="l" defTabSz="779526" rtl="0" eaLnBrk="1" latinLnBrk="0" hangingPunct="1">
                <a:defRPr sz="1535" kern="1200">
                  <a:solidFill>
                    <a:schemeClr val="tx1"/>
                  </a:solidFill>
                  <a:latin typeface="+mn-lt"/>
                  <a:ea typeface="+mn-ea"/>
                  <a:cs typeface="+mn-cs"/>
                </a:defRPr>
              </a:lvl9pPr>
            </a:lstStyle>
            <a:p>
              <a:pPr eaLnBrk="1" hangingPunct="1">
                <a:spcBef>
                  <a:spcPct val="20000"/>
                </a:spcBef>
                <a:buClr>
                  <a:srgbClr val="0084C2"/>
                </a:buClr>
                <a:buSzPct val="130000"/>
                <a:buFont typeface="Times New Roman" pitchFamily="18" charset="0"/>
                <a:buNone/>
              </a:pPr>
              <a:endParaRPr lang="en-US" altLang="de-DE" sz="1276">
                <a:solidFill>
                  <a:schemeClr val="tx1"/>
                </a:solidFill>
                <a:latin typeface="Arial" charset="0"/>
              </a:endParaRPr>
            </a:p>
          </p:txBody>
        </p:sp>
        <p:sp>
          <p:nvSpPr>
            <p:cNvPr id="55315" name="Rectangle 22"/>
            <p:cNvSpPr>
              <a:spLocks noChangeArrowheads="1"/>
            </p:cNvSpPr>
            <p:nvPr/>
          </p:nvSpPr>
          <p:spPr bwMode="auto">
            <a:xfrm>
              <a:off x="5227" y="1289"/>
              <a:ext cx="450" cy="202"/>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defPPr>
                <a:defRPr lang="de-DE"/>
              </a:defPPr>
              <a:lvl1pPr marL="0" algn="l" defTabSz="779526" rtl="0" eaLnBrk="1" latinLnBrk="0" hangingPunct="1">
                <a:defRPr sz="1535" kern="1200">
                  <a:solidFill>
                    <a:schemeClr val="tx1"/>
                  </a:solidFill>
                  <a:latin typeface="+mn-lt"/>
                  <a:ea typeface="+mn-ea"/>
                  <a:cs typeface="+mn-cs"/>
                </a:defRPr>
              </a:lvl1pPr>
              <a:lvl2pPr marL="389763" algn="l" defTabSz="779526" rtl="0" eaLnBrk="1" latinLnBrk="0" hangingPunct="1">
                <a:defRPr sz="1535" kern="1200">
                  <a:solidFill>
                    <a:schemeClr val="tx1"/>
                  </a:solidFill>
                  <a:latin typeface="+mn-lt"/>
                  <a:ea typeface="+mn-ea"/>
                  <a:cs typeface="+mn-cs"/>
                </a:defRPr>
              </a:lvl2pPr>
              <a:lvl3pPr marL="779526" algn="l" defTabSz="779526" rtl="0" eaLnBrk="1" latinLnBrk="0" hangingPunct="1">
                <a:defRPr sz="1535" kern="1200">
                  <a:solidFill>
                    <a:schemeClr val="tx1"/>
                  </a:solidFill>
                  <a:latin typeface="+mn-lt"/>
                  <a:ea typeface="+mn-ea"/>
                  <a:cs typeface="+mn-cs"/>
                </a:defRPr>
              </a:lvl3pPr>
              <a:lvl4pPr marL="1169289" algn="l" defTabSz="779526" rtl="0" eaLnBrk="1" latinLnBrk="0" hangingPunct="1">
                <a:defRPr sz="1535" kern="1200">
                  <a:solidFill>
                    <a:schemeClr val="tx1"/>
                  </a:solidFill>
                  <a:latin typeface="+mn-lt"/>
                  <a:ea typeface="+mn-ea"/>
                  <a:cs typeface="+mn-cs"/>
                </a:defRPr>
              </a:lvl4pPr>
              <a:lvl5pPr marL="1559052" algn="l" defTabSz="779526" rtl="0" eaLnBrk="1" latinLnBrk="0" hangingPunct="1">
                <a:defRPr sz="1535" kern="1200">
                  <a:solidFill>
                    <a:schemeClr val="tx1"/>
                  </a:solidFill>
                  <a:latin typeface="+mn-lt"/>
                  <a:ea typeface="+mn-ea"/>
                  <a:cs typeface="+mn-cs"/>
                </a:defRPr>
              </a:lvl5pPr>
              <a:lvl6pPr marL="1948815" algn="l" defTabSz="779526" rtl="0" eaLnBrk="1" latinLnBrk="0" hangingPunct="1">
                <a:defRPr sz="1535" kern="1200">
                  <a:solidFill>
                    <a:schemeClr val="tx1"/>
                  </a:solidFill>
                  <a:latin typeface="+mn-lt"/>
                  <a:ea typeface="+mn-ea"/>
                  <a:cs typeface="+mn-cs"/>
                </a:defRPr>
              </a:lvl6pPr>
              <a:lvl7pPr marL="2338578" algn="l" defTabSz="779526" rtl="0" eaLnBrk="1" latinLnBrk="0" hangingPunct="1">
                <a:defRPr sz="1535" kern="1200">
                  <a:solidFill>
                    <a:schemeClr val="tx1"/>
                  </a:solidFill>
                  <a:latin typeface="+mn-lt"/>
                  <a:ea typeface="+mn-ea"/>
                  <a:cs typeface="+mn-cs"/>
                </a:defRPr>
              </a:lvl7pPr>
              <a:lvl8pPr marL="2728341" algn="l" defTabSz="779526" rtl="0" eaLnBrk="1" latinLnBrk="0" hangingPunct="1">
                <a:defRPr sz="1535" kern="1200">
                  <a:solidFill>
                    <a:schemeClr val="tx1"/>
                  </a:solidFill>
                  <a:latin typeface="+mn-lt"/>
                  <a:ea typeface="+mn-ea"/>
                  <a:cs typeface="+mn-cs"/>
                </a:defRPr>
              </a:lvl8pPr>
              <a:lvl9pPr marL="3118104" algn="l" defTabSz="779526" rtl="0" eaLnBrk="1" latinLnBrk="0" hangingPunct="1">
                <a:defRPr sz="1535" kern="1200">
                  <a:solidFill>
                    <a:schemeClr val="tx1"/>
                  </a:solidFill>
                  <a:latin typeface="+mn-lt"/>
                  <a:ea typeface="+mn-ea"/>
                  <a:cs typeface="+mn-cs"/>
                </a:defRPr>
              </a:lvl9pPr>
            </a:lstStyle>
            <a:p>
              <a:pPr algn="ctr" eaLnBrk="1" hangingPunct="1">
                <a:spcBef>
                  <a:spcPct val="20000"/>
                </a:spcBef>
                <a:buClr>
                  <a:srgbClr val="0084C2"/>
                </a:buClr>
                <a:buSzPct val="130000"/>
                <a:buFont typeface="Times New Roman" pitchFamily="18" charset="0"/>
                <a:buNone/>
              </a:pPr>
              <a:r>
                <a:rPr lang="en-US" altLang="de-DE" sz="1126">
                  <a:solidFill>
                    <a:schemeClr val="tx1"/>
                  </a:solidFill>
                  <a:latin typeface="Arial" charset="0"/>
                </a:rPr>
                <a:t>U-turn</a:t>
              </a:r>
            </a:p>
          </p:txBody>
        </p:sp>
        <p:sp>
          <p:nvSpPr>
            <p:cNvPr id="55316" name="Line 23"/>
            <p:cNvSpPr>
              <a:spLocks noChangeShapeType="1"/>
            </p:cNvSpPr>
            <p:nvPr/>
          </p:nvSpPr>
          <p:spPr bwMode="auto">
            <a:xfrm flipH="1" flipV="1">
              <a:off x="4662" y="1389"/>
              <a:ext cx="590" cy="0"/>
            </a:xfrm>
            <a:prstGeom prst="line">
              <a:avLst/>
            </a:prstGeom>
            <a:noFill/>
            <a:ln w="15875">
              <a:solidFill>
                <a:schemeClr val="tx1"/>
              </a:solidFill>
              <a:prstDash val="sysDot"/>
              <a:round/>
              <a:headEnd/>
              <a:tailEnd type="stealth"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de-DE"/>
              </a:defPPr>
              <a:lvl1pPr marL="0" algn="l" defTabSz="779526" rtl="0" eaLnBrk="1" latinLnBrk="0" hangingPunct="1">
                <a:defRPr sz="1535" kern="1200">
                  <a:solidFill>
                    <a:schemeClr val="tx1"/>
                  </a:solidFill>
                  <a:latin typeface="+mn-lt"/>
                  <a:ea typeface="+mn-ea"/>
                  <a:cs typeface="+mn-cs"/>
                </a:defRPr>
              </a:lvl1pPr>
              <a:lvl2pPr marL="389763" algn="l" defTabSz="779526" rtl="0" eaLnBrk="1" latinLnBrk="0" hangingPunct="1">
                <a:defRPr sz="1535" kern="1200">
                  <a:solidFill>
                    <a:schemeClr val="tx1"/>
                  </a:solidFill>
                  <a:latin typeface="+mn-lt"/>
                  <a:ea typeface="+mn-ea"/>
                  <a:cs typeface="+mn-cs"/>
                </a:defRPr>
              </a:lvl2pPr>
              <a:lvl3pPr marL="779526" algn="l" defTabSz="779526" rtl="0" eaLnBrk="1" latinLnBrk="0" hangingPunct="1">
                <a:defRPr sz="1535" kern="1200">
                  <a:solidFill>
                    <a:schemeClr val="tx1"/>
                  </a:solidFill>
                  <a:latin typeface="+mn-lt"/>
                  <a:ea typeface="+mn-ea"/>
                  <a:cs typeface="+mn-cs"/>
                </a:defRPr>
              </a:lvl3pPr>
              <a:lvl4pPr marL="1169289" algn="l" defTabSz="779526" rtl="0" eaLnBrk="1" latinLnBrk="0" hangingPunct="1">
                <a:defRPr sz="1535" kern="1200">
                  <a:solidFill>
                    <a:schemeClr val="tx1"/>
                  </a:solidFill>
                  <a:latin typeface="+mn-lt"/>
                  <a:ea typeface="+mn-ea"/>
                  <a:cs typeface="+mn-cs"/>
                </a:defRPr>
              </a:lvl4pPr>
              <a:lvl5pPr marL="1559052" algn="l" defTabSz="779526" rtl="0" eaLnBrk="1" latinLnBrk="0" hangingPunct="1">
                <a:defRPr sz="1535" kern="1200">
                  <a:solidFill>
                    <a:schemeClr val="tx1"/>
                  </a:solidFill>
                  <a:latin typeface="+mn-lt"/>
                  <a:ea typeface="+mn-ea"/>
                  <a:cs typeface="+mn-cs"/>
                </a:defRPr>
              </a:lvl5pPr>
              <a:lvl6pPr marL="1948815" algn="l" defTabSz="779526" rtl="0" eaLnBrk="1" latinLnBrk="0" hangingPunct="1">
                <a:defRPr sz="1535" kern="1200">
                  <a:solidFill>
                    <a:schemeClr val="tx1"/>
                  </a:solidFill>
                  <a:latin typeface="+mn-lt"/>
                  <a:ea typeface="+mn-ea"/>
                  <a:cs typeface="+mn-cs"/>
                </a:defRPr>
              </a:lvl6pPr>
              <a:lvl7pPr marL="2338578" algn="l" defTabSz="779526" rtl="0" eaLnBrk="1" latinLnBrk="0" hangingPunct="1">
                <a:defRPr sz="1535" kern="1200">
                  <a:solidFill>
                    <a:schemeClr val="tx1"/>
                  </a:solidFill>
                  <a:latin typeface="+mn-lt"/>
                  <a:ea typeface="+mn-ea"/>
                  <a:cs typeface="+mn-cs"/>
                </a:defRPr>
              </a:lvl7pPr>
              <a:lvl8pPr marL="2728341" algn="l" defTabSz="779526" rtl="0" eaLnBrk="1" latinLnBrk="0" hangingPunct="1">
                <a:defRPr sz="1535" kern="1200">
                  <a:solidFill>
                    <a:schemeClr val="tx1"/>
                  </a:solidFill>
                  <a:latin typeface="+mn-lt"/>
                  <a:ea typeface="+mn-ea"/>
                  <a:cs typeface="+mn-cs"/>
                </a:defRPr>
              </a:lvl8pPr>
              <a:lvl9pPr marL="3118104" algn="l" defTabSz="779526" rtl="0" eaLnBrk="1" latinLnBrk="0" hangingPunct="1">
                <a:defRPr sz="1535" kern="1200">
                  <a:solidFill>
                    <a:schemeClr val="tx1"/>
                  </a:solidFill>
                  <a:latin typeface="+mn-lt"/>
                  <a:ea typeface="+mn-ea"/>
                  <a:cs typeface="+mn-cs"/>
                </a:defRPr>
              </a:lvl9pPr>
            </a:lstStyle>
            <a:p>
              <a:endParaRPr lang="de-DE" sz="1152"/>
            </a:p>
          </p:txBody>
        </p:sp>
      </p:grpSp>
      <p:grpSp>
        <p:nvGrpSpPr>
          <p:cNvPr id="55305" name="Group 40"/>
          <p:cNvGrpSpPr>
            <a:grpSpLocks/>
          </p:cNvGrpSpPr>
          <p:nvPr/>
        </p:nvGrpSpPr>
        <p:grpSpPr bwMode="auto">
          <a:xfrm>
            <a:off x="4493346" y="2358429"/>
            <a:ext cx="2159410" cy="1944899"/>
            <a:chOff x="4073" y="1979"/>
            <a:chExt cx="1812" cy="1632"/>
          </a:xfrm>
        </p:grpSpPr>
        <p:sp>
          <p:nvSpPr>
            <p:cNvPr id="55311" name="Rectangle 30"/>
            <p:cNvSpPr>
              <a:spLocks noChangeArrowheads="1"/>
            </p:cNvSpPr>
            <p:nvPr/>
          </p:nvSpPr>
          <p:spPr bwMode="auto">
            <a:xfrm>
              <a:off x="5263" y="2884"/>
              <a:ext cx="622" cy="727"/>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defPPr>
                <a:defRPr lang="de-DE"/>
              </a:defPPr>
              <a:lvl1pPr marL="0" algn="l" defTabSz="779526" rtl="0" eaLnBrk="1" latinLnBrk="0" hangingPunct="1">
                <a:defRPr sz="1535" kern="1200">
                  <a:solidFill>
                    <a:schemeClr val="tx1"/>
                  </a:solidFill>
                  <a:latin typeface="+mn-lt"/>
                  <a:ea typeface="+mn-ea"/>
                  <a:cs typeface="+mn-cs"/>
                </a:defRPr>
              </a:lvl1pPr>
              <a:lvl2pPr marL="389763" algn="l" defTabSz="779526" rtl="0" eaLnBrk="1" latinLnBrk="0" hangingPunct="1">
                <a:defRPr sz="1535" kern="1200">
                  <a:solidFill>
                    <a:schemeClr val="tx1"/>
                  </a:solidFill>
                  <a:latin typeface="+mn-lt"/>
                  <a:ea typeface="+mn-ea"/>
                  <a:cs typeface="+mn-cs"/>
                </a:defRPr>
              </a:lvl2pPr>
              <a:lvl3pPr marL="779526" algn="l" defTabSz="779526" rtl="0" eaLnBrk="1" latinLnBrk="0" hangingPunct="1">
                <a:defRPr sz="1535" kern="1200">
                  <a:solidFill>
                    <a:schemeClr val="tx1"/>
                  </a:solidFill>
                  <a:latin typeface="+mn-lt"/>
                  <a:ea typeface="+mn-ea"/>
                  <a:cs typeface="+mn-cs"/>
                </a:defRPr>
              </a:lvl3pPr>
              <a:lvl4pPr marL="1169289" algn="l" defTabSz="779526" rtl="0" eaLnBrk="1" latinLnBrk="0" hangingPunct="1">
                <a:defRPr sz="1535" kern="1200">
                  <a:solidFill>
                    <a:schemeClr val="tx1"/>
                  </a:solidFill>
                  <a:latin typeface="+mn-lt"/>
                  <a:ea typeface="+mn-ea"/>
                  <a:cs typeface="+mn-cs"/>
                </a:defRPr>
              </a:lvl4pPr>
              <a:lvl5pPr marL="1559052" algn="l" defTabSz="779526" rtl="0" eaLnBrk="1" latinLnBrk="0" hangingPunct="1">
                <a:defRPr sz="1535" kern="1200">
                  <a:solidFill>
                    <a:schemeClr val="tx1"/>
                  </a:solidFill>
                  <a:latin typeface="+mn-lt"/>
                  <a:ea typeface="+mn-ea"/>
                  <a:cs typeface="+mn-cs"/>
                </a:defRPr>
              </a:lvl5pPr>
              <a:lvl6pPr marL="1948815" algn="l" defTabSz="779526" rtl="0" eaLnBrk="1" latinLnBrk="0" hangingPunct="1">
                <a:defRPr sz="1535" kern="1200">
                  <a:solidFill>
                    <a:schemeClr val="tx1"/>
                  </a:solidFill>
                  <a:latin typeface="+mn-lt"/>
                  <a:ea typeface="+mn-ea"/>
                  <a:cs typeface="+mn-cs"/>
                </a:defRPr>
              </a:lvl6pPr>
              <a:lvl7pPr marL="2338578" algn="l" defTabSz="779526" rtl="0" eaLnBrk="1" latinLnBrk="0" hangingPunct="1">
                <a:defRPr sz="1535" kern="1200">
                  <a:solidFill>
                    <a:schemeClr val="tx1"/>
                  </a:solidFill>
                  <a:latin typeface="+mn-lt"/>
                  <a:ea typeface="+mn-ea"/>
                  <a:cs typeface="+mn-cs"/>
                </a:defRPr>
              </a:lvl7pPr>
              <a:lvl8pPr marL="2728341" algn="l" defTabSz="779526" rtl="0" eaLnBrk="1" latinLnBrk="0" hangingPunct="1">
                <a:defRPr sz="1535" kern="1200">
                  <a:solidFill>
                    <a:schemeClr val="tx1"/>
                  </a:solidFill>
                  <a:latin typeface="+mn-lt"/>
                  <a:ea typeface="+mn-ea"/>
                  <a:cs typeface="+mn-cs"/>
                </a:defRPr>
              </a:lvl8pPr>
              <a:lvl9pPr marL="3118104" algn="l" defTabSz="779526" rtl="0" eaLnBrk="1" latinLnBrk="0" hangingPunct="1">
                <a:defRPr sz="1535" kern="1200">
                  <a:solidFill>
                    <a:schemeClr val="tx1"/>
                  </a:solidFill>
                  <a:latin typeface="+mn-lt"/>
                  <a:ea typeface="+mn-ea"/>
                  <a:cs typeface="+mn-cs"/>
                </a:defRPr>
              </a:lvl9pPr>
            </a:lstStyle>
            <a:p>
              <a:pPr algn="ctr" eaLnBrk="1" hangingPunct="1">
                <a:spcBef>
                  <a:spcPct val="20000"/>
                </a:spcBef>
                <a:buClr>
                  <a:srgbClr val="0084C2"/>
                </a:buClr>
                <a:buSzPct val="130000"/>
                <a:buFont typeface="Times New Roman" pitchFamily="18" charset="0"/>
                <a:buNone/>
              </a:pPr>
              <a:r>
                <a:rPr lang="en-US" altLang="de-DE" sz="1126">
                  <a:solidFill>
                    <a:schemeClr val="tx1"/>
                  </a:solidFill>
                  <a:latin typeface="Arial" charset="0"/>
                </a:rPr>
                <a:t>Metering </a:t>
              </a:r>
            </a:p>
            <a:p>
              <a:pPr algn="ctr" eaLnBrk="1" hangingPunct="1">
                <a:spcBef>
                  <a:spcPct val="20000"/>
                </a:spcBef>
                <a:buClr>
                  <a:srgbClr val="0084C2"/>
                </a:buClr>
                <a:buSzPct val="130000"/>
                <a:buFont typeface="Times New Roman" pitchFamily="18" charset="0"/>
                <a:buNone/>
              </a:pPr>
              <a:r>
                <a:rPr lang="en-US" altLang="de-DE" sz="1126">
                  <a:solidFill>
                    <a:schemeClr val="tx1"/>
                  </a:solidFill>
                  <a:latin typeface="Arial" charset="0"/>
                </a:rPr>
                <a:t>section </a:t>
              </a:r>
            </a:p>
            <a:p>
              <a:pPr algn="ctr" eaLnBrk="1" hangingPunct="1">
                <a:spcBef>
                  <a:spcPct val="20000"/>
                </a:spcBef>
                <a:buClr>
                  <a:srgbClr val="0084C2"/>
                </a:buClr>
                <a:buSzPct val="130000"/>
                <a:buFont typeface="Times New Roman" pitchFamily="18" charset="0"/>
                <a:buNone/>
              </a:pPr>
              <a:endParaRPr lang="en-US" altLang="de-DE" sz="1126">
                <a:solidFill>
                  <a:schemeClr val="tx1"/>
                </a:solidFill>
                <a:latin typeface="Arial" charset="0"/>
              </a:endParaRPr>
            </a:p>
            <a:p>
              <a:pPr algn="ctr" eaLnBrk="1" hangingPunct="1">
                <a:spcBef>
                  <a:spcPct val="20000"/>
                </a:spcBef>
                <a:buClr>
                  <a:srgbClr val="0084C2"/>
                </a:buClr>
                <a:buSzPct val="130000"/>
                <a:buFont typeface="Times New Roman" pitchFamily="18" charset="0"/>
                <a:buNone/>
              </a:pPr>
              <a:endParaRPr lang="en-US" altLang="de-DE" sz="1126">
                <a:solidFill>
                  <a:schemeClr val="tx1"/>
                </a:solidFill>
                <a:latin typeface="Arial" charset="0"/>
              </a:endParaRPr>
            </a:p>
          </p:txBody>
        </p:sp>
        <p:sp>
          <p:nvSpPr>
            <p:cNvPr id="55312" name="Line 31"/>
            <p:cNvSpPr>
              <a:spLocks noChangeShapeType="1"/>
            </p:cNvSpPr>
            <p:nvPr/>
          </p:nvSpPr>
          <p:spPr bwMode="auto">
            <a:xfrm flipH="1" flipV="1">
              <a:off x="4118" y="2205"/>
              <a:ext cx="1134" cy="771"/>
            </a:xfrm>
            <a:prstGeom prst="line">
              <a:avLst/>
            </a:prstGeom>
            <a:noFill/>
            <a:ln w="15875">
              <a:solidFill>
                <a:schemeClr val="tx1"/>
              </a:solidFill>
              <a:prstDash val="sysDot"/>
              <a:round/>
              <a:headEnd/>
              <a:tailEnd type="stealth"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de-DE"/>
              </a:defPPr>
              <a:lvl1pPr marL="0" algn="l" defTabSz="779526" rtl="0" eaLnBrk="1" latinLnBrk="0" hangingPunct="1">
                <a:defRPr sz="1535" kern="1200">
                  <a:solidFill>
                    <a:schemeClr val="tx1"/>
                  </a:solidFill>
                  <a:latin typeface="+mn-lt"/>
                  <a:ea typeface="+mn-ea"/>
                  <a:cs typeface="+mn-cs"/>
                </a:defRPr>
              </a:lvl1pPr>
              <a:lvl2pPr marL="389763" algn="l" defTabSz="779526" rtl="0" eaLnBrk="1" latinLnBrk="0" hangingPunct="1">
                <a:defRPr sz="1535" kern="1200">
                  <a:solidFill>
                    <a:schemeClr val="tx1"/>
                  </a:solidFill>
                  <a:latin typeface="+mn-lt"/>
                  <a:ea typeface="+mn-ea"/>
                  <a:cs typeface="+mn-cs"/>
                </a:defRPr>
              </a:lvl2pPr>
              <a:lvl3pPr marL="779526" algn="l" defTabSz="779526" rtl="0" eaLnBrk="1" latinLnBrk="0" hangingPunct="1">
                <a:defRPr sz="1535" kern="1200">
                  <a:solidFill>
                    <a:schemeClr val="tx1"/>
                  </a:solidFill>
                  <a:latin typeface="+mn-lt"/>
                  <a:ea typeface="+mn-ea"/>
                  <a:cs typeface="+mn-cs"/>
                </a:defRPr>
              </a:lvl3pPr>
              <a:lvl4pPr marL="1169289" algn="l" defTabSz="779526" rtl="0" eaLnBrk="1" latinLnBrk="0" hangingPunct="1">
                <a:defRPr sz="1535" kern="1200">
                  <a:solidFill>
                    <a:schemeClr val="tx1"/>
                  </a:solidFill>
                  <a:latin typeface="+mn-lt"/>
                  <a:ea typeface="+mn-ea"/>
                  <a:cs typeface="+mn-cs"/>
                </a:defRPr>
              </a:lvl4pPr>
              <a:lvl5pPr marL="1559052" algn="l" defTabSz="779526" rtl="0" eaLnBrk="1" latinLnBrk="0" hangingPunct="1">
                <a:defRPr sz="1535" kern="1200">
                  <a:solidFill>
                    <a:schemeClr val="tx1"/>
                  </a:solidFill>
                  <a:latin typeface="+mn-lt"/>
                  <a:ea typeface="+mn-ea"/>
                  <a:cs typeface="+mn-cs"/>
                </a:defRPr>
              </a:lvl5pPr>
              <a:lvl6pPr marL="1948815" algn="l" defTabSz="779526" rtl="0" eaLnBrk="1" latinLnBrk="0" hangingPunct="1">
                <a:defRPr sz="1535" kern="1200">
                  <a:solidFill>
                    <a:schemeClr val="tx1"/>
                  </a:solidFill>
                  <a:latin typeface="+mn-lt"/>
                  <a:ea typeface="+mn-ea"/>
                  <a:cs typeface="+mn-cs"/>
                </a:defRPr>
              </a:lvl6pPr>
              <a:lvl7pPr marL="2338578" algn="l" defTabSz="779526" rtl="0" eaLnBrk="1" latinLnBrk="0" hangingPunct="1">
                <a:defRPr sz="1535" kern="1200">
                  <a:solidFill>
                    <a:schemeClr val="tx1"/>
                  </a:solidFill>
                  <a:latin typeface="+mn-lt"/>
                  <a:ea typeface="+mn-ea"/>
                  <a:cs typeface="+mn-cs"/>
                </a:defRPr>
              </a:lvl7pPr>
              <a:lvl8pPr marL="2728341" algn="l" defTabSz="779526" rtl="0" eaLnBrk="1" latinLnBrk="0" hangingPunct="1">
                <a:defRPr sz="1535" kern="1200">
                  <a:solidFill>
                    <a:schemeClr val="tx1"/>
                  </a:solidFill>
                  <a:latin typeface="+mn-lt"/>
                  <a:ea typeface="+mn-ea"/>
                  <a:cs typeface="+mn-cs"/>
                </a:defRPr>
              </a:lvl8pPr>
              <a:lvl9pPr marL="3118104" algn="l" defTabSz="779526" rtl="0" eaLnBrk="1" latinLnBrk="0" hangingPunct="1">
                <a:defRPr sz="1535" kern="1200">
                  <a:solidFill>
                    <a:schemeClr val="tx1"/>
                  </a:solidFill>
                  <a:latin typeface="+mn-lt"/>
                  <a:ea typeface="+mn-ea"/>
                  <a:cs typeface="+mn-cs"/>
                </a:defRPr>
              </a:lvl9pPr>
            </a:lstStyle>
            <a:p>
              <a:endParaRPr lang="de-DE" sz="1152"/>
            </a:p>
          </p:txBody>
        </p:sp>
        <p:sp>
          <p:nvSpPr>
            <p:cNvPr id="55313" name="AutoShape 32"/>
            <p:cNvSpPr>
              <a:spLocks noChangeArrowheads="1"/>
            </p:cNvSpPr>
            <p:nvPr/>
          </p:nvSpPr>
          <p:spPr bwMode="auto">
            <a:xfrm rot="10800000">
              <a:off x="4073" y="1979"/>
              <a:ext cx="136" cy="363"/>
            </a:xfrm>
            <a:prstGeom prst="upArrow">
              <a:avLst>
                <a:gd name="adj1" fmla="val 50000"/>
                <a:gd name="adj2" fmla="val 66728"/>
              </a:avLst>
            </a:prstGeom>
            <a:solidFill>
              <a:srgbClr val="FFFF00"/>
            </a:solidFill>
            <a:ln>
              <a:noFill/>
            </a:ln>
            <a:effectLst/>
            <a:extLs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de-DE"/>
              </a:defPPr>
              <a:lvl1pPr marL="0" algn="l" defTabSz="779526" rtl="0" eaLnBrk="1" latinLnBrk="0" hangingPunct="1">
                <a:defRPr sz="1535" kern="1200">
                  <a:solidFill>
                    <a:schemeClr val="tx1"/>
                  </a:solidFill>
                  <a:latin typeface="+mn-lt"/>
                  <a:ea typeface="+mn-ea"/>
                  <a:cs typeface="+mn-cs"/>
                </a:defRPr>
              </a:lvl1pPr>
              <a:lvl2pPr marL="389763" algn="l" defTabSz="779526" rtl="0" eaLnBrk="1" latinLnBrk="0" hangingPunct="1">
                <a:defRPr sz="1535" kern="1200">
                  <a:solidFill>
                    <a:schemeClr val="tx1"/>
                  </a:solidFill>
                  <a:latin typeface="+mn-lt"/>
                  <a:ea typeface="+mn-ea"/>
                  <a:cs typeface="+mn-cs"/>
                </a:defRPr>
              </a:lvl2pPr>
              <a:lvl3pPr marL="779526" algn="l" defTabSz="779526" rtl="0" eaLnBrk="1" latinLnBrk="0" hangingPunct="1">
                <a:defRPr sz="1535" kern="1200">
                  <a:solidFill>
                    <a:schemeClr val="tx1"/>
                  </a:solidFill>
                  <a:latin typeface="+mn-lt"/>
                  <a:ea typeface="+mn-ea"/>
                  <a:cs typeface="+mn-cs"/>
                </a:defRPr>
              </a:lvl3pPr>
              <a:lvl4pPr marL="1169289" algn="l" defTabSz="779526" rtl="0" eaLnBrk="1" latinLnBrk="0" hangingPunct="1">
                <a:defRPr sz="1535" kern="1200">
                  <a:solidFill>
                    <a:schemeClr val="tx1"/>
                  </a:solidFill>
                  <a:latin typeface="+mn-lt"/>
                  <a:ea typeface="+mn-ea"/>
                  <a:cs typeface="+mn-cs"/>
                </a:defRPr>
              </a:lvl4pPr>
              <a:lvl5pPr marL="1559052" algn="l" defTabSz="779526" rtl="0" eaLnBrk="1" latinLnBrk="0" hangingPunct="1">
                <a:defRPr sz="1535" kern="1200">
                  <a:solidFill>
                    <a:schemeClr val="tx1"/>
                  </a:solidFill>
                  <a:latin typeface="+mn-lt"/>
                  <a:ea typeface="+mn-ea"/>
                  <a:cs typeface="+mn-cs"/>
                </a:defRPr>
              </a:lvl5pPr>
              <a:lvl6pPr marL="1948815" algn="l" defTabSz="779526" rtl="0" eaLnBrk="1" latinLnBrk="0" hangingPunct="1">
                <a:defRPr sz="1535" kern="1200">
                  <a:solidFill>
                    <a:schemeClr val="tx1"/>
                  </a:solidFill>
                  <a:latin typeface="+mn-lt"/>
                  <a:ea typeface="+mn-ea"/>
                  <a:cs typeface="+mn-cs"/>
                </a:defRPr>
              </a:lvl6pPr>
              <a:lvl7pPr marL="2338578" algn="l" defTabSz="779526" rtl="0" eaLnBrk="1" latinLnBrk="0" hangingPunct="1">
                <a:defRPr sz="1535" kern="1200">
                  <a:solidFill>
                    <a:schemeClr val="tx1"/>
                  </a:solidFill>
                  <a:latin typeface="+mn-lt"/>
                  <a:ea typeface="+mn-ea"/>
                  <a:cs typeface="+mn-cs"/>
                </a:defRPr>
              </a:lvl7pPr>
              <a:lvl8pPr marL="2728341" algn="l" defTabSz="779526" rtl="0" eaLnBrk="1" latinLnBrk="0" hangingPunct="1">
                <a:defRPr sz="1535" kern="1200">
                  <a:solidFill>
                    <a:schemeClr val="tx1"/>
                  </a:solidFill>
                  <a:latin typeface="+mn-lt"/>
                  <a:ea typeface="+mn-ea"/>
                  <a:cs typeface="+mn-cs"/>
                </a:defRPr>
              </a:lvl8pPr>
              <a:lvl9pPr marL="3118104" algn="l" defTabSz="779526" rtl="0" eaLnBrk="1" latinLnBrk="0" hangingPunct="1">
                <a:defRPr sz="1535" kern="1200">
                  <a:solidFill>
                    <a:schemeClr val="tx1"/>
                  </a:solidFill>
                  <a:latin typeface="+mn-lt"/>
                  <a:ea typeface="+mn-ea"/>
                  <a:cs typeface="+mn-cs"/>
                </a:defRPr>
              </a:lvl9pPr>
            </a:lstStyle>
            <a:p>
              <a:pPr eaLnBrk="1" hangingPunct="1">
                <a:spcBef>
                  <a:spcPct val="20000"/>
                </a:spcBef>
                <a:buClr>
                  <a:srgbClr val="0084C2"/>
                </a:buClr>
                <a:buSzPct val="130000"/>
                <a:buFont typeface="Times New Roman" pitchFamily="18" charset="0"/>
                <a:buNone/>
              </a:pPr>
              <a:endParaRPr lang="en-US" altLang="de-DE" sz="1276">
                <a:solidFill>
                  <a:schemeClr val="tx1"/>
                </a:solidFill>
                <a:latin typeface="Arial" charset="0"/>
              </a:endParaRPr>
            </a:p>
          </p:txBody>
        </p:sp>
      </p:grpSp>
      <p:grpSp>
        <p:nvGrpSpPr>
          <p:cNvPr id="55306" name="Group 38"/>
          <p:cNvGrpSpPr>
            <a:grpSpLocks/>
          </p:cNvGrpSpPr>
          <p:nvPr/>
        </p:nvGrpSpPr>
        <p:grpSpPr bwMode="auto">
          <a:xfrm>
            <a:off x="5195274" y="2310760"/>
            <a:ext cx="1415772" cy="480266"/>
            <a:chOff x="4662" y="1939"/>
            <a:chExt cx="1188" cy="403"/>
          </a:xfrm>
        </p:grpSpPr>
        <p:sp>
          <p:nvSpPr>
            <p:cNvPr id="55308" name="Rectangle 26"/>
            <p:cNvSpPr>
              <a:spLocks noChangeArrowheads="1"/>
            </p:cNvSpPr>
            <p:nvPr/>
          </p:nvSpPr>
          <p:spPr bwMode="auto">
            <a:xfrm>
              <a:off x="5091" y="1939"/>
              <a:ext cx="759" cy="375"/>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defPPr>
                <a:defRPr lang="de-DE"/>
              </a:defPPr>
              <a:lvl1pPr marL="0" algn="l" defTabSz="779526" rtl="0" eaLnBrk="1" latinLnBrk="0" hangingPunct="1">
                <a:defRPr sz="1535" kern="1200">
                  <a:solidFill>
                    <a:schemeClr val="tx1"/>
                  </a:solidFill>
                  <a:latin typeface="+mn-lt"/>
                  <a:ea typeface="+mn-ea"/>
                  <a:cs typeface="+mn-cs"/>
                </a:defRPr>
              </a:lvl1pPr>
              <a:lvl2pPr marL="389763" algn="l" defTabSz="779526" rtl="0" eaLnBrk="1" latinLnBrk="0" hangingPunct="1">
                <a:defRPr sz="1535" kern="1200">
                  <a:solidFill>
                    <a:schemeClr val="tx1"/>
                  </a:solidFill>
                  <a:latin typeface="+mn-lt"/>
                  <a:ea typeface="+mn-ea"/>
                  <a:cs typeface="+mn-cs"/>
                </a:defRPr>
              </a:lvl2pPr>
              <a:lvl3pPr marL="779526" algn="l" defTabSz="779526" rtl="0" eaLnBrk="1" latinLnBrk="0" hangingPunct="1">
                <a:defRPr sz="1535" kern="1200">
                  <a:solidFill>
                    <a:schemeClr val="tx1"/>
                  </a:solidFill>
                  <a:latin typeface="+mn-lt"/>
                  <a:ea typeface="+mn-ea"/>
                  <a:cs typeface="+mn-cs"/>
                </a:defRPr>
              </a:lvl3pPr>
              <a:lvl4pPr marL="1169289" algn="l" defTabSz="779526" rtl="0" eaLnBrk="1" latinLnBrk="0" hangingPunct="1">
                <a:defRPr sz="1535" kern="1200">
                  <a:solidFill>
                    <a:schemeClr val="tx1"/>
                  </a:solidFill>
                  <a:latin typeface="+mn-lt"/>
                  <a:ea typeface="+mn-ea"/>
                  <a:cs typeface="+mn-cs"/>
                </a:defRPr>
              </a:lvl4pPr>
              <a:lvl5pPr marL="1559052" algn="l" defTabSz="779526" rtl="0" eaLnBrk="1" latinLnBrk="0" hangingPunct="1">
                <a:defRPr sz="1535" kern="1200">
                  <a:solidFill>
                    <a:schemeClr val="tx1"/>
                  </a:solidFill>
                  <a:latin typeface="+mn-lt"/>
                  <a:ea typeface="+mn-ea"/>
                  <a:cs typeface="+mn-cs"/>
                </a:defRPr>
              </a:lvl5pPr>
              <a:lvl6pPr marL="1948815" algn="l" defTabSz="779526" rtl="0" eaLnBrk="1" latinLnBrk="0" hangingPunct="1">
                <a:defRPr sz="1535" kern="1200">
                  <a:solidFill>
                    <a:schemeClr val="tx1"/>
                  </a:solidFill>
                  <a:latin typeface="+mn-lt"/>
                  <a:ea typeface="+mn-ea"/>
                  <a:cs typeface="+mn-cs"/>
                </a:defRPr>
              </a:lvl6pPr>
              <a:lvl7pPr marL="2338578" algn="l" defTabSz="779526" rtl="0" eaLnBrk="1" latinLnBrk="0" hangingPunct="1">
                <a:defRPr sz="1535" kern="1200">
                  <a:solidFill>
                    <a:schemeClr val="tx1"/>
                  </a:solidFill>
                  <a:latin typeface="+mn-lt"/>
                  <a:ea typeface="+mn-ea"/>
                  <a:cs typeface="+mn-cs"/>
                </a:defRPr>
              </a:lvl7pPr>
              <a:lvl8pPr marL="2728341" algn="l" defTabSz="779526" rtl="0" eaLnBrk="1" latinLnBrk="0" hangingPunct="1">
                <a:defRPr sz="1535" kern="1200">
                  <a:solidFill>
                    <a:schemeClr val="tx1"/>
                  </a:solidFill>
                  <a:latin typeface="+mn-lt"/>
                  <a:ea typeface="+mn-ea"/>
                  <a:cs typeface="+mn-cs"/>
                </a:defRPr>
              </a:lvl8pPr>
              <a:lvl9pPr marL="3118104" algn="l" defTabSz="779526" rtl="0" eaLnBrk="1" latinLnBrk="0" hangingPunct="1">
                <a:defRPr sz="1535" kern="1200">
                  <a:solidFill>
                    <a:schemeClr val="tx1"/>
                  </a:solidFill>
                  <a:latin typeface="+mn-lt"/>
                  <a:ea typeface="+mn-ea"/>
                  <a:cs typeface="+mn-cs"/>
                </a:defRPr>
              </a:lvl9pPr>
            </a:lstStyle>
            <a:p>
              <a:pPr algn="ctr" eaLnBrk="1" hangingPunct="1">
                <a:spcBef>
                  <a:spcPct val="20000"/>
                </a:spcBef>
                <a:buClr>
                  <a:srgbClr val="0084C2"/>
                </a:buClr>
                <a:buSzPct val="130000"/>
                <a:buFont typeface="Times New Roman" pitchFamily="18" charset="0"/>
                <a:buNone/>
              </a:pPr>
              <a:r>
                <a:rPr lang="en-US" altLang="de-DE" sz="1126">
                  <a:solidFill>
                    <a:schemeClr val="tx1"/>
                  </a:solidFill>
                  <a:latin typeface="Arial" charset="0"/>
                </a:rPr>
                <a:t>Flow </a:t>
              </a:r>
            </a:p>
            <a:p>
              <a:pPr algn="ctr" eaLnBrk="1" hangingPunct="1">
                <a:spcBef>
                  <a:spcPct val="20000"/>
                </a:spcBef>
                <a:buClr>
                  <a:srgbClr val="0084C2"/>
                </a:buClr>
                <a:buSzPct val="130000"/>
                <a:buFont typeface="Times New Roman" pitchFamily="18" charset="0"/>
                <a:buNone/>
              </a:pPr>
              <a:r>
                <a:rPr lang="en-US" altLang="de-DE" sz="1126">
                  <a:solidFill>
                    <a:schemeClr val="tx1"/>
                  </a:solidFill>
                  <a:latin typeface="Arial" charset="0"/>
                </a:rPr>
                <a:t>conditioning</a:t>
              </a:r>
            </a:p>
          </p:txBody>
        </p:sp>
        <p:sp>
          <p:nvSpPr>
            <p:cNvPr id="55309" name="Line 27"/>
            <p:cNvSpPr>
              <a:spLocks noChangeShapeType="1"/>
            </p:cNvSpPr>
            <p:nvPr/>
          </p:nvSpPr>
          <p:spPr bwMode="auto">
            <a:xfrm flipH="1" flipV="1">
              <a:off x="4889" y="2069"/>
              <a:ext cx="318" cy="0"/>
            </a:xfrm>
            <a:prstGeom prst="line">
              <a:avLst/>
            </a:prstGeom>
            <a:noFill/>
            <a:ln w="15875">
              <a:solidFill>
                <a:schemeClr val="tx1"/>
              </a:solidFill>
              <a:prstDash val="sysDot"/>
              <a:round/>
              <a:headEnd/>
              <a:tailEnd type="stealth"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de-DE"/>
              </a:defPPr>
              <a:lvl1pPr marL="0" algn="l" defTabSz="779526" rtl="0" eaLnBrk="1" latinLnBrk="0" hangingPunct="1">
                <a:defRPr sz="1535" kern="1200">
                  <a:solidFill>
                    <a:schemeClr val="tx1"/>
                  </a:solidFill>
                  <a:latin typeface="+mn-lt"/>
                  <a:ea typeface="+mn-ea"/>
                  <a:cs typeface="+mn-cs"/>
                </a:defRPr>
              </a:lvl1pPr>
              <a:lvl2pPr marL="389763" algn="l" defTabSz="779526" rtl="0" eaLnBrk="1" latinLnBrk="0" hangingPunct="1">
                <a:defRPr sz="1535" kern="1200">
                  <a:solidFill>
                    <a:schemeClr val="tx1"/>
                  </a:solidFill>
                  <a:latin typeface="+mn-lt"/>
                  <a:ea typeface="+mn-ea"/>
                  <a:cs typeface="+mn-cs"/>
                </a:defRPr>
              </a:lvl2pPr>
              <a:lvl3pPr marL="779526" algn="l" defTabSz="779526" rtl="0" eaLnBrk="1" latinLnBrk="0" hangingPunct="1">
                <a:defRPr sz="1535" kern="1200">
                  <a:solidFill>
                    <a:schemeClr val="tx1"/>
                  </a:solidFill>
                  <a:latin typeface="+mn-lt"/>
                  <a:ea typeface="+mn-ea"/>
                  <a:cs typeface="+mn-cs"/>
                </a:defRPr>
              </a:lvl3pPr>
              <a:lvl4pPr marL="1169289" algn="l" defTabSz="779526" rtl="0" eaLnBrk="1" latinLnBrk="0" hangingPunct="1">
                <a:defRPr sz="1535" kern="1200">
                  <a:solidFill>
                    <a:schemeClr val="tx1"/>
                  </a:solidFill>
                  <a:latin typeface="+mn-lt"/>
                  <a:ea typeface="+mn-ea"/>
                  <a:cs typeface="+mn-cs"/>
                </a:defRPr>
              </a:lvl4pPr>
              <a:lvl5pPr marL="1559052" algn="l" defTabSz="779526" rtl="0" eaLnBrk="1" latinLnBrk="0" hangingPunct="1">
                <a:defRPr sz="1535" kern="1200">
                  <a:solidFill>
                    <a:schemeClr val="tx1"/>
                  </a:solidFill>
                  <a:latin typeface="+mn-lt"/>
                  <a:ea typeface="+mn-ea"/>
                  <a:cs typeface="+mn-cs"/>
                </a:defRPr>
              </a:lvl5pPr>
              <a:lvl6pPr marL="1948815" algn="l" defTabSz="779526" rtl="0" eaLnBrk="1" latinLnBrk="0" hangingPunct="1">
                <a:defRPr sz="1535" kern="1200">
                  <a:solidFill>
                    <a:schemeClr val="tx1"/>
                  </a:solidFill>
                  <a:latin typeface="+mn-lt"/>
                  <a:ea typeface="+mn-ea"/>
                  <a:cs typeface="+mn-cs"/>
                </a:defRPr>
              </a:lvl6pPr>
              <a:lvl7pPr marL="2338578" algn="l" defTabSz="779526" rtl="0" eaLnBrk="1" latinLnBrk="0" hangingPunct="1">
                <a:defRPr sz="1535" kern="1200">
                  <a:solidFill>
                    <a:schemeClr val="tx1"/>
                  </a:solidFill>
                  <a:latin typeface="+mn-lt"/>
                  <a:ea typeface="+mn-ea"/>
                  <a:cs typeface="+mn-cs"/>
                </a:defRPr>
              </a:lvl7pPr>
              <a:lvl8pPr marL="2728341" algn="l" defTabSz="779526" rtl="0" eaLnBrk="1" latinLnBrk="0" hangingPunct="1">
                <a:defRPr sz="1535" kern="1200">
                  <a:solidFill>
                    <a:schemeClr val="tx1"/>
                  </a:solidFill>
                  <a:latin typeface="+mn-lt"/>
                  <a:ea typeface="+mn-ea"/>
                  <a:cs typeface="+mn-cs"/>
                </a:defRPr>
              </a:lvl8pPr>
              <a:lvl9pPr marL="3118104" algn="l" defTabSz="779526" rtl="0" eaLnBrk="1" latinLnBrk="0" hangingPunct="1">
                <a:defRPr sz="1535" kern="1200">
                  <a:solidFill>
                    <a:schemeClr val="tx1"/>
                  </a:solidFill>
                  <a:latin typeface="+mn-lt"/>
                  <a:ea typeface="+mn-ea"/>
                  <a:cs typeface="+mn-cs"/>
                </a:defRPr>
              </a:lvl9pPr>
            </a:lstStyle>
            <a:p>
              <a:endParaRPr lang="de-DE" sz="1152"/>
            </a:p>
          </p:txBody>
        </p:sp>
        <p:sp>
          <p:nvSpPr>
            <p:cNvPr id="55310" name="AutoShape 33"/>
            <p:cNvSpPr>
              <a:spLocks noChangeArrowheads="1"/>
            </p:cNvSpPr>
            <p:nvPr/>
          </p:nvSpPr>
          <p:spPr bwMode="auto">
            <a:xfrm>
              <a:off x="4662" y="1979"/>
              <a:ext cx="136" cy="363"/>
            </a:xfrm>
            <a:prstGeom prst="upArrow">
              <a:avLst>
                <a:gd name="adj1" fmla="val 50000"/>
                <a:gd name="adj2" fmla="val 66728"/>
              </a:avLst>
            </a:prstGeom>
            <a:solidFill>
              <a:srgbClr val="FFFF00"/>
            </a:solidFill>
            <a:ln>
              <a:noFill/>
            </a:ln>
            <a:effectLst/>
            <a:extLs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de-DE"/>
              </a:defPPr>
              <a:lvl1pPr marL="0" algn="l" defTabSz="779526" rtl="0" eaLnBrk="1" latinLnBrk="0" hangingPunct="1">
                <a:defRPr sz="1535" kern="1200">
                  <a:solidFill>
                    <a:schemeClr val="tx1"/>
                  </a:solidFill>
                  <a:latin typeface="+mn-lt"/>
                  <a:ea typeface="+mn-ea"/>
                  <a:cs typeface="+mn-cs"/>
                </a:defRPr>
              </a:lvl1pPr>
              <a:lvl2pPr marL="389763" algn="l" defTabSz="779526" rtl="0" eaLnBrk="1" latinLnBrk="0" hangingPunct="1">
                <a:defRPr sz="1535" kern="1200">
                  <a:solidFill>
                    <a:schemeClr val="tx1"/>
                  </a:solidFill>
                  <a:latin typeface="+mn-lt"/>
                  <a:ea typeface="+mn-ea"/>
                  <a:cs typeface="+mn-cs"/>
                </a:defRPr>
              </a:lvl2pPr>
              <a:lvl3pPr marL="779526" algn="l" defTabSz="779526" rtl="0" eaLnBrk="1" latinLnBrk="0" hangingPunct="1">
                <a:defRPr sz="1535" kern="1200">
                  <a:solidFill>
                    <a:schemeClr val="tx1"/>
                  </a:solidFill>
                  <a:latin typeface="+mn-lt"/>
                  <a:ea typeface="+mn-ea"/>
                  <a:cs typeface="+mn-cs"/>
                </a:defRPr>
              </a:lvl3pPr>
              <a:lvl4pPr marL="1169289" algn="l" defTabSz="779526" rtl="0" eaLnBrk="1" latinLnBrk="0" hangingPunct="1">
                <a:defRPr sz="1535" kern="1200">
                  <a:solidFill>
                    <a:schemeClr val="tx1"/>
                  </a:solidFill>
                  <a:latin typeface="+mn-lt"/>
                  <a:ea typeface="+mn-ea"/>
                  <a:cs typeface="+mn-cs"/>
                </a:defRPr>
              </a:lvl4pPr>
              <a:lvl5pPr marL="1559052" algn="l" defTabSz="779526" rtl="0" eaLnBrk="1" latinLnBrk="0" hangingPunct="1">
                <a:defRPr sz="1535" kern="1200">
                  <a:solidFill>
                    <a:schemeClr val="tx1"/>
                  </a:solidFill>
                  <a:latin typeface="+mn-lt"/>
                  <a:ea typeface="+mn-ea"/>
                  <a:cs typeface="+mn-cs"/>
                </a:defRPr>
              </a:lvl5pPr>
              <a:lvl6pPr marL="1948815" algn="l" defTabSz="779526" rtl="0" eaLnBrk="1" latinLnBrk="0" hangingPunct="1">
                <a:defRPr sz="1535" kern="1200">
                  <a:solidFill>
                    <a:schemeClr val="tx1"/>
                  </a:solidFill>
                  <a:latin typeface="+mn-lt"/>
                  <a:ea typeface="+mn-ea"/>
                  <a:cs typeface="+mn-cs"/>
                </a:defRPr>
              </a:lvl6pPr>
              <a:lvl7pPr marL="2338578" algn="l" defTabSz="779526" rtl="0" eaLnBrk="1" latinLnBrk="0" hangingPunct="1">
                <a:defRPr sz="1535" kern="1200">
                  <a:solidFill>
                    <a:schemeClr val="tx1"/>
                  </a:solidFill>
                  <a:latin typeface="+mn-lt"/>
                  <a:ea typeface="+mn-ea"/>
                  <a:cs typeface="+mn-cs"/>
                </a:defRPr>
              </a:lvl7pPr>
              <a:lvl8pPr marL="2728341" algn="l" defTabSz="779526" rtl="0" eaLnBrk="1" latinLnBrk="0" hangingPunct="1">
                <a:defRPr sz="1535" kern="1200">
                  <a:solidFill>
                    <a:schemeClr val="tx1"/>
                  </a:solidFill>
                  <a:latin typeface="+mn-lt"/>
                  <a:ea typeface="+mn-ea"/>
                  <a:cs typeface="+mn-cs"/>
                </a:defRPr>
              </a:lvl8pPr>
              <a:lvl9pPr marL="3118104" algn="l" defTabSz="779526" rtl="0" eaLnBrk="1" latinLnBrk="0" hangingPunct="1">
                <a:defRPr sz="1535" kern="1200">
                  <a:solidFill>
                    <a:schemeClr val="tx1"/>
                  </a:solidFill>
                  <a:latin typeface="+mn-lt"/>
                  <a:ea typeface="+mn-ea"/>
                  <a:cs typeface="+mn-cs"/>
                </a:defRPr>
              </a:lvl9pPr>
            </a:lstStyle>
            <a:p>
              <a:pPr eaLnBrk="1" hangingPunct="1">
                <a:spcBef>
                  <a:spcPct val="20000"/>
                </a:spcBef>
                <a:buClr>
                  <a:srgbClr val="0084C2"/>
                </a:buClr>
                <a:buSzPct val="130000"/>
                <a:buFont typeface="Times New Roman" pitchFamily="18" charset="0"/>
                <a:buNone/>
              </a:pPr>
              <a:endParaRPr lang="en-US" altLang="de-DE" sz="1276">
                <a:solidFill>
                  <a:schemeClr val="tx1"/>
                </a:solidFill>
                <a:latin typeface="Arial" charset="0"/>
              </a:endParaRPr>
            </a:p>
          </p:txBody>
        </p:sp>
      </p:grpSp>
      <p:pic>
        <p:nvPicPr>
          <p:cNvPr id="55307"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03968" y="1094006"/>
            <a:ext cx="2359620" cy="34536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2" name="Fußzeilenplatzhalter 2"/>
          <p:cNvSpPr>
            <a:spLocks noGrp="1"/>
          </p:cNvSpPr>
          <p:nvPr>
            <p:ph type="ftr" sz="quarter" idx="4294967295"/>
          </p:nvPr>
        </p:nvSpPr>
        <p:spPr>
          <a:xfrm>
            <a:off x="2024894" y="4994749"/>
            <a:ext cx="5094213" cy="135125"/>
          </a:xfrm>
          <a:prstGeom prst="rect">
            <a:avLst/>
          </a:prstGeom>
        </p:spPr>
        <p:txBody>
          <a:bodyPr/>
          <a:lstStyle>
            <a:defPPr>
              <a:defRPr lang="de-DE"/>
            </a:defPPr>
            <a:lvl1pPr marL="0" algn="l" defTabSz="585190" rtl="0" eaLnBrk="1" latinLnBrk="0" hangingPunct="1">
              <a:defRPr sz="1152" kern="1200">
                <a:solidFill>
                  <a:schemeClr val="tx1"/>
                </a:solidFill>
                <a:latin typeface="+mn-lt"/>
                <a:ea typeface="+mn-ea"/>
                <a:cs typeface="+mn-cs"/>
              </a:defRPr>
            </a:lvl1pPr>
            <a:lvl2pPr marL="292595" algn="l" defTabSz="585190" rtl="0" eaLnBrk="1" latinLnBrk="0" hangingPunct="1">
              <a:defRPr sz="1152" kern="1200">
                <a:solidFill>
                  <a:schemeClr val="tx1"/>
                </a:solidFill>
                <a:latin typeface="+mn-lt"/>
                <a:ea typeface="+mn-ea"/>
                <a:cs typeface="+mn-cs"/>
              </a:defRPr>
            </a:lvl2pPr>
            <a:lvl3pPr marL="585190" algn="l" defTabSz="585190" rtl="0" eaLnBrk="1" latinLnBrk="0" hangingPunct="1">
              <a:defRPr sz="1152" kern="1200">
                <a:solidFill>
                  <a:schemeClr val="tx1"/>
                </a:solidFill>
                <a:latin typeface="+mn-lt"/>
                <a:ea typeface="+mn-ea"/>
                <a:cs typeface="+mn-cs"/>
              </a:defRPr>
            </a:lvl3pPr>
            <a:lvl4pPr marL="877785" algn="l" defTabSz="585190" rtl="0" eaLnBrk="1" latinLnBrk="0" hangingPunct="1">
              <a:defRPr sz="1152" kern="1200">
                <a:solidFill>
                  <a:schemeClr val="tx1"/>
                </a:solidFill>
                <a:latin typeface="+mn-lt"/>
                <a:ea typeface="+mn-ea"/>
                <a:cs typeface="+mn-cs"/>
              </a:defRPr>
            </a:lvl4pPr>
            <a:lvl5pPr marL="1170380" algn="l" defTabSz="585190" rtl="0" eaLnBrk="1" latinLnBrk="0" hangingPunct="1">
              <a:defRPr sz="1152" kern="1200">
                <a:solidFill>
                  <a:schemeClr val="tx1"/>
                </a:solidFill>
                <a:latin typeface="+mn-lt"/>
                <a:ea typeface="+mn-ea"/>
                <a:cs typeface="+mn-cs"/>
              </a:defRPr>
            </a:lvl5pPr>
            <a:lvl6pPr marL="1462975" algn="l" defTabSz="585190" rtl="0" eaLnBrk="1" latinLnBrk="0" hangingPunct="1">
              <a:defRPr sz="1152" kern="1200">
                <a:solidFill>
                  <a:schemeClr val="tx1"/>
                </a:solidFill>
                <a:latin typeface="+mn-lt"/>
                <a:ea typeface="+mn-ea"/>
                <a:cs typeface="+mn-cs"/>
              </a:defRPr>
            </a:lvl6pPr>
            <a:lvl7pPr marL="1755571" algn="l" defTabSz="585190" rtl="0" eaLnBrk="1" latinLnBrk="0" hangingPunct="1">
              <a:defRPr sz="1152" kern="1200">
                <a:solidFill>
                  <a:schemeClr val="tx1"/>
                </a:solidFill>
                <a:latin typeface="+mn-lt"/>
                <a:ea typeface="+mn-ea"/>
                <a:cs typeface="+mn-cs"/>
              </a:defRPr>
            </a:lvl7pPr>
            <a:lvl8pPr marL="2048166" algn="l" defTabSz="585190" rtl="0" eaLnBrk="1" latinLnBrk="0" hangingPunct="1">
              <a:defRPr sz="1152" kern="1200">
                <a:solidFill>
                  <a:schemeClr val="tx1"/>
                </a:solidFill>
                <a:latin typeface="+mn-lt"/>
                <a:ea typeface="+mn-ea"/>
                <a:cs typeface="+mn-cs"/>
              </a:defRPr>
            </a:lvl8pPr>
            <a:lvl9pPr marL="2340761" algn="l" defTabSz="585190" rtl="0" eaLnBrk="1" latinLnBrk="0" hangingPunct="1">
              <a:defRPr sz="1152" kern="1200">
                <a:solidFill>
                  <a:schemeClr val="tx1"/>
                </a:solidFill>
                <a:latin typeface="+mn-lt"/>
                <a:ea typeface="+mn-ea"/>
                <a:cs typeface="+mn-cs"/>
              </a:defRPr>
            </a:lvl9pPr>
          </a:lstStyle>
          <a:p>
            <a:r>
              <a:rPr lang="de-DE" sz="676">
                <a:solidFill>
                  <a:schemeClr val="tx2"/>
                </a:solidFill>
              </a:rPr>
              <a:t>Alexander Schütze | FLOW Solution - FLOWSIC500</a:t>
            </a:r>
          </a:p>
        </p:txBody>
      </p:sp>
      <p:sp>
        <p:nvSpPr>
          <p:cNvPr id="24" name="Datumsplatzhalter 7"/>
          <p:cNvSpPr>
            <a:spLocks noGrp="1"/>
          </p:cNvSpPr>
          <p:nvPr>
            <p:ph type="dt" sz="half" idx="4294967295"/>
          </p:nvPr>
        </p:nvSpPr>
        <p:spPr>
          <a:xfrm>
            <a:off x="1248375" y="4994749"/>
            <a:ext cx="677871" cy="135125"/>
          </a:xfrm>
          <a:prstGeom prst="rect">
            <a:avLst/>
          </a:prstGeom>
        </p:spPr>
        <p:txBody>
          <a:bodyPr/>
          <a:lstStyle>
            <a:defPPr>
              <a:defRPr lang="de-DE"/>
            </a:defPPr>
            <a:lvl1pPr marL="0" algn="l" defTabSz="585190" rtl="0" eaLnBrk="1" latinLnBrk="0" hangingPunct="1">
              <a:defRPr sz="1152" kern="1200">
                <a:solidFill>
                  <a:schemeClr val="tx1"/>
                </a:solidFill>
                <a:latin typeface="+mn-lt"/>
                <a:ea typeface="+mn-ea"/>
                <a:cs typeface="+mn-cs"/>
              </a:defRPr>
            </a:lvl1pPr>
            <a:lvl2pPr marL="292595" algn="l" defTabSz="585190" rtl="0" eaLnBrk="1" latinLnBrk="0" hangingPunct="1">
              <a:defRPr sz="1152" kern="1200">
                <a:solidFill>
                  <a:schemeClr val="tx1"/>
                </a:solidFill>
                <a:latin typeface="+mn-lt"/>
                <a:ea typeface="+mn-ea"/>
                <a:cs typeface="+mn-cs"/>
              </a:defRPr>
            </a:lvl2pPr>
            <a:lvl3pPr marL="585190" algn="l" defTabSz="585190" rtl="0" eaLnBrk="1" latinLnBrk="0" hangingPunct="1">
              <a:defRPr sz="1152" kern="1200">
                <a:solidFill>
                  <a:schemeClr val="tx1"/>
                </a:solidFill>
                <a:latin typeface="+mn-lt"/>
                <a:ea typeface="+mn-ea"/>
                <a:cs typeface="+mn-cs"/>
              </a:defRPr>
            </a:lvl3pPr>
            <a:lvl4pPr marL="877785" algn="l" defTabSz="585190" rtl="0" eaLnBrk="1" latinLnBrk="0" hangingPunct="1">
              <a:defRPr sz="1152" kern="1200">
                <a:solidFill>
                  <a:schemeClr val="tx1"/>
                </a:solidFill>
                <a:latin typeface="+mn-lt"/>
                <a:ea typeface="+mn-ea"/>
                <a:cs typeface="+mn-cs"/>
              </a:defRPr>
            </a:lvl4pPr>
            <a:lvl5pPr marL="1170380" algn="l" defTabSz="585190" rtl="0" eaLnBrk="1" latinLnBrk="0" hangingPunct="1">
              <a:defRPr sz="1152" kern="1200">
                <a:solidFill>
                  <a:schemeClr val="tx1"/>
                </a:solidFill>
                <a:latin typeface="+mn-lt"/>
                <a:ea typeface="+mn-ea"/>
                <a:cs typeface="+mn-cs"/>
              </a:defRPr>
            </a:lvl5pPr>
            <a:lvl6pPr marL="1462975" algn="l" defTabSz="585190" rtl="0" eaLnBrk="1" latinLnBrk="0" hangingPunct="1">
              <a:defRPr sz="1152" kern="1200">
                <a:solidFill>
                  <a:schemeClr val="tx1"/>
                </a:solidFill>
                <a:latin typeface="+mn-lt"/>
                <a:ea typeface="+mn-ea"/>
                <a:cs typeface="+mn-cs"/>
              </a:defRPr>
            </a:lvl6pPr>
            <a:lvl7pPr marL="1755571" algn="l" defTabSz="585190" rtl="0" eaLnBrk="1" latinLnBrk="0" hangingPunct="1">
              <a:defRPr sz="1152" kern="1200">
                <a:solidFill>
                  <a:schemeClr val="tx1"/>
                </a:solidFill>
                <a:latin typeface="+mn-lt"/>
                <a:ea typeface="+mn-ea"/>
                <a:cs typeface="+mn-cs"/>
              </a:defRPr>
            </a:lvl7pPr>
            <a:lvl8pPr marL="2048166" algn="l" defTabSz="585190" rtl="0" eaLnBrk="1" latinLnBrk="0" hangingPunct="1">
              <a:defRPr sz="1152" kern="1200">
                <a:solidFill>
                  <a:schemeClr val="tx1"/>
                </a:solidFill>
                <a:latin typeface="+mn-lt"/>
                <a:ea typeface="+mn-ea"/>
                <a:cs typeface="+mn-cs"/>
              </a:defRPr>
            </a:lvl8pPr>
            <a:lvl9pPr marL="2340761" algn="l" defTabSz="585190" rtl="0" eaLnBrk="1" latinLnBrk="0" hangingPunct="1">
              <a:defRPr sz="1152" kern="1200">
                <a:solidFill>
                  <a:schemeClr val="tx1"/>
                </a:solidFill>
                <a:latin typeface="+mn-lt"/>
                <a:ea typeface="+mn-ea"/>
                <a:cs typeface="+mn-cs"/>
              </a:defRPr>
            </a:lvl9pPr>
          </a:lstStyle>
          <a:p>
            <a:r>
              <a:rPr lang="en-US" sz="676"/>
              <a:t>September 2017</a:t>
            </a:r>
            <a:endParaRPr lang="de-DE" sz="676"/>
          </a:p>
        </p:txBody>
      </p:sp>
    </p:spTree>
    <p:extLst>
      <p:ext uri="{BB962C8B-B14F-4D97-AF65-F5344CB8AC3E}">
        <p14:creationId xmlns:p14="http://schemas.microsoft.com/office/powerpoint/2010/main" val="3688739909"/>
      </p:ext>
    </p:extLst>
  </p:cSld>
  <p:clrMapOvr>
    <a:masterClrMapping/>
  </p:clrMapOvr>
  <p:transition>
    <p:zoom/>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C3DE511-8882-E9D3-0B9E-CA2C53B9786B}"/>
              </a:ext>
            </a:extLst>
          </p:cNvPr>
          <p:cNvSpPr txBox="1"/>
          <p:nvPr/>
        </p:nvSpPr>
        <p:spPr>
          <a:xfrm>
            <a:off x="470950" y="3458220"/>
            <a:ext cx="8178036" cy="677108"/>
          </a:xfrm>
          <a:prstGeom prst="rect">
            <a:avLst/>
          </a:prstGeom>
          <a:noFill/>
        </p:spPr>
        <p:txBody>
          <a:bodyPr wrap="square" rtlCol="0">
            <a:spAutoFit/>
          </a:bodyPr>
          <a:lstStyle/>
          <a:p>
            <a:r>
              <a:rPr lang="en-US" sz="3800" dirty="0">
                <a:solidFill>
                  <a:schemeClr val="tx1">
                    <a:lumMod val="60000"/>
                    <a:lumOff val="40000"/>
                  </a:schemeClr>
                </a:solidFill>
              </a:rPr>
              <a:t>Thank You</a:t>
            </a:r>
          </a:p>
        </p:txBody>
      </p:sp>
    </p:spTree>
    <p:extLst>
      <p:ext uri="{BB962C8B-B14F-4D97-AF65-F5344CB8AC3E}">
        <p14:creationId xmlns:p14="http://schemas.microsoft.com/office/powerpoint/2010/main" val="3585397715"/>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close-up of a business card&#10;&#10;AI-generated content may be incorrect.">
            <a:extLst>
              <a:ext uri="{FF2B5EF4-FFF2-40B4-BE49-F238E27FC236}">
                <a16:creationId xmlns:a16="http://schemas.microsoft.com/office/drawing/2014/main" id="{EC325AAD-6A38-9A4C-5C70-BA20849D092F}"/>
              </a:ext>
            </a:extLst>
          </p:cNvPr>
          <p:cNvPicPr>
            <a:picLocks noChangeAspect="1"/>
          </p:cNvPicPr>
          <p:nvPr/>
        </p:nvPicPr>
        <p:blipFill>
          <a:blip r:embed="rId3"/>
          <a:stretch>
            <a:fillRect/>
          </a:stretch>
        </p:blipFill>
        <p:spPr>
          <a:xfrm>
            <a:off x="0" y="-36598"/>
            <a:ext cx="9300753" cy="5184862"/>
          </a:xfrm>
          <a:prstGeom prst="rect">
            <a:avLst/>
          </a:prstGeom>
        </p:spPr>
      </p:pic>
    </p:spTree>
    <p:extLst>
      <p:ext uri="{BB962C8B-B14F-4D97-AF65-F5344CB8AC3E}">
        <p14:creationId xmlns:p14="http://schemas.microsoft.com/office/powerpoint/2010/main" val="3186969709"/>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E1DD36-70C3-CDFD-6F7D-9FA275DBCF6A}"/>
              </a:ext>
            </a:extLst>
          </p:cNvPr>
          <p:cNvSpPr>
            <a:spLocks noGrp="1"/>
          </p:cNvSpPr>
          <p:nvPr>
            <p:ph type="title"/>
          </p:nvPr>
        </p:nvSpPr>
        <p:spPr/>
        <p:txBody>
          <a:bodyPr/>
          <a:lstStyle/>
          <a:p>
            <a:r>
              <a:rPr lang="en-US" dirty="0"/>
              <a:t>See How Ultrasonic Meters Operate</a:t>
            </a:r>
          </a:p>
        </p:txBody>
      </p:sp>
      <p:sp>
        <p:nvSpPr>
          <p:cNvPr id="3" name="Text Placeholder 2">
            <a:extLst>
              <a:ext uri="{FF2B5EF4-FFF2-40B4-BE49-F238E27FC236}">
                <a16:creationId xmlns:a16="http://schemas.microsoft.com/office/drawing/2014/main" id="{8A1CBF59-8FD2-0211-3202-B2F8BB72B155}"/>
              </a:ext>
            </a:extLst>
          </p:cNvPr>
          <p:cNvSpPr>
            <a:spLocks noGrp="1"/>
          </p:cNvSpPr>
          <p:nvPr>
            <p:ph type="body" sz="quarter" idx="15"/>
          </p:nvPr>
        </p:nvSpPr>
        <p:spPr/>
        <p:txBody>
          <a:bodyPr/>
          <a:lstStyle/>
          <a:p>
            <a:r>
              <a:rPr lang="en-US" sz="1400" u="sng" dirty="0">
                <a:solidFill>
                  <a:srgbClr val="0563C1"/>
                </a:solidFill>
                <a:effectLst/>
                <a:latin typeface="Aptos" panose="020B0004020202020204" pitchFamily="34" charset="0"/>
                <a:ea typeface="Aptos" panose="020B0004020202020204" pitchFamily="34" charset="0"/>
                <a:cs typeface="Aptos" panose="020B0004020202020204" pitchFamily="34" charset="0"/>
                <a:hlinkClick r:id="rId3"/>
              </a:rPr>
              <a:t>https://youtu.be/YYUr50_T-rs</a:t>
            </a:r>
            <a:endParaRPr lang="en-US" dirty="0">
              <a:latin typeface="+mn-lt"/>
            </a:endParaRPr>
          </a:p>
        </p:txBody>
      </p:sp>
    </p:spTree>
    <p:extLst>
      <p:ext uri="{BB962C8B-B14F-4D97-AF65-F5344CB8AC3E}">
        <p14:creationId xmlns:p14="http://schemas.microsoft.com/office/powerpoint/2010/main" val="1444817658"/>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9702FCB-1A7A-7105-00D3-534112642DB1}"/>
              </a:ext>
            </a:extLst>
          </p:cNvPr>
          <p:cNvSpPr>
            <a:spLocks noGrp="1"/>
          </p:cNvSpPr>
          <p:nvPr>
            <p:ph idx="1"/>
          </p:nvPr>
        </p:nvSpPr>
        <p:spPr>
          <a:xfrm>
            <a:off x="361951" y="1171546"/>
            <a:ext cx="4088130" cy="3312460"/>
          </a:xfrm>
        </p:spPr>
        <p:txBody>
          <a:bodyPr lIns="91440" tIns="45720" rIns="91440" bIns="45720" anchor="t"/>
          <a:lstStyle/>
          <a:p>
            <a:pPr marL="0" indent="0">
              <a:spcBef>
                <a:spcPts val="600"/>
              </a:spcBef>
              <a:spcAft>
                <a:spcPts val="600"/>
              </a:spcAft>
              <a:buNone/>
            </a:pPr>
            <a:r>
              <a:rPr lang="en-US" sz="1200" b="1" dirty="0"/>
              <a:t>Integrates data and alarms</a:t>
            </a:r>
            <a:r>
              <a:rPr lang="en-US" sz="1200" dirty="0"/>
              <a:t> from Intelis meters, sensors, and third-party sources into a </a:t>
            </a:r>
            <a:r>
              <a:rPr lang="en-US" sz="1200" b="1" dirty="0"/>
              <a:t>centralized monitoring hub </a:t>
            </a:r>
            <a:r>
              <a:rPr lang="en-US" sz="1200" dirty="0"/>
              <a:t>with management tools for </a:t>
            </a:r>
            <a:r>
              <a:rPr lang="en-US" sz="1200" b="1" dirty="0"/>
              <a:t>rapidly responding</a:t>
            </a:r>
            <a:r>
              <a:rPr lang="en-US" sz="1200" dirty="0"/>
              <a:t> to safety events </a:t>
            </a:r>
            <a:r>
              <a:rPr lang="en-US" sz="1200" b="1" dirty="0"/>
              <a:t>from the back office</a:t>
            </a:r>
          </a:p>
          <a:p>
            <a:pPr marL="0" indent="0">
              <a:buNone/>
            </a:pPr>
            <a:endParaRPr lang="en-US" sz="1100" dirty="0"/>
          </a:p>
          <a:p>
            <a:pPr>
              <a:spcBef>
                <a:spcPts val="599"/>
              </a:spcBef>
              <a:buClr>
                <a:srgbClr val="ED3024"/>
              </a:buClr>
              <a:buSzPts val="1199"/>
            </a:pPr>
            <a:r>
              <a:rPr lang="en-US" sz="1199" dirty="0">
                <a:solidFill>
                  <a:srgbClr val="434A52"/>
                </a:solidFill>
                <a:sym typeface="Arial"/>
              </a:rPr>
              <a:t>Use Cases: </a:t>
            </a:r>
          </a:p>
          <a:p>
            <a:pPr marL="171292" indent="-171292">
              <a:spcBef>
                <a:spcPts val="599"/>
              </a:spcBef>
              <a:buClr>
                <a:srgbClr val="ED3024"/>
              </a:buClr>
              <a:buSzPts val="1199"/>
              <a:buFont typeface="Merriweather Sans"/>
              <a:buChar char="»"/>
            </a:pPr>
            <a:r>
              <a:rPr lang="en-US" sz="1199" dirty="0">
                <a:solidFill>
                  <a:srgbClr val="434A52"/>
                </a:solidFill>
                <a:sym typeface="Arial"/>
              </a:rPr>
              <a:t>Rapid awareness of gas disconnect to improve customer service</a:t>
            </a:r>
          </a:p>
          <a:p>
            <a:pPr marL="171292" indent="-171292">
              <a:spcBef>
                <a:spcPts val="599"/>
              </a:spcBef>
              <a:buClr>
                <a:srgbClr val="ED3024"/>
              </a:buClr>
              <a:buSzPts val="1199"/>
              <a:buFont typeface="Merriweather Sans"/>
              <a:buChar char="»"/>
            </a:pPr>
            <a:r>
              <a:rPr lang="en-US" sz="1199" dirty="0">
                <a:solidFill>
                  <a:srgbClr val="434A52"/>
                </a:solidFill>
                <a:sym typeface="Arial"/>
              </a:rPr>
              <a:t>Identify systematic events associated with a given facility or distribution line</a:t>
            </a:r>
          </a:p>
          <a:p>
            <a:pPr marL="171292" indent="-171292">
              <a:spcBef>
                <a:spcPts val="599"/>
              </a:spcBef>
              <a:buClr>
                <a:srgbClr val="ED3024"/>
              </a:buClr>
              <a:buSzPts val="1199"/>
              <a:buFont typeface="Merriweather Sans"/>
              <a:buChar char="»"/>
            </a:pPr>
            <a:r>
              <a:rPr lang="en-US" sz="1199" dirty="0">
                <a:solidFill>
                  <a:srgbClr val="434A52"/>
                </a:solidFill>
                <a:sym typeface="Arial"/>
              </a:rPr>
              <a:t>Shut-off downstream service in response to upstream problems</a:t>
            </a:r>
          </a:p>
          <a:p>
            <a:pPr marL="171292" indent="-171292">
              <a:spcBef>
                <a:spcPts val="599"/>
              </a:spcBef>
              <a:buClr>
                <a:srgbClr val="ED3024"/>
              </a:buClr>
              <a:buSzPts val="1199"/>
              <a:buFont typeface="Merriweather Sans"/>
              <a:buChar char="»"/>
            </a:pPr>
            <a:r>
              <a:rPr lang="en-US" sz="1199" dirty="0">
                <a:solidFill>
                  <a:srgbClr val="434A52"/>
                </a:solidFill>
                <a:sym typeface="Arial"/>
              </a:rPr>
              <a:t>Proactively respond to severe weather, wildfires, natural disasters</a:t>
            </a:r>
          </a:p>
        </p:txBody>
      </p:sp>
      <p:sp>
        <p:nvSpPr>
          <p:cNvPr id="3" name="Title 2">
            <a:extLst>
              <a:ext uri="{FF2B5EF4-FFF2-40B4-BE49-F238E27FC236}">
                <a16:creationId xmlns:a16="http://schemas.microsoft.com/office/drawing/2014/main" id="{9FB0090D-0272-F362-D704-E3ABCB6DFE71}"/>
              </a:ext>
            </a:extLst>
          </p:cNvPr>
          <p:cNvSpPr>
            <a:spLocks noGrp="1"/>
          </p:cNvSpPr>
          <p:nvPr>
            <p:ph type="title"/>
          </p:nvPr>
        </p:nvSpPr>
        <p:spPr/>
        <p:txBody>
          <a:bodyPr/>
          <a:lstStyle/>
          <a:p>
            <a:r>
              <a:rPr lang="en-US" dirty="0"/>
              <a:t>Gas Distribution Safety</a:t>
            </a:r>
          </a:p>
        </p:txBody>
      </p:sp>
      <p:sp>
        <p:nvSpPr>
          <p:cNvPr id="4" name="Text Placeholder 3">
            <a:extLst>
              <a:ext uri="{FF2B5EF4-FFF2-40B4-BE49-F238E27FC236}">
                <a16:creationId xmlns:a16="http://schemas.microsoft.com/office/drawing/2014/main" id="{0F760138-D09A-B5DB-1202-50E0FEEF2640}"/>
              </a:ext>
            </a:extLst>
          </p:cNvPr>
          <p:cNvSpPr>
            <a:spLocks noGrp="1"/>
          </p:cNvSpPr>
          <p:nvPr>
            <p:ph type="body" sz="quarter" idx="15"/>
          </p:nvPr>
        </p:nvSpPr>
        <p:spPr/>
        <p:txBody>
          <a:bodyPr/>
          <a:lstStyle/>
          <a:p>
            <a:r>
              <a:rPr lang="en-US" dirty="0"/>
              <a:t>A solution for rapid identification and response to gas safety incidents</a:t>
            </a:r>
          </a:p>
        </p:txBody>
      </p:sp>
      <p:pic>
        <p:nvPicPr>
          <p:cNvPr id="6" name="Picture 5">
            <a:extLst>
              <a:ext uri="{FF2B5EF4-FFF2-40B4-BE49-F238E27FC236}">
                <a16:creationId xmlns:a16="http://schemas.microsoft.com/office/drawing/2014/main" id="{565AA77F-29B2-7BB3-8FE1-DCB634A6E4F0}"/>
              </a:ext>
            </a:extLst>
          </p:cNvPr>
          <p:cNvPicPr>
            <a:picLocks noChangeAspect="1"/>
          </p:cNvPicPr>
          <p:nvPr/>
        </p:nvPicPr>
        <p:blipFill>
          <a:blip r:embed="rId4"/>
          <a:stretch>
            <a:fillRect/>
          </a:stretch>
        </p:blipFill>
        <p:spPr>
          <a:xfrm>
            <a:off x="4787583" y="1050987"/>
            <a:ext cx="2620521" cy="1988405"/>
          </a:xfrm>
          <a:prstGeom prst="rect">
            <a:avLst/>
          </a:prstGeom>
        </p:spPr>
      </p:pic>
      <p:pic>
        <p:nvPicPr>
          <p:cNvPr id="7" name="Picture 6">
            <a:extLst>
              <a:ext uri="{FF2B5EF4-FFF2-40B4-BE49-F238E27FC236}">
                <a16:creationId xmlns:a16="http://schemas.microsoft.com/office/drawing/2014/main" id="{6F00AF12-72B0-0654-615D-C1F3B63769E7}"/>
              </a:ext>
            </a:extLst>
          </p:cNvPr>
          <p:cNvPicPr>
            <a:picLocks noChangeAspect="1"/>
          </p:cNvPicPr>
          <p:nvPr/>
        </p:nvPicPr>
        <p:blipFill>
          <a:blip r:embed="rId5"/>
          <a:stretch>
            <a:fillRect/>
          </a:stretch>
        </p:blipFill>
        <p:spPr>
          <a:xfrm>
            <a:off x="5882260" y="2743542"/>
            <a:ext cx="3086100" cy="1740464"/>
          </a:xfrm>
          <a:prstGeom prst="rect">
            <a:avLst/>
          </a:prstGeom>
        </p:spPr>
      </p:pic>
      <p:sp>
        <p:nvSpPr>
          <p:cNvPr id="9" name="TextBox 8">
            <a:extLst>
              <a:ext uri="{FF2B5EF4-FFF2-40B4-BE49-F238E27FC236}">
                <a16:creationId xmlns:a16="http://schemas.microsoft.com/office/drawing/2014/main" id="{DE21DFE4-03B9-618C-E5EA-FB659397D0AC}"/>
              </a:ext>
            </a:extLst>
          </p:cNvPr>
          <p:cNvSpPr txBox="1"/>
          <p:nvPr/>
        </p:nvSpPr>
        <p:spPr>
          <a:xfrm>
            <a:off x="7513379" y="1293551"/>
            <a:ext cx="2427695" cy="830997"/>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1"/>
                </a:solidFill>
                <a:effectLst/>
                <a:uLnTx/>
                <a:uFillTx/>
                <a:latin typeface="Arial"/>
                <a:ea typeface="+mn-ea"/>
                <a:cs typeface="+mn-cs"/>
              </a:rPr>
              <a:t>Alarm Monitoring Dashboard: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schemeClr val="bg1"/>
                </a:solidFill>
                <a:effectLst/>
                <a:uLnTx/>
                <a:uFillTx/>
                <a:latin typeface="Arial"/>
                <a:ea typeface="+mn-ea"/>
                <a:cs typeface="+mn-cs"/>
              </a:rPr>
              <a:t>High-Flow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schemeClr val="bg1"/>
                </a:solidFill>
                <a:effectLst/>
                <a:uLnTx/>
                <a:uFillTx/>
                <a:latin typeface="Arial"/>
                <a:ea typeface="+mn-ea"/>
                <a:cs typeface="+mn-cs"/>
              </a:rPr>
              <a:t>High-Temperature Alarm</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schemeClr val="bg1"/>
                </a:solidFill>
                <a:effectLst/>
                <a:uLnTx/>
                <a:uFillTx/>
                <a:latin typeface="Arial"/>
                <a:ea typeface="+mn-ea"/>
                <a:cs typeface="+mn-cs"/>
              </a:rPr>
              <a:t>High-Pressure Alarm</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schemeClr val="bg1"/>
                </a:solidFill>
                <a:effectLst/>
                <a:uLnTx/>
                <a:uFillTx/>
                <a:latin typeface="Arial"/>
                <a:ea typeface="+mn-ea"/>
                <a:cs typeface="+mn-cs"/>
              </a:rPr>
              <a:t>Low-Pressure Alarm</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schemeClr val="bg1"/>
                </a:solidFill>
                <a:effectLst/>
                <a:uLnTx/>
                <a:uFillTx/>
                <a:latin typeface="Arial"/>
                <a:ea typeface="+mn-ea"/>
                <a:cs typeface="+mn-cs"/>
              </a:rPr>
              <a:t>Air-In-Pipe Alarm</a:t>
            </a:r>
          </a:p>
        </p:txBody>
      </p:sp>
      <p:sp>
        <p:nvSpPr>
          <p:cNvPr id="10" name="TextBox 9">
            <a:extLst>
              <a:ext uri="{FF2B5EF4-FFF2-40B4-BE49-F238E27FC236}">
                <a16:creationId xmlns:a16="http://schemas.microsoft.com/office/drawing/2014/main" id="{EF0578F6-9A80-B912-23DD-59774B7476C0}"/>
              </a:ext>
            </a:extLst>
          </p:cNvPr>
          <p:cNvSpPr txBox="1"/>
          <p:nvPr/>
        </p:nvSpPr>
        <p:spPr>
          <a:xfrm>
            <a:off x="4380830" y="3621843"/>
            <a:ext cx="2427695" cy="584775"/>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1"/>
                </a:solidFill>
                <a:effectLst/>
                <a:uLnTx/>
                <a:uFillTx/>
                <a:latin typeface="Arial"/>
                <a:ea typeface="+mn-ea"/>
                <a:cs typeface="+mn-cs"/>
              </a:rPr>
              <a:t>Response Management Tools: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schemeClr val="bg1"/>
                </a:solidFill>
                <a:effectLst/>
                <a:uLnTx/>
                <a:uFillTx/>
                <a:latin typeface="Arial"/>
                <a:ea typeface="+mn-ea"/>
                <a:cs typeface="+mn-cs"/>
              </a:rPr>
              <a:t>Remote disconnect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schemeClr val="bg1"/>
                </a:solidFill>
                <a:effectLst/>
                <a:uLnTx/>
                <a:uFillTx/>
                <a:latin typeface="Arial"/>
                <a:ea typeface="+mn-ea"/>
                <a:cs typeface="+mn-cs"/>
              </a:rPr>
              <a:t>Valve status</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800" b="0" i="0" u="none" strike="noStrike" kern="1200" cap="none" spc="0" normalizeH="0" baseline="0" noProof="0" dirty="0">
              <a:ln>
                <a:noFill/>
              </a:ln>
              <a:solidFill>
                <a:schemeClr val="bg1"/>
              </a:solidFill>
              <a:effectLst/>
              <a:uLnTx/>
              <a:uFillTx/>
              <a:latin typeface="Arial"/>
              <a:ea typeface="+mn-ea"/>
              <a:cs typeface="+mn-cs"/>
            </a:endParaRPr>
          </a:p>
        </p:txBody>
      </p:sp>
    </p:spTree>
    <p:extLst>
      <p:ext uri="{BB962C8B-B14F-4D97-AF65-F5344CB8AC3E}">
        <p14:creationId xmlns:p14="http://schemas.microsoft.com/office/powerpoint/2010/main" val="1151458897"/>
      </p:ext>
    </p:extLst>
  </p:cSld>
  <p:clrMapOvr>
    <a:overrideClrMapping bg1="lt1" tx1="dk1" bg2="lt2" tx2="dk2" accent1="accent1" accent2="accent2" accent3="accent3" accent4="accent4" accent5="accent5" accent6="accent6" hlink="hlink" folHlink="folHlink"/>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C428037-7EFB-5134-7108-643C80AA2818}"/>
              </a:ext>
            </a:extLst>
          </p:cNvPr>
          <p:cNvSpPr>
            <a:spLocks noGrp="1"/>
          </p:cNvSpPr>
          <p:nvPr>
            <p:ph type="title"/>
          </p:nvPr>
        </p:nvSpPr>
        <p:spPr/>
        <p:txBody>
          <a:bodyPr/>
          <a:lstStyle/>
          <a:p>
            <a:r>
              <a:rPr lang="en-US" dirty="0"/>
              <a:t>Alarm Management Workspace</a:t>
            </a:r>
          </a:p>
        </p:txBody>
      </p:sp>
      <p:sp>
        <p:nvSpPr>
          <p:cNvPr id="11" name="Text Placeholder 10">
            <a:extLst>
              <a:ext uri="{FF2B5EF4-FFF2-40B4-BE49-F238E27FC236}">
                <a16:creationId xmlns:a16="http://schemas.microsoft.com/office/drawing/2014/main" id="{05F046F1-2A20-223A-018D-96E3DEC8DC9F}"/>
              </a:ext>
            </a:extLst>
          </p:cNvPr>
          <p:cNvSpPr>
            <a:spLocks noGrp="1"/>
          </p:cNvSpPr>
          <p:nvPr>
            <p:ph type="body" sz="quarter" idx="10"/>
          </p:nvPr>
        </p:nvSpPr>
        <p:spPr/>
        <p:txBody>
          <a:bodyPr/>
          <a:lstStyle/>
          <a:p>
            <a:r>
              <a:rPr lang="en-US" dirty="0"/>
              <a:t>Icon Library</a:t>
            </a:r>
          </a:p>
        </p:txBody>
      </p:sp>
      <p:sp>
        <p:nvSpPr>
          <p:cNvPr id="4" name="TextBox 3">
            <a:extLst>
              <a:ext uri="{FF2B5EF4-FFF2-40B4-BE49-F238E27FC236}">
                <a16:creationId xmlns:a16="http://schemas.microsoft.com/office/drawing/2014/main" id="{3BD474AD-4FA3-4AFB-DA28-A42FE958B4E8}"/>
              </a:ext>
            </a:extLst>
          </p:cNvPr>
          <p:cNvSpPr txBox="1"/>
          <p:nvPr/>
        </p:nvSpPr>
        <p:spPr>
          <a:xfrm>
            <a:off x="361950" y="1050421"/>
            <a:ext cx="3606821" cy="307777"/>
          </a:xfrm>
          <a:prstGeom prst="rect">
            <a:avLst/>
          </a:prstGeom>
          <a:noFill/>
        </p:spPr>
        <p:txBody>
          <a:bodyPr wrap="none" rtlCol="0">
            <a:spAutoFit/>
          </a:bodyPr>
          <a:lstStyle/>
          <a:p>
            <a:r>
              <a:rPr lang="en-US" sz="1400" dirty="0">
                <a:solidFill>
                  <a:srgbClr val="0070C0"/>
                </a:solidFill>
              </a:rPr>
              <a:t>Intelis Alarm Icons (Single event per meter)</a:t>
            </a:r>
          </a:p>
        </p:txBody>
      </p:sp>
      <p:sp>
        <p:nvSpPr>
          <p:cNvPr id="6" name="TextBox 5">
            <a:extLst>
              <a:ext uri="{FF2B5EF4-FFF2-40B4-BE49-F238E27FC236}">
                <a16:creationId xmlns:a16="http://schemas.microsoft.com/office/drawing/2014/main" id="{4ED5A60B-25F2-279F-359B-A3AFA198C8EF}"/>
              </a:ext>
            </a:extLst>
          </p:cNvPr>
          <p:cNvSpPr txBox="1"/>
          <p:nvPr/>
        </p:nvSpPr>
        <p:spPr>
          <a:xfrm>
            <a:off x="361950" y="2112739"/>
            <a:ext cx="5258171" cy="307777"/>
          </a:xfrm>
          <a:prstGeom prst="rect">
            <a:avLst/>
          </a:prstGeom>
          <a:noFill/>
        </p:spPr>
        <p:txBody>
          <a:bodyPr wrap="none" rtlCol="0">
            <a:spAutoFit/>
          </a:bodyPr>
          <a:lstStyle/>
          <a:p>
            <a:r>
              <a:rPr lang="en-US" sz="1400" dirty="0">
                <a:solidFill>
                  <a:srgbClr val="0070C0"/>
                </a:solidFill>
              </a:rPr>
              <a:t>Intelis Event Icons (Numerous alarms on same premise/pipeline)</a:t>
            </a:r>
          </a:p>
        </p:txBody>
      </p:sp>
      <p:sp>
        <p:nvSpPr>
          <p:cNvPr id="18" name="TextBox 17">
            <a:extLst>
              <a:ext uri="{FF2B5EF4-FFF2-40B4-BE49-F238E27FC236}">
                <a16:creationId xmlns:a16="http://schemas.microsoft.com/office/drawing/2014/main" id="{D929FE2C-CC3C-A85A-9196-A2C38B593617}"/>
              </a:ext>
            </a:extLst>
          </p:cNvPr>
          <p:cNvSpPr txBox="1"/>
          <p:nvPr/>
        </p:nvSpPr>
        <p:spPr>
          <a:xfrm>
            <a:off x="361950" y="3367622"/>
            <a:ext cx="5689378" cy="307777"/>
          </a:xfrm>
          <a:prstGeom prst="rect">
            <a:avLst/>
          </a:prstGeom>
          <a:noFill/>
        </p:spPr>
        <p:txBody>
          <a:bodyPr wrap="none" rtlCol="0">
            <a:spAutoFit/>
          </a:bodyPr>
          <a:lstStyle/>
          <a:p>
            <a:r>
              <a:rPr lang="en-US" sz="1400" dirty="0">
                <a:solidFill>
                  <a:srgbClr val="0070C0"/>
                </a:solidFill>
              </a:rPr>
              <a:t>External Events (Can be entered into GDS via UI or External System)</a:t>
            </a:r>
          </a:p>
        </p:txBody>
      </p:sp>
      <p:grpSp>
        <p:nvGrpSpPr>
          <p:cNvPr id="21" name="Group 20">
            <a:extLst>
              <a:ext uri="{FF2B5EF4-FFF2-40B4-BE49-F238E27FC236}">
                <a16:creationId xmlns:a16="http://schemas.microsoft.com/office/drawing/2014/main" id="{534B5A6B-85A7-5F56-D4A0-294D0F3676C5}"/>
              </a:ext>
            </a:extLst>
          </p:cNvPr>
          <p:cNvGrpSpPr/>
          <p:nvPr/>
        </p:nvGrpSpPr>
        <p:grpSpPr>
          <a:xfrm>
            <a:off x="7613181" y="3582532"/>
            <a:ext cx="1188804" cy="1062078"/>
            <a:chOff x="7588045" y="161844"/>
            <a:chExt cx="1405207" cy="1255413"/>
          </a:xfrm>
        </p:grpSpPr>
        <p:pic>
          <p:nvPicPr>
            <p:cNvPr id="22" name="Picture 21">
              <a:extLst>
                <a:ext uri="{FF2B5EF4-FFF2-40B4-BE49-F238E27FC236}">
                  <a16:creationId xmlns:a16="http://schemas.microsoft.com/office/drawing/2014/main" id="{E899DD55-0045-F065-7060-6301C8F3DC2A}"/>
                </a:ext>
              </a:extLst>
            </p:cNvPr>
            <p:cNvPicPr>
              <a:picLocks noChangeAspect="1"/>
            </p:cNvPicPr>
            <p:nvPr/>
          </p:nvPicPr>
          <p:blipFill>
            <a:blip r:embed="rId3"/>
            <a:stretch>
              <a:fillRect/>
            </a:stretch>
          </p:blipFill>
          <p:spPr>
            <a:xfrm>
              <a:off x="7588045" y="161844"/>
              <a:ext cx="1405207" cy="1255413"/>
            </a:xfrm>
            <a:prstGeom prst="rect">
              <a:avLst/>
            </a:prstGeom>
            <a:ln>
              <a:solidFill>
                <a:schemeClr val="tx1"/>
              </a:solidFill>
            </a:ln>
          </p:spPr>
        </p:pic>
        <p:sp>
          <p:nvSpPr>
            <p:cNvPr id="23" name="Oval 22">
              <a:extLst>
                <a:ext uri="{FF2B5EF4-FFF2-40B4-BE49-F238E27FC236}">
                  <a16:creationId xmlns:a16="http://schemas.microsoft.com/office/drawing/2014/main" id="{5BB8F425-DF36-4E13-F6D4-C0860CDA0227}"/>
                </a:ext>
              </a:extLst>
            </p:cNvPr>
            <p:cNvSpPr/>
            <p:nvPr/>
          </p:nvSpPr>
          <p:spPr>
            <a:xfrm>
              <a:off x="7696257" y="659107"/>
              <a:ext cx="205857" cy="169606"/>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4" name="Oval 23">
              <a:extLst>
                <a:ext uri="{FF2B5EF4-FFF2-40B4-BE49-F238E27FC236}">
                  <a16:creationId xmlns:a16="http://schemas.microsoft.com/office/drawing/2014/main" id="{C40A435E-D570-271D-D915-13FEC5C68C10}"/>
                </a:ext>
              </a:extLst>
            </p:cNvPr>
            <p:cNvSpPr/>
            <p:nvPr/>
          </p:nvSpPr>
          <p:spPr>
            <a:xfrm>
              <a:off x="7696256" y="876065"/>
              <a:ext cx="205857" cy="169606"/>
            </a:xfrm>
            <a:prstGeom prst="ellipse">
              <a:avLst/>
            </a:prstGeom>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p>
          </p:txBody>
        </p:sp>
        <p:sp>
          <p:nvSpPr>
            <p:cNvPr id="25" name="Oval 24">
              <a:extLst>
                <a:ext uri="{FF2B5EF4-FFF2-40B4-BE49-F238E27FC236}">
                  <a16:creationId xmlns:a16="http://schemas.microsoft.com/office/drawing/2014/main" id="{CE156943-DE53-1EC3-DF75-B722CC3DCECD}"/>
                </a:ext>
              </a:extLst>
            </p:cNvPr>
            <p:cNvSpPr/>
            <p:nvPr/>
          </p:nvSpPr>
          <p:spPr>
            <a:xfrm>
              <a:off x="7701850" y="1089967"/>
              <a:ext cx="205857" cy="169606"/>
            </a:xfrm>
            <a:prstGeom prst="ellipse">
              <a:avLst/>
            </a:prstGeom>
          </p:spPr>
          <p:style>
            <a:lnRef idx="1">
              <a:schemeClr val="dk1"/>
            </a:lnRef>
            <a:fillRef idx="3">
              <a:schemeClr val="dk1"/>
            </a:fillRef>
            <a:effectRef idx="2">
              <a:schemeClr val="dk1"/>
            </a:effectRef>
            <a:fontRef idx="minor">
              <a:schemeClr val="lt1"/>
            </a:fontRef>
          </p:style>
          <p:txBody>
            <a:bodyPr rtlCol="0" anchor="ctr"/>
            <a:lstStyle/>
            <a:p>
              <a:pPr algn="ctr"/>
              <a:endParaRPr lang="en-US" dirty="0"/>
            </a:p>
          </p:txBody>
        </p:sp>
      </p:grpSp>
      <p:cxnSp>
        <p:nvCxnSpPr>
          <p:cNvPr id="30" name="Straight Connector 29">
            <a:extLst>
              <a:ext uri="{FF2B5EF4-FFF2-40B4-BE49-F238E27FC236}">
                <a16:creationId xmlns:a16="http://schemas.microsoft.com/office/drawing/2014/main" id="{25402B8C-4A97-B7C4-FB91-632C1C659650}"/>
              </a:ext>
            </a:extLst>
          </p:cNvPr>
          <p:cNvCxnSpPr>
            <a:cxnSpLocks/>
          </p:cNvCxnSpPr>
          <p:nvPr/>
        </p:nvCxnSpPr>
        <p:spPr>
          <a:xfrm flipV="1">
            <a:off x="383543" y="2109931"/>
            <a:ext cx="6648125" cy="1"/>
          </a:xfrm>
          <a:prstGeom prst="line">
            <a:avLst/>
          </a:prstGeom>
          <a:ln w="9525">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32" name="Straight Connector 31">
            <a:extLst>
              <a:ext uri="{FF2B5EF4-FFF2-40B4-BE49-F238E27FC236}">
                <a16:creationId xmlns:a16="http://schemas.microsoft.com/office/drawing/2014/main" id="{A74ECC8F-8F3B-3653-621E-753C85DDA2A3}"/>
              </a:ext>
            </a:extLst>
          </p:cNvPr>
          <p:cNvCxnSpPr>
            <a:cxnSpLocks/>
          </p:cNvCxnSpPr>
          <p:nvPr/>
        </p:nvCxnSpPr>
        <p:spPr>
          <a:xfrm flipV="1">
            <a:off x="383543" y="3329133"/>
            <a:ext cx="6648125" cy="1"/>
          </a:xfrm>
          <a:prstGeom prst="line">
            <a:avLst/>
          </a:prstGeom>
          <a:ln w="9525">
            <a:solidFill>
              <a:schemeClr val="tx2"/>
            </a:solidFill>
          </a:ln>
          <a:effectLst/>
        </p:spPr>
        <p:style>
          <a:lnRef idx="2">
            <a:schemeClr val="accent1"/>
          </a:lnRef>
          <a:fillRef idx="0">
            <a:schemeClr val="accent1"/>
          </a:fillRef>
          <a:effectRef idx="1">
            <a:schemeClr val="accent1"/>
          </a:effectRef>
          <a:fontRef idx="minor">
            <a:schemeClr val="tx1"/>
          </a:fontRef>
        </p:style>
      </p:cxnSp>
      <p:pic>
        <p:nvPicPr>
          <p:cNvPr id="12" name="Picture 11" descr="A red thermometer with a triangle&#10;&#10;Description automatically generated">
            <a:extLst>
              <a:ext uri="{FF2B5EF4-FFF2-40B4-BE49-F238E27FC236}">
                <a16:creationId xmlns:a16="http://schemas.microsoft.com/office/drawing/2014/main" id="{F51D05B2-A215-B37F-5AAE-D202AEA94795}"/>
              </a:ext>
            </a:extLst>
          </p:cNvPr>
          <p:cNvPicPr>
            <a:picLocks noChangeAspect="1"/>
          </p:cNvPicPr>
          <p:nvPr/>
        </p:nvPicPr>
        <p:blipFill>
          <a:blip r:embed="rId4"/>
          <a:stretch>
            <a:fillRect/>
          </a:stretch>
        </p:blipFill>
        <p:spPr>
          <a:xfrm>
            <a:off x="732857" y="1634213"/>
            <a:ext cx="460358" cy="457183"/>
          </a:xfrm>
          <a:prstGeom prst="rect">
            <a:avLst/>
          </a:prstGeom>
        </p:spPr>
      </p:pic>
      <p:pic>
        <p:nvPicPr>
          <p:cNvPr id="29" name="Picture 28" descr="A red circle with a drop of water and a black arrow&#10;&#10;Description automatically generated">
            <a:extLst>
              <a:ext uri="{FF2B5EF4-FFF2-40B4-BE49-F238E27FC236}">
                <a16:creationId xmlns:a16="http://schemas.microsoft.com/office/drawing/2014/main" id="{0790CF4D-C7CB-5486-1EAB-7CB8BB8D8902}"/>
              </a:ext>
            </a:extLst>
          </p:cNvPr>
          <p:cNvPicPr>
            <a:picLocks noChangeAspect="1"/>
          </p:cNvPicPr>
          <p:nvPr/>
        </p:nvPicPr>
        <p:blipFill>
          <a:blip r:embed="rId5"/>
          <a:stretch>
            <a:fillRect/>
          </a:stretch>
        </p:blipFill>
        <p:spPr>
          <a:xfrm>
            <a:off x="2175214" y="1581030"/>
            <a:ext cx="457183" cy="457183"/>
          </a:xfrm>
          <a:prstGeom prst="rect">
            <a:avLst/>
          </a:prstGeom>
        </p:spPr>
      </p:pic>
      <p:pic>
        <p:nvPicPr>
          <p:cNvPr id="33" name="Picture 32" descr="A red and black logo&#10;&#10;Description automatically generated">
            <a:extLst>
              <a:ext uri="{FF2B5EF4-FFF2-40B4-BE49-F238E27FC236}">
                <a16:creationId xmlns:a16="http://schemas.microsoft.com/office/drawing/2014/main" id="{C1F152F3-F330-B8E0-E79F-06582639C79A}"/>
              </a:ext>
            </a:extLst>
          </p:cNvPr>
          <p:cNvPicPr>
            <a:picLocks noChangeAspect="1"/>
          </p:cNvPicPr>
          <p:nvPr/>
        </p:nvPicPr>
        <p:blipFill>
          <a:blip r:embed="rId6"/>
          <a:stretch>
            <a:fillRect/>
          </a:stretch>
        </p:blipFill>
        <p:spPr>
          <a:xfrm>
            <a:off x="3560173" y="1581030"/>
            <a:ext cx="457183" cy="457183"/>
          </a:xfrm>
          <a:prstGeom prst="rect">
            <a:avLst/>
          </a:prstGeom>
        </p:spPr>
      </p:pic>
      <p:pic>
        <p:nvPicPr>
          <p:cNvPr id="35" name="Picture 34" descr="A red and black sign with arrows&#10;&#10;Description automatically generated">
            <a:extLst>
              <a:ext uri="{FF2B5EF4-FFF2-40B4-BE49-F238E27FC236}">
                <a16:creationId xmlns:a16="http://schemas.microsoft.com/office/drawing/2014/main" id="{BBE8E72A-FE1A-5733-64C7-41645A18CCB4}"/>
              </a:ext>
            </a:extLst>
          </p:cNvPr>
          <p:cNvPicPr>
            <a:picLocks noChangeAspect="1"/>
          </p:cNvPicPr>
          <p:nvPr/>
        </p:nvPicPr>
        <p:blipFill>
          <a:blip r:embed="rId7"/>
          <a:stretch>
            <a:fillRect/>
          </a:stretch>
        </p:blipFill>
        <p:spPr>
          <a:xfrm>
            <a:off x="4945132" y="1600562"/>
            <a:ext cx="457183" cy="457183"/>
          </a:xfrm>
          <a:prstGeom prst="rect">
            <a:avLst/>
          </a:prstGeom>
        </p:spPr>
      </p:pic>
      <p:pic>
        <p:nvPicPr>
          <p:cNvPr id="37" name="Picture 36" descr="A red logo with black background&#10;&#10;Description automatically generated">
            <a:extLst>
              <a:ext uri="{FF2B5EF4-FFF2-40B4-BE49-F238E27FC236}">
                <a16:creationId xmlns:a16="http://schemas.microsoft.com/office/drawing/2014/main" id="{E460CE9F-C449-BD30-A92E-5CC33458E388}"/>
              </a:ext>
            </a:extLst>
          </p:cNvPr>
          <p:cNvPicPr>
            <a:picLocks noChangeAspect="1"/>
          </p:cNvPicPr>
          <p:nvPr/>
        </p:nvPicPr>
        <p:blipFill>
          <a:blip r:embed="rId8"/>
          <a:stretch>
            <a:fillRect/>
          </a:stretch>
        </p:blipFill>
        <p:spPr>
          <a:xfrm>
            <a:off x="6064152" y="1619709"/>
            <a:ext cx="457183" cy="457183"/>
          </a:xfrm>
          <a:prstGeom prst="rect">
            <a:avLst/>
          </a:prstGeom>
        </p:spPr>
      </p:pic>
      <p:sp>
        <p:nvSpPr>
          <p:cNvPr id="38" name="TextBox 37">
            <a:extLst>
              <a:ext uri="{FF2B5EF4-FFF2-40B4-BE49-F238E27FC236}">
                <a16:creationId xmlns:a16="http://schemas.microsoft.com/office/drawing/2014/main" id="{B69C38E2-5685-3DB3-23B2-D39F2D0186E4}"/>
              </a:ext>
            </a:extLst>
          </p:cNvPr>
          <p:cNvSpPr txBox="1"/>
          <p:nvPr/>
        </p:nvSpPr>
        <p:spPr>
          <a:xfrm>
            <a:off x="319150" y="1371200"/>
            <a:ext cx="1318918" cy="261610"/>
          </a:xfrm>
          <a:prstGeom prst="rect">
            <a:avLst/>
          </a:prstGeom>
          <a:noFill/>
        </p:spPr>
        <p:txBody>
          <a:bodyPr wrap="square" rtlCol="0">
            <a:spAutoFit/>
          </a:bodyPr>
          <a:lstStyle/>
          <a:p>
            <a:pPr algn="ctr"/>
            <a:r>
              <a:rPr lang="en-US" sz="1050" dirty="0"/>
              <a:t>High Temperature</a:t>
            </a:r>
          </a:p>
        </p:txBody>
      </p:sp>
      <p:sp>
        <p:nvSpPr>
          <p:cNvPr id="39" name="TextBox 38">
            <a:extLst>
              <a:ext uri="{FF2B5EF4-FFF2-40B4-BE49-F238E27FC236}">
                <a16:creationId xmlns:a16="http://schemas.microsoft.com/office/drawing/2014/main" id="{0073BA48-F39D-C1CC-2FC5-3F829AD79DA9}"/>
              </a:ext>
            </a:extLst>
          </p:cNvPr>
          <p:cNvSpPr txBox="1"/>
          <p:nvPr/>
        </p:nvSpPr>
        <p:spPr>
          <a:xfrm>
            <a:off x="1705832" y="1358099"/>
            <a:ext cx="1318918" cy="261610"/>
          </a:xfrm>
          <a:prstGeom prst="rect">
            <a:avLst/>
          </a:prstGeom>
          <a:noFill/>
        </p:spPr>
        <p:txBody>
          <a:bodyPr wrap="square" rtlCol="0">
            <a:spAutoFit/>
          </a:bodyPr>
          <a:lstStyle/>
          <a:p>
            <a:pPr algn="ctr"/>
            <a:r>
              <a:rPr lang="en-US" sz="1050" dirty="0"/>
              <a:t>High Pressure</a:t>
            </a:r>
          </a:p>
        </p:txBody>
      </p:sp>
      <p:sp>
        <p:nvSpPr>
          <p:cNvPr id="40" name="TextBox 39">
            <a:extLst>
              <a:ext uri="{FF2B5EF4-FFF2-40B4-BE49-F238E27FC236}">
                <a16:creationId xmlns:a16="http://schemas.microsoft.com/office/drawing/2014/main" id="{A0024ED5-D11A-B454-1103-E1978D2E1A0B}"/>
              </a:ext>
            </a:extLst>
          </p:cNvPr>
          <p:cNvSpPr txBox="1"/>
          <p:nvPr/>
        </p:nvSpPr>
        <p:spPr>
          <a:xfrm>
            <a:off x="3083206" y="1341797"/>
            <a:ext cx="1318918" cy="261610"/>
          </a:xfrm>
          <a:prstGeom prst="rect">
            <a:avLst/>
          </a:prstGeom>
          <a:noFill/>
        </p:spPr>
        <p:txBody>
          <a:bodyPr wrap="square" rtlCol="0">
            <a:spAutoFit/>
          </a:bodyPr>
          <a:lstStyle/>
          <a:p>
            <a:pPr algn="ctr"/>
            <a:r>
              <a:rPr lang="en-US" sz="1050" dirty="0"/>
              <a:t>Low Pressure</a:t>
            </a:r>
          </a:p>
        </p:txBody>
      </p:sp>
      <p:sp>
        <p:nvSpPr>
          <p:cNvPr id="41" name="TextBox 40">
            <a:extLst>
              <a:ext uri="{FF2B5EF4-FFF2-40B4-BE49-F238E27FC236}">
                <a16:creationId xmlns:a16="http://schemas.microsoft.com/office/drawing/2014/main" id="{EAC9EE25-1885-B69B-8C1D-1CC23C234127}"/>
              </a:ext>
            </a:extLst>
          </p:cNvPr>
          <p:cNvSpPr txBox="1"/>
          <p:nvPr/>
        </p:nvSpPr>
        <p:spPr>
          <a:xfrm>
            <a:off x="4554502" y="1358099"/>
            <a:ext cx="1318918" cy="261610"/>
          </a:xfrm>
          <a:prstGeom prst="rect">
            <a:avLst/>
          </a:prstGeom>
          <a:noFill/>
        </p:spPr>
        <p:txBody>
          <a:bodyPr wrap="square" rtlCol="0">
            <a:spAutoFit/>
          </a:bodyPr>
          <a:lstStyle/>
          <a:p>
            <a:pPr algn="ctr"/>
            <a:r>
              <a:rPr lang="en-US" sz="1050" dirty="0"/>
              <a:t>High Flow</a:t>
            </a:r>
          </a:p>
        </p:txBody>
      </p:sp>
      <p:sp>
        <p:nvSpPr>
          <p:cNvPr id="42" name="TextBox 41">
            <a:extLst>
              <a:ext uri="{FF2B5EF4-FFF2-40B4-BE49-F238E27FC236}">
                <a16:creationId xmlns:a16="http://schemas.microsoft.com/office/drawing/2014/main" id="{50340B00-8577-78A2-96AF-DFBD6F539E6B}"/>
              </a:ext>
            </a:extLst>
          </p:cNvPr>
          <p:cNvSpPr txBox="1"/>
          <p:nvPr/>
        </p:nvSpPr>
        <p:spPr>
          <a:xfrm>
            <a:off x="5622047" y="1333616"/>
            <a:ext cx="1318918" cy="261610"/>
          </a:xfrm>
          <a:prstGeom prst="rect">
            <a:avLst/>
          </a:prstGeom>
          <a:noFill/>
        </p:spPr>
        <p:txBody>
          <a:bodyPr wrap="square" rtlCol="0">
            <a:spAutoFit/>
          </a:bodyPr>
          <a:lstStyle/>
          <a:p>
            <a:pPr algn="ctr"/>
            <a:r>
              <a:rPr lang="en-US" sz="1050" dirty="0"/>
              <a:t>Air-In Pipe</a:t>
            </a:r>
          </a:p>
        </p:txBody>
      </p:sp>
      <p:grpSp>
        <p:nvGrpSpPr>
          <p:cNvPr id="48" name="Group 47">
            <a:extLst>
              <a:ext uri="{FF2B5EF4-FFF2-40B4-BE49-F238E27FC236}">
                <a16:creationId xmlns:a16="http://schemas.microsoft.com/office/drawing/2014/main" id="{5B18E656-71ED-43F7-CC6B-60BC9B691FC5}"/>
              </a:ext>
            </a:extLst>
          </p:cNvPr>
          <p:cNvGrpSpPr/>
          <p:nvPr/>
        </p:nvGrpSpPr>
        <p:grpSpPr>
          <a:xfrm>
            <a:off x="661011" y="2740645"/>
            <a:ext cx="450991" cy="435078"/>
            <a:chOff x="661011" y="2740645"/>
            <a:chExt cx="450991" cy="435078"/>
          </a:xfrm>
        </p:grpSpPr>
        <p:sp>
          <p:nvSpPr>
            <p:cNvPr id="13" name="Oval 12">
              <a:extLst>
                <a:ext uri="{FF2B5EF4-FFF2-40B4-BE49-F238E27FC236}">
                  <a16:creationId xmlns:a16="http://schemas.microsoft.com/office/drawing/2014/main" id="{299E2519-D4B6-D89D-97E3-9D8C1B5B14B8}"/>
                </a:ext>
              </a:extLst>
            </p:cNvPr>
            <p:cNvSpPr/>
            <p:nvPr/>
          </p:nvSpPr>
          <p:spPr>
            <a:xfrm>
              <a:off x="661011" y="2740645"/>
              <a:ext cx="450991" cy="435078"/>
            </a:xfrm>
            <a:prstGeom prst="ellipse">
              <a:avLst/>
            </a:prstGeom>
            <a:noFill/>
            <a:ln w="38100"/>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solidFill>
                  <a:srgbClr val="0070C0"/>
                </a:solidFill>
              </a:endParaRPr>
            </a:p>
          </p:txBody>
        </p:sp>
        <p:pic>
          <p:nvPicPr>
            <p:cNvPr id="43" name="Picture 42" descr="A red thermometer with a triangle&#10;&#10;Description automatically generated">
              <a:extLst>
                <a:ext uri="{FF2B5EF4-FFF2-40B4-BE49-F238E27FC236}">
                  <a16:creationId xmlns:a16="http://schemas.microsoft.com/office/drawing/2014/main" id="{C355A85C-363D-9191-D2AB-CDAE7FB11460}"/>
                </a:ext>
              </a:extLst>
            </p:cNvPr>
            <p:cNvPicPr>
              <a:picLocks noChangeAspect="1"/>
            </p:cNvPicPr>
            <p:nvPr/>
          </p:nvPicPr>
          <p:blipFill>
            <a:blip r:embed="rId4"/>
            <a:stretch>
              <a:fillRect/>
            </a:stretch>
          </p:blipFill>
          <p:spPr>
            <a:xfrm>
              <a:off x="732857" y="2783891"/>
              <a:ext cx="373147" cy="370573"/>
            </a:xfrm>
            <a:prstGeom prst="rect">
              <a:avLst/>
            </a:prstGeom>
          </p:spPr>
        </p:pic>
      </p:grpSp>
      <p:grpSp>
        <p:nvGrpSpPr>
          <p:cNvPr id="49" name="Group 48">
            <a:extLst>
              <a:ext uri="{FF2B5EF4-FFF2-40B4-BE49-F238E27FC236}">
                <a16:creationId xmlns:a16="http://schemas.microsoft.com/office/drawing/2014/main" id="{80E1E024-0029-9E8F-BFDC-D36FFBB4ACAA}"/>
              </a:ext>
            </a:extLst>
          </p:cNvPr>
          <p:cNvGrpSpPr/>
          <p:nvPr/>
        </p:nvGrpSpPr>
        <p:grpSpPr>
          <a:xfrm>
            <a:off x="2094222" y="2740587"/>
            <a:ext cx="450991" cy="435078"/>
            <a:chOff x="2094222" y="2740587"/>
            <a:chExt cx="450991" cy="435078"/>
          </a:xfrm>
        </p:grpSpPr>
        <p:sp>
          <p:nvSpPr>
            <p:cNvPr id="14" name="Oval 13">
              <a:extLst>
                <a:ext uri="{FF2B5EF4-FFF2-40B4-BE49-F238E27FC236}">
                  <a16:creationId xmlns:a16="http://schemas.microsoft.com/office/drawing/2014/main" id="{B27C5B88-6EB1-976F-E544-D1696A505EA2}"/>
                </a:ext>
              </a:extLst>
            </p:cNvPr>
            <p:cNvSpPr/>
            <p:nvPr/>
          </p:nvSpPr>
          <p:spPr>
            <a:xfrm>
              <a:off x="2094222" y="2740587"/>
              <a:ext cx="450991" cy="435078"/>
            </a:xfrm>
            <a:prstGeom prst="ellipse">
              <a:avLst/>
            </a:prstGeom>
            <a:noFill/>
            <a:ln w="38100"/>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solidFill>
                  <a:srgbClr val="0070C0"/>
                </a:solidFill>
              </a:endParaRPr>
            </a:p>
          </p:txBody>
        </p:sp>
        <p:pic>
          <p:nvPicPr>
            <p:cNvPr id="44" name="Picture 43" descr="A red circle with a drop of water and a black arrow&#10;&#10;Description automatically generated">
              <a:extLst>
                <a:ext uri="{FF2B5EF4-FFF2-40B4-BE49-F238E27FC236}">
                  <a16:creationId xmlns:a16="http://schemas.microsoft.com/office/drawing/2014/main" id="{004C6B90-F98D-15C2-4A25-35786B4FFF35}"/>
                </a:ext>
              </a:extLst>
            </p:cNvPr>
            <p:cNvPicPr>
              <a:picLocks noChangeAspect="1"/>
            </p:cNvPicPr>
            <p:nvPr/>
          </p:nvPicPr>
          <p:blipFill>
            <a:blip r:embed="rId5"/>
            <a:stretch>
              <a:fillRect/>
            </a:stretch>
          </p:blipFill>
          <p:spPr>
            <a:xfrm>
              <a:off x="2202209" y="2817988"/>
              <a:ext cx="285212" cy="285212"/>
            </a:xfrm>
            <a:prstGeom prst="rect">
              <a:avLst/>
            </a:prstGeom>
          </p:spPr>
        </p:pic>
      </p:grpSp>
      <p:grpSp>
        <p:nvGrpSpPr>
          <p:cNvPr id="50" name="Group 49">
            <a:extLst>
              <a:ext uri="{FF2B5EF4-FFF2-40B4-BE49-F238E27FC236}">
                <a16:creationId xmlns:a16="http://schemas.microsoft.com/office/drawing/2014/main" id="{229FD52C-03D1-3C15-63C7-CB1602404F3D}"/>
              </a:ext>
            </a:extLst>
          </p:cNvPr>
          <p:cNvGrpSpPr/>
          <p:nvPr/>
        </p:nvGrpSpPr>
        <p:grpSpPr>
          <a:xfrm>
            <a:off x="3490781" y="2740645"/>
            <a:ext cx="450991" cy="435078"/>
            <a:chOff x="3490781" y="2740645"/>
            <a:chExt cx="450991" cy="435078"/>
          </a:xfrm>
        </p:grpSpPr>
        <p:sp>
          <p:nvSpPr>
            <p:cNvPr id="15" name="Oval 14">
              <a:extLst>
                <a:ext uri="{FF2B5EF4-FFF2-40B4-BE49-F238E27FC236}">
                  <a16:creationId xmlns:a16="http://schemas.microsoft.com/office/drawing/2014/main" id="{C663C5CD-F92B-7FB8-D12A-023CEB9AB041}"/>
                </a:ext>
              </a:extLst>
            </p:cNvPr>
            <p:cNvSpPr/>
            <p:nvPr/>
          </p:nvSpPr>
          <p:spPr>
            <a:xfrm>
              <a:off x="3490781" y="2740645"/>
              <a:ext cx="450991" cy="435078"/>
            </a:xfrm>
            <a:prstGeom prst="ellipse">
              <a:avLst/>
            </a:prstGeom>
            <a:noFill/>
            <a:ln w="38100"/>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solidFill>
                  <a:srgbClr val="0070C0"/>
                </a:solidFill>
              </a:endParaRPr>
            </a:p>
          </p:txBody>
        </p:sp>
        <p:pic>
          <p:nvPicPr>
            <p:cNvPr id="45" name="Picture 44" descr="A red and black logo&#10;&#10;Description automatically generated">
              <a:extLst>
                <a:ext uri="{FF2B5EF4-FFF2-40B4-BE49-F238E27FC236}">
                  <a16:creationId xmlns:a16="http://schemas.microsoft.com/office/drawing/2014/main" id="{D63B1515-AD9C-14C6-2058-1C95B507D390}"/>
                </a:ext>
              </a:extLst>
            </p:cNvPr>
            <p:cNvPicPr>
              <a:picLocks noChangeAspect="1"/>
            </p:cNvPicPr>
            <p:nvPr/>
          </p:nvPicPr>
          <p:blipFill>
            <a:blip r:embed="rId6"/>
            <a:stretch>
              <a:fillRect/>
            </a:stretch>
          </p:blipFill>
          <p:spPr>
            <a:xfrm>
              <a:off x="3560173" y="2783891"/>
              <a:ext cx="331482" cy="331482"/>
            </a:xfrm>
            <a:prstGeom prst="rect">
              <a:avLst/>
            </a:prstGeom>
          </p:spPr>
        </p:pic>
      </p:grpSp>
      <p:grpSp>
        <p:nvGrpSpPr>
          <p:cNvPr id="51" name="Group 50">
            <a:extLst>
              <a:ext uri="{FF2B5EF4-FFF2-40B4-BE49-F238E27FC236}">
                <a16:creationId xmlns:a16="http://schemas.microsoft.com/office/drawing/2014/main" id="{6ED80D51-D428-9BF4-D61A-D45BFC0842E8}"/>
              </a:ext>
            </a:extLst>
          </p:cNvPr>
          <p:cNvGrpSpPr/>
          <p:nvPr/>
        </p:nvGrpSpPr>
        <p:grpSpPr>
          <a:xfrm>
            <a:off x="4945132" y="2740645"/>
            <a:ext cx="450991" cy="435078"/>
            <a:chOff x="4945132" y="2740645"/>
            <a:chExt cx="450991" cy="435078"/>
          </a:xfrm>
        </p:grpSpPr>
        <p:sp>
          <p:nvSpPr>
            <p:cNvPr id="16" name="Oval 15">
              <a:extLst>
                <a:ext uri="{FF2B5EF4-FFF2-40B4-BE49-F238E27FC236}">
                  <a16:creationId xmlns:a16="http://schemas.microsoft.com/office/drawing/2014/main" id="{D05D687E-15D7-4057-8E9C-5F6CADDB9D24}"/>
                </a:ext>
              </a:extLst>
            </p:cNvPr>
            <p:cNvSpPr/>
            <p:nvPr/>
          </p:nvSpPr>
          <p:spPr>
            <a:xfrm>
              <a:off x="4945132" y="2740645"/>
              <a:ext cx="450991" cy="435078"/>
            </a:xfrm>
            <a:prstGeom prst="ellipse">
              <a:avLst/>
            </a:prstGeom>
            <a:noFill/>
            <a:ln w="38100"/>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solidFill>
                  <a:srgbClr val="0070C0"/>
                </a:solidFill>
              </a:endParaRPr>
            </a:p>
          </p:txBody>
        </p:sp>
        <p:pic>
          <p:nvPicPr>
            <p:cNvPr id="46" name="Picture 45" descr="A red and black sign with arrows&#10;&#10;Description automatically generated">
              <a:extLst>
                <a:ext uri="{FF2B5EF4-FFF2-40B4-BE49-F238E27FC236}">
                  <a16:creationId xmlns:a16="http://schemas.microsoft.com/office/drawing/2014/main" id="{172E6A33-B582-8047-EEEF-EA85D608E43F}"/>
                </a:ext>
              </a:extLst>
            </p:cNvPr>
            <p:cNvPicPr>
              <a:picLocks noChangeAspect="1"/>
            </p:cNvPicPr>
            <p:nvPr/>
          </p:nvPicPr>
          <p:blipFill>
            <a:blip r:embed="rId7"/>
            <a:stretch>
              <a:fillRect/>
            </a:stretch>
          </p:blipFill>
          <p:spPr>
            <a:xfrm>
              <a:off x="4979429" y="2761143"/>
              <a:ext cx="382395" cy="382395"/>
            </a:xfrm>
            <a:prstGeom prst="rect">
              <a:avLst/>
            </a:prstGeom>
          </p:spPr>
        </p:pic>
      </p:grpSp>
      <p:grpSp>
        <p:nvGrpSpPr>
          <p:cNvPr id="52" name="Group 51">
            <a:extLst>
              <a:ext uri="{FF2B5EF4-FFF2-40B4-BE49-F238E27FC236}">
                <a16:creationId xmlns:a16="http://schemas.microsoft.com/office/drawing/2014/main" id="{5FE4958D-6AA2-4CE4-C5DC-F6CC0251FF65}"/>
              </a:ext>
            </a:extLst>
          </p:cNvPr>
          <p:cNvGrpSpPr/>
          <p:nvPr/>
        </p:nvGrpSpPr>
        <p:grpSpPr>
          <a:xfrm>
            <a:off x="6067618" y="2728103"/>
            <a:ext cx="450991" cy="447620"/>
            <a:chOff x="6067618" y="2728103"/>
            <a:chExt cx="450991" cy="447620"/>
          </a:xfrm>
        </p:grpSpPr>
        <p:sp>
          <p:nvSpPr>
            <p:cNvPr id="17" name="Oval 16">
              <a:extLst>
                <a:ext uri="{FF2B5EF4-FFF2-40B4-BE49-F238E27FC236}">
                  <a16:creationId xmlns:a16="http://schemas.microsoft.com/office/drawing/2014/main" id="{9DD1814B-3ECD-9EB3-6BA8-A0FE478A132B}"/>
                </a:ext>
              </a:extLst>
            </p:cNvPr>
            <p:cNvSpPr/>
            <p:nvPr/>
          </p:nvSpPr>
          <p:spPr>
            <a:xfrm>
              <a:off x="6067618" y="2740645"/>
              <a:ext cx="450991" cy="435078"/>
            </a:xfrm>
            <a:prstGeom prst="ellipse">
              <a:avLst/>
            </a:prstGeom>
            <a:noFill/>
            <a:ln w="38100"/>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solidFill>
                  <a:srgbClr val="0070C0"/>
                </a:solidFill>
              </a:endParaRPr>
            </a:p>
          </p:txBody>
        </p:sp>
        <p:pic>
          <p:nvPicPr>
            <p:cNvPr id="47" name="Picture 46" descr="A red logo with black background&#10;&#10;Description automatically generated">
              <a:extLst>
                <a:ext uri="{FF2B5EF4-FFF2-40B4-BE49-F238E27FC236}">
                  <a16:creationId xmlns:a16="http://schemas.microsoft.com/office/drawing/2014/main" id="{89DA7B86-CDDA-7C48-7235-E50A70177AA1}"/>
                </a:ext>
              </a:extLst>
            </p:cNvPr>
            <p:cNvPicPr>
              <a:picLocks noChangeAspect="1"/>
            </p:cNvPicPr>
            <p:nvPr/>
          </p:nvPicPr>
          <p:blipFill>
            <a:blip r:embed="rId8"/>
            <a:stretch>
              <a:fillRect/>
            </a:stretch>
          </p:blipFill>
          <p:spPr>
            <a:xfrm>
              <a:off x="6101545" y="2728103"/>
              <a:ext cx="382395" cy="382395"/>
            </a:xfrm>
            <a:prstGeom prst="rect">
              <a:avLst/>
            </a:prstGeom>
          </p:spPr>
        </p:pic>
      </p:grpSp>
      <p:sp>
        <p:nvSpPr>
          <p:cNvPr id="53" name="TextBox 52">
            <a:extLst>
              <a:ext uri="{FF2B5EF4-FFF2-40B4-BE49-F238E27FC236}">
                <a16:creationId xmlns:a16="http://schemas.microsoft.com/office/drawing/2014/main" id="{588A0B7D-5AC5-3524-DC87-B5CD56C7B650}"/>
              </a:ext>
            </a:extLst>
          </p:cNvPr>
          <p:cNvSpPr txBox="1"/>
          <p:nvPr/>
        </p:nvSpPr>
        <p:spPr>
          <a:xfrm>
            <a:off x="319150" y="2470819"/>
            <a:ext cx="1318918" cy="261610"/>
          </a:xfrm>
          <a:prstGeom prst="rect">
            <a:avLst/>
          </a:prstGeom>
          <a:noFill/>
        </p:spPr>
        <p:txBody>
          <a:bodyPr wrap="square" rtlCol="0">
            <a:spAutoFit/>
          </a:bodyPr>
          <a:lstStyle/>
          <a:p>
            <a:pPr algn="ctr"/>
            <a:r>
              <a:rPr lang="en-US" sz="1050" dirty="0"/>
              <a:t>High Temperature</a:t>
            </a:r>
          </a:p>
        </p:txBody>
      </p:sp>
      <p:sp>
        <p:nvSpPr>
          <p:cNvPr id="54" name="TextBox 53">
            <a:extLst>
              <a:ext uri="{FF2B5EF4-FFF2-40B4-BE49-F238E27FC236}">
                <a16:creationId xmlns:a16="http://schemas.microsoft.com/office/drawing/2014/main" id="{76B69523-5603-AA32-3F45-29C8C40192A2}"/>
              </a:ext>
            </a:extLst>
          </p:cNvPr>
          <p:cNvSpPr txBox="1"/>
          <p:nvPr/>
        </p:nvSpPr>
        <p:spPr>
          <a:xfrm>
            <a:off x="1705832" y="2457718"/>
            <a:ext cx="1318918" cy="261610"/>
          </a:xfrm>
          <a:prstGeom prst="rect">
            <a:avLst/>
          </a:prstGeom>
          <a:noFill/>
        </p:spPr>
        <p:txBody>
          <a:bodyPr wrap="square" rtlCol="0">
            <a:spAutoFit/>
          </a:bodyPr>
          <a:lstStyle/>
          <a:p>
            <a:pPr algn="ctr"/>
            <a:r>
              <a:rPr lang="en-US" sz="1050" dirty="0"/>
              <a:t>High Pressure</a:t>
            </a:r>
          </a:p>
        </p:txBody>
      </p:sp>
      <p:sp>
        <p:nvSpPr>
          <p:cNvPr id="55" name="TextBox 54">
            <a:extLst>
              <a:ext uri="{FF2B5EF4-FFF2-40B4-BE49-F238E27FC236}">
                <a16:creationId xmlns:a16="http://schemas.microsoft.com/office/drawing/2014/main" id="{8320C048-D32F-F65F-982C-A5002461A91F}"/>
              </a:ext>
            </a:extLst>
          </p:cNvPr>
          <p:cNvSpPr txBox="1"/>
          <p:nvPr/>
        </p:nvSpPr>
        <p:spPr>
          <a:xfrm>
            <a:off x="3083206" y="2441416"/>
            <a:ext cx="1318918" cy="261610"/>
          </a:xfrm>
          <a:prstGeom prst="rect">
            <a:avLst/>
          </a:prstGeom>
          <a:noFill/>
        </p:spPr>
        <p:txBody>
          <a:bodyPr wrap="square" rtlCol="0">
            <a:spAutoFit/>
          </a:bodyPr>
          <a:lstStyle/>
          <a:p>
            <a:pPr algn="ctr"/>
            <a:r>
              <a:rPr lang="en-US" sz="1050" dirty="0"/>
              <a:t>Low Pressure</a:t>
            </a:r>
          </a:p>
        </p:txBody>
      </p:sp>
      <p:sp>
        <p:nvSpPr>
          <p:cNvPr id="56" name="TextBox 55">
            <a:extLst>
              <a:ext uri="{FF2B5EF4-FFF2-40B4-BE49-F238E27FC236}">
                <a16:creationId xmlns:a16="http://schemas.microsoft.com/office/drawing/2014/main" id="{6DA6BB5F-FD6E-0A4D-4F2D-DA931C67D83D}"/>
              </a:ext>
            </a:extLst>
          </p:cNvPr>
          <p:cNvSpPr txBox="1"/>
          <p:nvPr/>
        </p:nvSpPr>
        <p:spPr>
          <a:xfrm>
            <a:off x="4554502" y="2457718"/>
            <a:ext cx="1318918" cy="261610"/>
          </a:xfrm>
          <a:prstGeom prst="rect">
            <a:avLst/>
          </a:prstGeom>
          <a:noFill/>
        </p:spPr>
        <p:txBody>
          <a:bodyPr wrap="square" rtlCol="0">
            <a:spAutoFit/>
          </a:bodyPr>
          <a:lstStyle/>
          <a:p>
            <a:pPr algn="ctr"/>
            <a:r>
              <a:rPr lang="en-US" sz="1050" dirty="0"/>
              <a:t>High Flow</a:t>
            </a:r>
          </a:p>
        </p:txBody>
      </p:sp>
      <p:sp>
        <p:nvSpPr>
          <p:cNvPr id="57" name="TextBox 56">
            <a:extLst>
              <a:ext uri="{FF2B5EF4-FFF2-40B4-BE49-F238E27FC236}">
                <a16:creationId xmlns:a16="http://schemas.microsoft.com/office/drawing/2014/main" id="{DA3FD00F-865B-4A7E-9D16-3C611F9D49BC}"/>
              </a:ext>
            </a:extLst>
          </p:cNvPr>
          <p:cNvSpPr txBox="1"/>
          <p:nvPr/>
        </p:nvSpPr>
        <p:spPr>
          <a:xfrm>
            <a:off x="5633283" y="2443326"/>
            <a:ext cx="1318918" cy="261610"/>
          </a:xfrm>
          <a:prstGeom prst="rect">
            <a:avLst/>
          </a:prstGeom>
          <a:noFill/>
        </p:spPr>
        <p:txBody>
          <a:bodyPr wrap="square" rtlCol="0">
            <a:spAutoFit/>
          </a:bodyPr>
          <a:lstStyle/>
          <a:p>
            <a:pPr algn="ctr"/>
            <a:r>
              <a:rPr lang="en-US" sz="1050" dirty="0"/>
              <a:t>Air-In Pipe</a:t>
            </a:r>
          </a:p>
        </p:txBody>
      </p:sp>
      <p:pic>
        <p:nvPicPr>
          <p:cNvPr id="59" name="Picture 58" descr="A red and white circle with a lightning bolt in the end of a log&#10;&#10;Description automatically generated">
            <a:extLst>
              <a:ext uri="{FF2B5EF4-FFF2-40B4-BE49-F238E27FC236}">
                <a16:creationId xmlns:a16="http://schemas.microsoft.com/office/drawing/2014/main" id="{5D356C13-CCBE-EFC2-B18B-179DFC1CE547}"/>
              </a:ext>
            </a:extLst>
          </p:cNvPr>
          <p:cNvPicPr>
            <a:picLocks noChangeAspect="1"/>
          </p:cNvPicPr>
          <p:nvPr/>
        </p:nvPicPr>
        <p:blipFill>
          <a:blip r:embed="rId9"/>
          <a:stretch>
            <a:fillRect/>
          </a:stretch>
        </p:blipFill>
        <p:spPr>
          <a:xfrm>
            <a:off x="574524" y="3996800"/>
            <a:ext cx="460358" cy="457183"/>
          </a:xfrm>
          <a:prstGeom prst="rect">
            <a:avLst/>
          </a:prstGeom>
        </p:spPr>
      </p:pic>
      <p:pic>
        <p:nvPicPr>
          <p:cNvPr id="61" name="Picture 60" descr="A red and white circle with a red and white circle with a red and white circle with a white circle with a red and white circle with a red and white circle with a red and white circle&#10;&#10;Description automatically generated">
            <a:extLst>
              <a:ext uri="{FF2B5EF4-FFF2-40B4-BE49-F238E27FC236}">
                <a16:creationId xmlns:a16="http://schemas.microsoft.com/office/drawing/2014/main" id="{8EA7797F-C836-73D4-12F5-E886DBB147CF}"/>
              </a:ext>
            </a:extLst>
          </p:cNvPr>
          <p:cNvPicPr>
            <a:picLocks noChangeAspect="1"/>
          </p:cNvPicPr>
          <p:nvPr/>
        </p:nvPicPr>
        <p:blipFill>
          <a:blip r:embed="rId10"/>
          <a:stretch>
            <a:fillRect/>
          </a:stretch>
        </p:blipFill>
        <p:spPr>
          <a:xfrm>
            <a:off x="1806553" y="4018875"/>
            <a:ext cx="460358" cy="457183"/>
          </a:xfrm>
          <a:prstGeom prst="rect">
            <a:avLst/>
          </a:prstGeom>
        </p:spPr>
      </p:pic>
      <p:sp>
        <p:nvSpPr>
          <p:cNvPr id="62" name="TextBox 61">
            <a:extLst>
              <a:ext uri="{FF2B5EF4-FFF2-40B4-BE49-F238E27FC236}">
                <a16:creationId xmlns:a16="http://schemas.microsoft.com/office/drawing/2014/main" id="{5AF205D6-F0A2-6AAE-FD7D-85AA32264EDC}"/>
              </a:ext>
            </a:extLst>
          </p:cNvPr>
          <p:cNvSpPr txBox="1"/>
          <p:nvPr/>
        </p:nvSpPr>
        <p:spPr>
          <a:xfrm>
            <a:off x="145244" y="3757265"/>
            <a:ext cx="1318918" cy="261610"/>
          </a:xfrm>
          <a:prstGeom prst="rect">
            <a:avLst/>
          </a:prstGeom>
          <a:noFill/>
        </p:spPr>
        <p:txBody>
          <a:bodyPr wrap="square" rtlCol="0">
            <a:spAutoFit/>
          </a:bodyPr>
          <a:lstStyle/>
          <a:p>
            <a:pPr algn="ctr"/>
            <a:r>
              <a:rPr lang="en-US" sz="1050" dirty="0"/>
              <a:t>Gas Explosion</a:t>
            </a:r>
          </a:p>
        </p:txBody>
      </p:sp>
      <p:sp>
        <p:nvSpPr>
          <p:cNvPr id="63" name="TextBox 62">
            <a:extLst>
              <a:ext uri="{FF2B5EF4-FFF2-40B4-BE49-F238E27FC236}">
                <a16:creationId xmlns:a16="http://schemas.microsoft.com/office/drawing/2014/main" id="{ED0ADC49-E5CD-B42C-741B-4B02452C0141}"/>
              </a:ext>
            </a:extLst>
          </p:cNvPr>
          <p:cNvSpPr txBox="1"/>
          <p:nvPr/>
        </p:nvSpPr>
        <p:spPr>
          <a:xfrm>
            <a:off x="1377273" y="3759311"/>
            <a:ext cx="1318918" cy="261610"/>
          </a:xfrm>
          <a:prstGeom prst="rect">
            <a:avLst/>
          </a:prstGeom>
          <a:noFill/>
        </p:spPr>
        <p:txBody>
          <a:bodyPr wrap="square" rtlCol="0">
            <a:spAutoFit/>
          </a:bodyPr>
          <a:lstStyle/>
          <a:p>
            <a:pPr algn="ctr"/>
            <a:r>
              <a:rPr lang="en-US" sz="1050" dirty="0"/>
              <a:t>Gas Leak</a:t>
            </a:r>
          </a:p>
        </p:txBody>
      </p:sp>
    </p:spTree>
    <p:extLst>
      <p:ext uri="{BB962C8B-B14F-4D97-AF65-F5344CB8AC3E}">
        <p14:creationId xmlns:p14="http://schemas.microsoft.com/office/powerpoint/2010/main" val="2142219386"/>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2ADD11-9AE7-6C39-0CDF-87EA3E9E031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01F26D2-45F8-7763-A822-16A87EBAC1E1}"/>
              </a:ext>
            </a:extLst>
          </p:cNvPr>
          <p:cNvSpPr>
            <a:spLocks noGrp="1"/>
          </p:cNvSpPr>
          <p:nvPr>
            <p:ph type="title"/>
          </p:nvPr>
        </p:nvSpPr>
        <p:spPr>
          <a:xfrm>
            <a:off x="457200" y="2668779"/>
            <a:ext cx="8229600" cy="953659"/>
          </a:xfrm>
        </p:spPr>
        <p:txBody>
          <a:bodyPr/>
          <a:lstStyle/>
          <a:p>
            <a:r>
              <a:rPr lang="en-US" sz="2800" dirty="0"/>
              <a:t>Integrated Additional Functionality</a:t>
            </a:r>
            <a:br>
              <a:rPr lang="en-US" dirty="0"/>
            </a:br>
            <a:endParaRPr lang="en-US" dirty="0"/>
          </a:p>
        </p:txBody>
      </p:sp>
      <p:pic>
        <p:nvPicPr>
          <p:cNvPr id="4" name="Picture 3">
            <a:extLst>
              <a:ext uri="{FF2B5EF4-FFF2-40B4-BE49-F238E27FC236}">
                <a16:creationId xmlns:a16="http://schemas.microsoft.com/office/drawing/2014/main" id="{EAF548A7-BF00-DC76-FE71-1D2F13841F6A}"/>
              </a:ext>
            </a:extLst>
          </p:cNvPr>
          <p:cNvPicPr>
            <a:picLocks noChangeAspect="1"/>
          </p:cNvPicPr>
          <p:nvPr/>
        </p:nvPicPr>
        <p:blipFill rotWithShape="1">
          <a:blip r:embed="rId3" cstate="screen">
            <a:alphaModFix amt="14000"/>
            <a:extLst>
              <a:ext uri="{28A0092B-C50C-407E-A947-70E740481C1C}">
                <a14:useLocalDpi xmlns:a14="http://schemas.microsoft.com/office/drawing/2010/main"/>
              </a:ext>
            </a:extLst>
          </a:blip>
          <a:srcRect t="8847" r="4983" b="3022"/>
          <a:stretch/>
        </p:blipFill>
        <p:spPr>
          <a:xfrm>
            <a:off x="5107302" y="286161"/>
            <a:ext cx="4036698" cy="5143501"/>
          </a:xfrm>
          <a:prstGeom prst="rect">
            <a:avLst/>
          </a:prstGeom>
        </p:spPr>
      </p:pic>
    </p:spTree>
    <p:extLst>
      <p:ext uri="{BB962C8B-B14F-4D97-AF65-F5344CB8AC3E}">
        <p14:creationId xmlns:p14="http://schemas.microsoft.com/office/powerpoint/2010/main" val="373440153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BCE942-499D-9CF5-0D48-0E33818B397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3BEFA1C-DAD9-8BAC-FF46-A7DF3BFC9E7F}"/>
              </a:ext>
            </a:extLst>
          </p:cNvPr>
          <p:cNvSpPr>
            <a:spLocks noGrp="1"/>
          </p:cNvSpPr>
          <p:nvPr>
            <p:ph type="title"/>
          </p:nvPr>
        </p:nvSpPr>
        <p:spPr>
          <a:xfrm>
            <a:off x="457200" y="2668779"/>
            <a:ext cx="8229600" cy="953659"/>
          </a:xfrm>
        </p:spPr>
        <p:txBody>
          <a:bodyPr/>
          <a:lstStyle/>
          <a:p>
            <a:r>
              <a:rPr lang="en-US" dirty="0"/>
              <a:t>Distribution </a:t>
            </a:r>
            <a:r>
              <a:rPr lang="en-US" dirty="0" err="1"/>
              <a:t>Saftey</a:t>
            </a:r>
            <a:br>
              <a:rPr lang="en-US" dirty="0"/>
            </a:br>
            <a:endParaRPr lang="en-US" dirty="0"/>
          </a:p>
        </p:txBody>
      </p:sp>
      <p:pic>
        <p:nvPicPr>
          <p:cNvPr id="4" name="Picture 3">
            <a:extLst>
              <a:ext uri="{FF2B5EF4-FFF2-40B4-BE49-F238E27FC236}">
                <a16:creationId xmlns:a16="http://schemas.microsoft.com/office/drawing/2014/main" id="{9E327DA8-A62A-FB50-5A16-50F46CCF0EF7}"/>
              </a:ext>
            </a:extLst>
          </p:cNvPr>
          <p:cNvPicPr>
            <a:picLocks noChangeAspect="1"/>
          </p:cNvPicPr>
          <p:nvPr/>
        </p:nvPicPr>
        <p:blipFill rotWithShape="1">
          <a:blip r:embed="rId3" cstate="screen">
            <a:alphaModFix amt="14000"/>
            <a:extLst>
              <a:ext uri="{28A0092B-C50C-407E-A947-70E740481C1C}">
                <a14:useLocalDpi xmlns:a14="http://schemas.microsoft.com/office/drawing/2010/main"/>
              </a:ext>
            </a:extLst>
          </a:blip>
          <a:srcRect t="8847" r="4983" b="3022"/>
          <a:stretch/>
        </p:blipFill>
        <p:spPr>
          <a:xfrm>
            <a:off x="5107302" y="286161"/>
            <a:ext cx="4036698" cy="5143501"/>
          </a:xfrm>
          <a:prstGeom prst="rect">
            <a:avLst/>
          </a:prstGeom>
        </p:spPr>
      </p:pic>
    </p:spTree>
    <p:extLst>
      <p:ext uri="{BB962C8B-B14F-4D97-AF65-F5344CB8AC3E}">
        <p14:creationId xmlns:p14="http://schemas.microsoft.com/office/powerpoint/2010/main" val="271298904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4338" name="Rectangle 2">
            <a:extLst>
              <a:ext uri="{FF2B5EF4-FFF2-40B4-BE49-F238E27FC236}">
                <a16:creationId xmlns:a16="http://schemas.microsoft.com/office/drawing/2014/main" id="{3EAED4F2-1610-466D-8A90-8EDD86003AB5}"/>
              </a:ext>
            </a:extLst>
          </p:cNvPr>
          <p:cNvSpPr>
            <a:spLocks noGrp="1" noChangeArrowheads="1"/>
          </p:cNvSpPr>
          <p:nvPr>
            <p:ph type="title"/>
          </p:nvPr>
        </p:nvSpPr>
        <p:spPr/>
        <p:txBody>
          <a:bodyPr/>
          <a:lstStyle/>
          <a:p>
            <a:r>
              <a:rPr lang="en-US" altLang="en-US" dirty="0"/>
              <a:t>Gas measurement</a:t>
            </a:r>
          </a:p>
        </p:txBody>
      </p:sp>
      <p:sp>
        <p:nvSpPr>
          <p:cNvPr id="3" name="Text Placeholder 2">
            <a:extLst>
              <a:ext uri="{FF2B5EF4-FFF2-40B4-BE49-F238E27FC236}">
                <a16:creationId xmlns:a16="http://schemas.microsoft.com/office/drawing/2014/main" id="{8D1F7673-D30D-4548-89C8-71D05E9EED63}"/>
              </a:ext>
            </a:extLst>
          </p:cNvPr>
          <p:cNvSpPr>
            <a:spLocks noGrp="1"/>
          </p:cNvSpPr>
          <p:nvPr>
            <p:ph type="body" sz="quarter" idx="16"/>
          </p:nvPr>
        </p:nvSpPr>
        <p:spPr>
          <a:xfrm>
            <a:off x="365846" y="878042"/>
            <a:ext cx="5454679" cy="3868411"/>
          </a:xfrm>
        </p:spPr>
        <p:txBody>
          <a:bodyPr/>
          <a:lstStyle/>
          <a:p>
            <a:pPr marL="0" lvl="1"/>
            <a:r>
              <a:rPr lang="en-US" altLang="en-US" b="1" dirty="0"/>
              <a:t>1843</a:t>
            </a:r>
            <a:r>
              <a:rPr lang="en-US" altLang="en-US" dirty="0"/>
              <a:t> – First dry positive displacement meter </a:t>
            </a:r>
            <a:r>
              <a:rPr lang="en-US" dirty="0">
                <a:latin typeface="Arial" pitchFamily="34" charset="0"/>
                <a:cs typeface="Arial" pitchFamily="34" charset="0"/>
              </a:rPr>
              <a:t>by William Richards 	</a:t>
            </a:r>
            <a:r>
              <a:rPr lang="en-US" sz="1199" b="1" dirty="0">
                <a:solidFill>
                  <a:schemeClr val="bg2">
                    <a:lumMod val="75000"/>
                  </a:schemeClr>
                </a:solidFill>
              </a:rPr>
              <a:t>(later improved by Thomas Glover) </a:t>
            </a:r>
            <a:endParaRPr lang="en-US" altLang="en-US" sz="1199" b="1" dirty="0">
              <a:solidFill>
                <a:schemeClr val="bg2">
                  <a:lumMod val="75000"/>
                </a:schemeClr>
              </a:solidFill>
            </a:endParaRPr>
          </a:p>
          <a:p>
            <a:pPr lvl="1"/>
            <a:r>
              <a:rPr lang="en-US" altLang="en-US" dirty="0"/>
              <a:t>	2 diaphragm, slide valve, 4-chamber</a:t>
            </a:r>
          </a:p>
          <a:p>
            <a:pPr marL="0" lvl="1"/>
            <a:endParaRPr lang="en-US" altLang="en-US" sz="1199" b="1" dirty="0">
              <a:solidFill>
                <a:schemeClr val="bg2">
                  <a:lumMod val="75000"/>
                </a:schemeClr>
              </a:solidFill>
            </a:endParaRPr>
          </a:p>
          <a:p>
            <a:pPr marL="0" lvl="1"/>
            <a:r>
              <a:rPr lang="en-US" altLang="en-US" sz="1199" b="1" dirty="0">
                <a:solidFill>
                  <a:schemeClr val="bg2">
                    <a:lumMod val="75000"/>
                  </a:schemeClr>
                </a:solidFill>
              </a:rPr>
              <a:t>(1881 – Thomas Edison’s electric meter patented)</a:t>
            </a:r>
            <a:endParaRPr lang="en-US" altLang="en-US" sz="1199" dirty="0">
              <a:solidFill>
                <a:schemeClr val="bg2">
                  <a:lumMod val="75000"/>
                </a:schemeClr>
              </a:solidFill>
            </a:endParaRPr>
          </a:p>
          <a:p>
            <a:pPr marL="0" lvl="1"/>
            <a:endParaRPr lang="en-US" altLang="en-US" dirty="0"/>
          </a:p>
          <a:p>
            <a:r>
              <a:rPr lang="en-US" altLang="en-US" b="1" dirty="0"/>
              <a:t>1903</a:t>
            </a:r>
            <a:r>
              <a:rPr lang="en-US" altLang="en-US" dirty="0"/>
              <a:t> – </a:t>
            </a:r>
            <a:r>
              <a:rPr lang="en-US" altLang="en-US" b="1" dirty="0">
                <a:solidFill>
                  <a:srgbClr val="FF0000"/>
                </a:solidFill>
              </a:rPr>
              <a:t>Sprague Meter Company </a:t>
            </a:r>
            <a:r>
              <a:rPr lang="en-US" altLang="en-US" dirty="0">
                <a:latin typeface="Arial" pitchFamily="34" charset="0"/>
                <a:cs typeface="Arial" pitchFamily="34" charset="0"/>
              </a:rPr>
              <a:t>patented </a:t>
            </a:r>
          </a:p>
          <a:p>
            <a:r>
              <a:rPr lang="en-US" dirty="0">
                <a:latin typeface="Arial" pitchFamily="34" charset="0"/>
                <a:cs typeface="Arial" pitchFamily="34" charset="0"/>
              </a:rPr>
              <a:t>	2 diaphragm, oscillating valve, 3-chamber</a:t>
            </a:r>
          </a:p>
          <a:p>
            <a:endParaRPr lang="en-US" dirty="0">
              <a:latin typeface="Arial" pitchFamily="34" charset="0"/>
              <a:cs typeface="Arial" pitchFamily="34" charset="0"/>
            </a:endParaRPr>
          </a:p>
          <a:p>
            <a:r>
              <a:rPr lang="en-US" dirty="0">
                <a:latin typeface="Arial" pitchFamily="34" charset="0"/>
                <a:cs typeface="Arial" pitchFamily="34" charset="0"/>
              </a:rPr>
              <a:t>Changes in materials, construction, assembly and testing 	have improved the life expectancy and durability of the diaphragm meter.</a:t>
            </a:r>
          </a:p>
          <a:p>
            <a:r>
              <a:rPr lang="en-US" sz="1199" dirty="0">
                <a:latin typeface="Arial" pitchFamily="34" charset="0"/>
                <a:cs typeface="Arial" pitchFamily="34" charset="0"/>
              </a:rPr>
              <a:t>	Cast Iron 		Aluminum Alloy </a:t>
            </a:r>
          </a:p>
          <a:p>
            <a:r>
              <a:rPr lang="en-US" sz="1199" dirty="0">
                <a:latin typeface="Arial" pitchFamily="34" charset="0"/>
                <a:cs typeface="Arial" pitchFamily="34" charset="0"/>
              </a:rPr>
              <a:t>	Leather Diaphragms 		Synthetic Diaphragms</a:t>
            </a:r>
          </a:p>
          <a:p>
            <a:endParaRPr lang="en-US" sz="1199" dirty="0">
              <a:latin typeface="Arial" pitchFamily="34" charset="0"/>
              <a:cs typeface="Arial" pitchFamily="34" charset="0"/>
            </a:endParaRPr>
          </a:p>
          <a:p>
            <a:r>
              <a:rPr lang="en-US" b="1" dirty="0"/>
              <a:t>1973 – first i</a:t>
            </a:r>
            <a:r>
              <a:rPr lang="en-US" dirty="0"/>
              <a:t>ndustry standards established and published by ANSI </a:t>
            </a:r>
          </a:p>
          <a:p>
            <a:endParaRPr lang="en-US" dirty="0">
              <a:latin typeface="Arial" pitchFamily="34" charset="0"/>
              <a:cs typeface="Arial" pitchFamily="34" charset="0"/>
            </a:endParaRPr>
          </a:p>
          <a:p>
            <a:endParaRPr lang="en-US" altLang="en-US" dirty="0"/>
          </a:p>
          <a:p>
            <a:endParaRPr lang="en-US" altLang="en-US" dirty="0"/>
          </a:p>
          <a:p>
            <a:endParaRPr lang="en-US" dirty="0"/>
          </a:p>
        </p:txBody>
      </p:sp>
      <p:pic>
        <p:nvPicPr>
          <p:cNvPr id="8" name="Picture 12">
            <a:extLst>
              <a:ext uri="{FF2B5EF4-FFF2-40B4-BE49-F238E27FC236}">
                <a16:creationId xmlns:a16="http://schemas.microsoft.com/office/drawing/2014/main" id="{54450F3D-6F3F-42EA-AB88-77440269A6F9}"/>
              </a:ext>
            </a:extLst>
          </p:cNvPr>
          <p:cNvPicPr>
            <a:picLocks noChangeAspect="1" noChangeArrowheads="1"/>
          </p:cNvPicPr>
          <p:nvPr/>
        </p:nvPicPr>
        <p:blipFill>
          <a:blip r:embed="rId4" cstate="print"/>
          <a:srcRect/>
          <a:stretch>
            <a:fillRect/>
          </a:stretch>
        </p:blipFill>
        <p:spPr bwMode="auto">
          <a:xfrm>
            <a:off x="5971359" y="956847"/>
            <a:ext cx="2828602" cy="3218256"/>
          </a:xfrm>
          <a:prstGeom prst="rect">
            <a:avLst/>
          </a:prstGeom>
          <a:noFill/>
          <a:ln w="9525">
            <a:noFill/>
            <a:miter lim="800000"/>
            <a:headEnd/>
            <a:tailEnd/>
          </a:ln>
        </p:spPr>
      </p:pic>
    </p:spTree>
    <p:extLst>
      <p:ext uri="{BB962C8B-B14F-4D97-AF65-F5344CB8AC3E}">
        <p14:creationId xmlns:p14="http://schemas.microsoft.com/office/powerpoint/2010/main" val="13838345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anim calcmode="lin" valueType="num">
                                      <p:cBhvr additive="base">
                                        <p:cTn id="11"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3">
                                            <p:txEl>
                                              <p:pRg st="1" end="1"/>
                                            </p:txEl>
                                          </p:spTgt>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anim calcmode="lin" valueType="num">
                                      <p:cBhvr additive="base">
                                        <p:cTn id="15"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16" dur="500" fill="hold"/>
                                        <p:tgtEl>
                                          <p:spTgt spid="3">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grpId="0" nodeType="clickEffect">
                                  <p:stCondLst>
                                    <p:cond delay="0"/>
                                  </p:stCondLst>
                                  <p:childTnLst>
                                    <p:set>
                                      <p:cBhvr>
                                        <p:cTn id="20" dur="1" fill="hold">
                                          <p:stCondLst>
                                            <p:cond delay="0"/>
                                          </p:stCondLst>
                                        </p:cTn>
                                        <p:tgtEl>
                                          <p:spTgt spid="3">
                                            <p:txEl>
                                              <p:pRg st="5" end="5"/>
                                            </p:txEl>
                                          </p:spTgt>
                                        </p:tgtEl>
                                        <p:attrNameLst>
                                          <p:attrName>style.visibility</p:attrName>
                                        </p:attrNameLst>
                                      </p:cBhvr>
                                      <p:to>
                                        <p:strVal val="visible"/>
                                      </p:to>
                                    </p:set>
                                    <p:anim calcmode="lin" valueType="num">
                                      <p:cBhvr additive="base">
                                        <p:cTn id="21" dur="500" fill="hold"/>
                                        <p:tgtEl>
                                          <p:spTgt spid="3">
                                            <p:txEl>
                                              <p:pRg st="5" end="5"/>
                                            </p:txEl>
                                          </p:spTgt>
                                        </p:tgtEl>
                                        <p:attrNameLst>
                                          <p:attrName>ppt_x</p:attrName>
                                        </p:attrNameLst>
                                      </p:cBhvr>
                                      <p:tavLst>
                                        <p:tav tm="0">
                                          <p:val>
                                            <p:strVal val="#ppt_x"/>
                                          </p:val>
                                        </p:tav>
                                        <p:tav tm="100000">
                                          <p:val>
                                            <p:strVal val="#ppt_x"/>
                                          </p:val>
                                        </p:tav>
                                      </p:tavLst>
                                    </p:anim>
                                    <p:anim calcmode="lin" valueType="num">
                                      <p:cBhvr additive="base">
                                        <p:cTn id="22" dur="500" fill="hold"/>
                                        <p:tgtEl>
                                          <p:spTgt spid="3">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4" fill="hold" grpId="0"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anim calcmode="lin" valueType="num">
                                      <p:cBhvr additive="base">
                                        <p:cTn id="27" dur="500" fill="hold"/>
                                        <p:tgtEl>
                                          <p:spTgt spid="3">
                                            <p:txEl>
                                              <p:pRg st="6" end="6"/>
                                            </p:txEl>
                                          </p:spTgt>
                                        </p:tgtEl>
                                        <p:attrNameLst>
                                          <p:attrName>ppt_x</p:attrName>
                                        </p:attrNameLst>
                                      </p:cBhvr>
                                      <p:tavLst>
                                        <p:tav tm="0">
                                          <p:val>
                                            <p:strVal val="#ppt_x"/>
                                          </p:val>
                                        </p:tav>
                                        <p:tav tm="100000">
                                          <p:val>
                                            <p:strVal val="#ppt_x"/>
                                          </p:val>
                                        </p:tav>
                                      </p:tavLst>
                                    </p:anim>
                                    <p:anim calcmode="lin" valueType="num">
                                      <p:cBhvr additive="base">
                                        <p:cTn id="28" dur="500" fill="hold"/>
                                        <p:tgtEl>
                                          <p:spTgt spid="3">
                                            <p:txEl>
                                              <p:pRg st="6" end="6"/>
                                            </p:txEl>
                                          </p:spTgt>
                                        </p:tgtEl>
                                        <p:attrNameLst>
                                          <p:attrName>ppt_y</p:attrName>
                                        </p:attrNameLst>
                                      </p:cBhvr>
                                      <p:tavLst>
                                        <p:tav tm="0">
                                          <p:val>
                                            <p:strVal val="1+#ppt_h/2"/>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2" presetClass="entr" presetSubtype="4" fill="hold" grpId="0" nodeType="clickEffect">
                                  <p:stCondLst>
                                    <p:cond delay="0"/>
                                  </p:stCondLst>
                                  <p:childTnLst>
                                    <p:set>
                                      <p:cBhvr>
                                        <p:cTn id="32" dur="1" fill="hold">
                                          <p:stCondLst>
                                            <p:cond delay="0"/>
                                          </p:stCondLst>
                                        </p:cTn>
                                        <p:tgtEl>
                                          <p:spTgt spid="3">
                                            <p:txEl>
                                              <p:pRg st="8" end="8"/>
                                            </p:txEl>
                                          </p:spTgt>
                                        </p:tgtEl>
                                        <p:attrNameLst>
                                          <p:attrName>style.visibility</p:attrName>
                                        </p:attrNameLst>
                                      </p:cBhvr>
                                      <p:to>
                                        <p:strVal val="visible"/>
                                      </p:to>
                                    </p:set>
                                    <p:anim calcmode="lin" valueType="num">
                                      <p:cBhvr additive="base">
                                        <p:cTn id="33" dur="500" fill="hold"/>
                                        <p:tgtEl>
                                          <p:spTgt spid="3">
                                            <p:txEl>
                                              <p:pRg st="8" end="8"/>
                                            </p:txEl>
                                          </p:spTgt>
                                        </p:tgtEl>
                                        <p:attrNameLst>
                                          <p:attrName>ppt_x</p:attrName>
                                        </p:attrNameLst>
                                      </p:cBhvr>
                                      <p:tavLst>
                                        <p:tav tm="0">
                                          <p:val>
                                            <p:strVal val="#ppt_x"/>
                                          </p:val>
                                        </p:tav>
                                        <p:tav tm="100000">
                                          <p:val>
                                            <p:strVal val="#ppt_x"/>
                                          </p:val>
                                        </p:tav>
                                      </p:tavLst>
                                    </p:anim>
                                    <p:anim calcmode="lin" valueType="num">
                                      <p:cBhvr additive="base">
                                        <p:cTn id="34" dur="500" fill="hold"/>
                                        <p:tgtEl>
                                          <p:spTgt spid="3">
                                            <p:txEl>
                                              <p:pRg st="8" end="8"/>
                                            </p:txEl>
                                          </p:spTgt>
                                        </p:tgtEl>
                                        <p:attrNameLst>
                                          <p:attrName>ppt_y</p:attrName>
                                        </p:attrNameLst>
                                      </p:cBhvr>
                                      <p:tavLst>
                                        <p:tav tm="0">
                                          <p:val>
                                            <p:strVal val="1+#ppt_h/2"/>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2" presetClass="entr" presetSubtype="4" fill="hold" grpId="0" nodeType="clickEffect">
                                  <p:stCondLst>
                                    <p:cond delay="0"/>
                                  </p:stCondLst>
                                  <p:childTnLst>
                                    <p:set>
                                      <p:cBhvr>
                                        <p:cTn id="38" dur="1" fill="hold">
                                          <p:stCondLst>
                                            <p:cond delay="0"/>
                                          </p:stCondLst>
                                        </p:cTn>
                                        <p:tgtEl>
                                          <p:spTgt spid="3">
                                            <p:txEl>
                                              <p:pRg st="9" end="9"/>
                                            </p:txEl>
                                          </p:spTgt>
                                        </p:tgtEl>
                                        <p:attrNameLst>
                                          <p:attrName>style.visibility</p:attrName>
                                        </p:attrNameLst>
                                      </p:cBhvr>
                                      <p:to>
                                        <p:strVal val="visible"/>
                                      </p:to>
                                    </p:set>
                                    <p:anim calcmode="lin" valueType="num">
                                      <p:cBhvr additive="base">
                                        <p:cTn id="39" dur="500" fill="hold"/>
                                        <p:tgtEl>
                                          <p:spTgt spid="3">
                                            <p:txEl>
                                              <p:pRg st="9" end="9"/>
                                            </p:txEl>
                                          </p:spTgt>
                                        </p:tgtEl>
                                        <p:attrNameLst>
                                          <p:attrName>ppt_x</p:attrName>
                                        </p:attrNameLst>
                                      </p:cBhvr>
                                      <p:tavLst>
                                        <p:tav tm="0">
                                          <p:val>
                                            <p:strVal val="#ppt_x"/>
                                          </p:val>
                                        </p:tav>
                                        <p:tav tm="100000">
                                          <p:val>
                                            <p:strVal val="#ppt_x"/>
                                          </p:val>
                                        </p:tav>
                                      </p:tavLst>
                                    </p:anim>
                                    <p:anim calcmode="lin" valueType="num">
                                      <p:cBhvr additive="base">
                                        <p:cTn id="40" dur="500" fill="hold"/>
                                        <p:tgtEl>
                                          <p:spTgt spid="3">
                                            <p:txEl>
                                              <p:pRg st="9" end="9"/>
                                            </p:txEl>
                                          </p:spTgt>
                                        </p:tgtEl>
                                        <p:attrNameLst>
                                          <p:attrName>ppt_y</p:attrName>
                                        </p:attrNameLst>
                                      </p:cBhvr>
                                      <p:tavLst>
                                        <p:tav tm="0">
                                          <p:val>
                                            <p:strVal val="1+#ppt_h/2"/>
                                          </p:val>
                                        </p:tav>
                                        <p:tav tm="100000">
                                          <p:val>
                                            <p:strVal val="#ppt_y"/>
                                          </p:val>
                                        </p:tav>
                                      </p:tavLst>
                                    </p:anim>
                                  </p:childTnLst>
                                </p:cTn>
                              </p:par>
                            </p:childTnLst>
                          </p:cTn>
                        </p:par>
                      </p:childTnLst>
                    </p:cTn>
                  </p:par>
                  <p:par>
                    <p:cTn id="41" fill="hold">
                      <p:stCondLst>
                        <p:cond delay="indefinite"/>
                      </p:stCondLst>
                      <p:childTnLst>
                        <p:par>
                          <p:cTn id="42" fill="hold">
                            <p:stCondLst>
                              <p:cond delay="0"/>
                            </p:stCondLst>
                            <p:childTnLst>
                              <p:par>
                                <p:cTn id="43" presetID="2" presetClass="entr" presetSubtype="4" fill="hold" grpId="0" nodeType="clickEffect">
                                  <p:stCondLst>
                                    <p:cond delay="0"/>
                                  </p:stCondLst>
                                  <p:childTnLst>
                                    <p:set>
                                      <p:cBhvr>
                                        <p:cTn id="44" dur="1" fill="hold">
                                          <p:stCondLst>
                                            <p:cond delay="0"/>
                                          </p:stCondLst>
                                        </p:cTn>
                                        <p:tgtEl>
                                          <p:spTgt spid="3">
                                            <p:txEl>
                                              <p:pRg st="10" end="10"/>
                                            </p:txEl>
                                          </p:spTgt>
                                        </p:tgtEl>
                                        <p:attrNameLst>
                                          <p:attrName>style.visibility</p:attrName>
                                        </p:attrNameLst>
                                      </p:cBhvr>
                                      <p:to>
                                        <p:strVal val="visible"/>
                                      </p:to>
                                    </p:set>
                                    <p:anim calcmode="lin" valueType="num">
                                      <p:cBhvr additive="base">
                                        <p:cTn id="45" dur="500" fill="hold"/>
                                        <p:tgtEl>
                                          <p:spTgt spid="3">
                                            <p:txEl>
                                              <p:pRg st="10" end="10"/>
                                            </p:txEl>
                                          </p:spTgt>
                                        </p:tgtEl>
                                        <p:attrNameLst>
                                          <p:attrName>ppt_x</p:attrName>
                                        </p:attrNameLst>
                                      </p:cBhvr>
                                      <p:tavLst>
                                        <p:tav tm="0">
                                          <p:val>
                                            <p:strVal val="#ppt_x"/>
                                          </p:val>
                                        </p:tav>
                                        <p:tav tm="100000">
                                          <p:val>
                                            <p:strVal val="#ppt_x"/>
                                          </p:val>
                                        </p:tav>
                                      </p:tavLst>
                                    </p:anim>
                                    <p:anim calcmode="lin" valueType="num">
                                      <p:cBhvr additive="base">
                                        <p:cTn id="46" dur="500" fill="hold"/>
                                        <p:tgtEl>
                                          <p:spTgt spid="3">
                                            <p:txEl>
                                              <p:pRg st="10" end="10"/>
                                            </p:txEl>
                                          </p:spTgt>
                                        </p:tgtEl>
                                        <p:attrNameLst>
                                          <p:attrName>ppt_y</p:attrName>
                                        </p:attrNameLst>
                                      </p:cBhvr>
                                      <p:tavLst>
                                        <p:tav tm="0">
                                          <p:val>
                                            <p:strVal val="1+#ppt_h/2"/>
                                          </p:val>
                                        </p:tav>
                                        <p:tav tm="100000">
                                          <p:val>
                                            <p:strVal val="#ppt_y"/>
                                          </p:val>
                                        </p:tav>
                                      </p:tavLst>
                                    </p:anim>
                                  </p:childTnLst>
                                </p:cTn>
                              </p:par>
                            </p:childTnLst>
                          </p:cTn>
                        </p:par>
                      </p:childTnLst>
                    </p:cTn>
                  </p:par>
                  <p:par>
                    <p:cTn id="47" fill="hold">
                      <p:stCondLst>
                        <p:cond delay="indefinite"/>
                      </p:stCondLst>
                      <p:childTnLst>
                        <p:par>
                          <p:cTn id="48" fill="hold">
                            <p:stCondLst>
                              <p:cond delay="0"/>
                            </p:stCondLst>
                            <p:childTnLst>
                              <p:par>
                                <p:cTn id="49" presetID="2" presetClass="entr" presetSubtype="4" fill="hold" grpId="0" nodeType="clickEffect">
                                  <p:stCondLst>
                                    <p:cond delay="0"/>
                                  </p:stCondLst>
                                  <p:childTnLst>
                                    <p:set>
                                      <p:cBhvr>
                                        <p:cTn id="50" dur="1" fill="hold">
                                          <p:stCondLst>
                                            <p:cond delay="0"/>
                                          </p:stCondLst>
                                        </p:cTn>
                                        <p:tgtEl>
                                          <p:spTgt spid="3">
                                            <p:txEl>
                                              <p:pRg st="12" end="12"/>
                                            </p:txEl>
                                          </p:spTgt>
                                        </p:tgtEl>
                                        <p:attrNameLst>
                                          <p:attrName>style.visibility</p:attrName>
                                        </p:attrNameLst>
                                      </p:cBhvr>
                                      <p:to>
                                        <p:strVal val="visible"/>
                                      </p:to>
                                    </p:set>
                                    <p:anim calcmode="lin" valueType="num">
                                      <p:cBhvr additive="base">
                                        <p:cTn id="51" dur="500" fill="hold"/>
                                        <p:tgtEl>
                                          <p:spTgt spid="3">
                                            <p:txEl>
                                              <p:pRg st="12" end="12"/>
                                            </p:txEl>
                                          </p:spTgt>
                                        </p:tgtEl>
                                        <p:attrNameLst>
                                          <p:attrName>ppt_x</p:attrName>
                                        </p:attrNameLst>
                                      </p:cBhvr>
                                      <p:tavLst>
                                        <p:tav tm="0">
                                          <p:val>
                                            <p:strVal val="#ppt_x"/>
                                          </p:val>
                                        </p:tav>
                                        <p:tav tm="100000">
                                          <p:val>
                                            <p:strVal val="#ppt_x"/>
                                          </p:val>
                                        </p:tav>
                                      </p:tavLst>
                                    </p:anim>
                                    <p:anim calcmode="lin" valueType="num">
                                      <p:cBhvr additive="base">
                                        <p:cTn id="52" dur="500" fill="hold"/>
                                        <p:tgtEl>
                                          <p:spTgt spid="3">
                                            <p:txEl>
                                              <p:pRg st="12" end="12"/>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37891" name="Rectangle 7"/>
          <p:cNvSpPr>
            <a:spLocks noGrp="1" noChangeArrowheads="1"/>
          </p:cNvSpPr>
          <p:nvPr>
            <p:ph idx="1"/>
          </p:nvPr>
        </p:nvSpPr>
        <p:spPr>
          <a:xfrm>
            <a:off x="365845" y="1164057"/>
            <a:ext cx="4585366" cy="3374648"/>
          </a:xfrm>
        </p:spPr>
        <p:txBody>
          <a:bodyPr/>
          <a:lstStyle/>
          <a:p>
            <a:r>
              <a:rPr lang="en-US" dirty="0"/>
              <a:t>Oldest metering technology</a:t>
            </a:r>
          </a:p>
          <a:p>
            <a:r>
              <a:rPr lang="en-US" dirty="0"/>
              <a:t>Most widely used (still)</a:t>
            </a:r>
          </a:p>
          <a:p>
            <a:r>
              <a:rPr lang="en-US" dirty="0"/>
              <a:t>Design is:</a:t>
            </a:r>
          </a:p>
          <a:p>
            <a:pPr lvl="1"/>
            <a:r>
              <a:rPr lang="en-US" dirty="0"/>
              <a:t>Simple</a:t>
            </a:r>
          </a:p>
          <a:p>
            <a:pPr lvl="1"/>
            <a:r>
              <a:rPr lang="en-US" dirty="0"/>
              <a:t>Efficient</a:t>
            </a:r>
          </a:p>
          <a:p>
            <a:pPr lvl="1"/>
            <a:r>
              <a:rPr lang="en-US" dirty="0"/>
              <a:t>Relatively mechanically unchanged since the 1800’s.</a:t>
            </a:r>
          </a:p>
          <a:p>
            <a:pPr lvl="1"/>
            <a:r>
              <a:rPr lang="en-US" dirty="0"/>
              <a:t>Major improvements in materials, construction, assembly, and testing</a:t>
            </a:r>
          </a:p>
          <a:p>
            <a:pPr lvl="1"/>
            <a:r>
              <a:rPr lang="en-US" dirty="0"/>
              <a:t>Large Turndown</a:t>
            </a:r>
          </a:p>
          <a:p>
            <a:pPr lvl="1"/>
            <a:r>
              <a:rPr lang="en-US" dirty="0"/>
              <a:t>Long Useful Life</a:t>
            </a:r>
          </a:p>
          <a:p>
            <a:pPr lvl="1"/>
            <a:r>
              <a:rPr lang="en-US" dirty="0"/>
              <a:t>Physically large for capacity</a:t>
            </a:r>
          </a:p>
          <a:p>
            <a:pPr lvl="1"/>
            <a:r>
              <a:rPr lang="en-US" dirty="0"/>
              <a:t>Mechanical Reading</a:t>
            </a:r>
          </a:p>
          <a:p>
            <a:pPr lvl="1"/>
            <a:endParaRPr lang="en-US" dirty="0"/>
          </a:p>
        </p:txBody>
      </p:sp>
      <p:sp>
        <p:nvSpPr>
          <p:cNvPr id="37890" name="Rectangle 6"/>
          <p:cNvSpPr>
            <a:spLocks noGrp="1" noChangeArrowheads="1"/>
          </p:cNvSpPr>
          <p:nvPr>
            <p:ph type="title"/>
          </p:nvPr>
        </p:nvSpPr>
        <p:spPr/>
        <p:txBody>
          <a:bodyPr/>
          <a:lstStyle/>
          <a:p>
            <a:r>
              <a:rPr lang="en-US" dirty="0"/>
              <a:t>Diaphragm Technology</a:t>
            </a:r>
          </a:p>
        </p:txBody>
      </p:sp>
      <p:sp>
        <p:nvSpPr>
          <p:cNvPr id="3" name="Footer Placeholder 2">
            <a:extLst>
              <a:ext uri="{FF2B5EF4-FFF2-40B4-BE49-F238E27FC236}">
                <a16:creationId xmlns:a16="http://schemas.microsoft.com/office/drawing/2014/main" id="{5BBE28EF-6C1D-BD44-8950-07FB1BCEA58B}"/>
              </a:ext>
            </a:extLst>
          </p:cNvPr>
          <p:cNvSpPr>
            <a:spLocks noGrp="1"/>
          </p:cNvSpPr>
          <p:nvPr>
            <p:ph type="ftr" sz="quarter" idx="3"/>
          </p:nvPr>
        </p:nvSpPr>
        <p:spPr/>
        <p:txBody>
          <a:bodyPr/>
          <a:lstStyle/>
          <a:p>
            <a:r>
              <a:rPr lang="en-US" dirty="0"/>
              <a:t>3</a:t>
            </a:r>
          </a:p>
        </p:txBody>
      </p:sp>
      <p:pic>
        <p:nvPicPr>
          <p:cNvPr id="37893" name="Picture 20" descr="Gas Meters Dowtown by roshutsu."/>
          <p:cNvPicPr>
            <a:picLocks noChangeAspect="1" noChangeArrowheads="1"/>
          </p:cNvPicPr>
          <p:nvPr/>
        </p:nvPicPr>
        <p:blipFill>
          <a:blip r:embed="rId4" cstate="print"/>
          <a:srcRect/>
          <a:stretch>
            <a:fillRect/>
          </a:stretch>
        </p:blipFill>
        <p:spPr bwMode="auto">
          <a:xfrm>
            <a:off x="5173454" y="1053457"/>
            <a:ext cx="3311317" cy="3485248"/>
          </a:xfrm>
          <a:prstGeom prst="rect">
            <a:avLst/>
          </a:prstGeom>
          <a:noFill/>
          <a:ln w="9525">
            <a:noFill/>
            <a:miter lim="800000"/>
            <a:headEnd/>
            <a:tailEnd/>
          </a:ln>
        </p:spPr>
      </p:pic>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E1511DA-B04D-E5C5-977E-25AF02420B81}"/>
              </a:ext>
            </a:extLst>
          </p:cNvPr>
          <p:cNvSpPr>
            <a:spLocks noGrp="1"/>
          </p:cNvSpPr>
          <p:nvPr>
            <p:ph type="title"/>
          </p:nvPr>
        </p:nvSpPr>
        <p:spPr/>
        <p:txBody>
          <a:bodyPr/>
          <a:lstStyle/>
          <a:p>
            <a:r>
              <a:rPr lang="en-US" dirty="0"/>
              <a:t>Diaphragm Construction/Operation</a:t>
            </a:r>
          </a:p>
        </p:txBody>
      </p:sp>
      <p:sp>
        <p:nvSpPr>
          <p:cNvPr id="5" name="Footer Placeholder 4">
            <a:extLst>
              <a:ext uri="{FF2B5EF4-FFF2-40B4-BE49-F238E27FC236}">
                <a16:creationId xmlns:a16="http://schemas.microsoft.com/office/drawing/2014/main" id="{DC50AEBF-268F-7494-631D-C4C6AD8266F2}"/>
              </a:ext>
            </a:extLst>
          </p:cNvPr>
          <p:cNvSpPr>
            <a:spLocks noGrp="1"/>
          </p:cNvSpPr>
          <p:nvPr>
            <p:ph type="ftr" sz="quarter" idx="3"/>
          </p:nvPr>
        </p:nvSpPr>
        <p:spPr/>
        <p:txBody>
          <a:bodyPr/>
          <a:lstStyle/>
          <a:p>
            <a:endParaRPr lang="en-US" dirty="0"/>
          </a:p>
        </p:txBody>
      </p:sp>
      <p:pic>
        <p:nvPicPr>
          <p:cNvPr id="7" name="Picture 6">
            <a:extLst>
              <a:ext uri="{FF2B5EF4-FFF2-40B4-BE49-F238E27FC236}">
                <a16:creationId xmlns:a16="http://schemas.microsoft.com/office/drawing/2014/main" id="{E4A88636-FC0F-3304-71C0-8161FBDD452D}"/>
              </a:ext>
            </a:extLst>
          </p:cNvPr>
          <p:cNvPicPr>
            <a:picLocks noChangeAspect="1"/>
          </p:cNvPicPr>
          <p:nvPr/>
        </p:nvPicPr>
        <p:blipFill>
          <a:blip r:embed="rId3"/>
          <a:stretch>
            <a:fillRect/>
          </a:stretch>
        </p:blipFill>
        <p:spPr>
          <a:xfrm>
            <a:off x="469042" y="846179"/>
            <a:ext cx="8015416" cy="3926580"/>
          </a:xfrm>
          <a:prstGeom prst="rect">
            <a:avLst/>
          </a:prstGeom>
        </p:spPr>
      </p:pic>
    </p:spTree>
    <p:extLst>
      <p:ext uri="{BB962C8B-B14F-4D97-AF65-F5344CB8AC3E}">
        <p14:creationId xmlns:p14="http://schemas.microsoft.com/office/powerpoint/2010/main" val="2712026489"/>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0230AD-0EE4-C6BF-9483-C7C6F78F0C9B}"/>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3E869472-9591-170E-2050-6570D36B420A}"/>
              </a:ext>
            </a:extLst>
          </p:cNvPr>
          <p:cNvSpPr>
            <a:spLocks noGrp="1"/>
          </p:cNvSpPr>
          <p:nvPr>
            <p:ph type="title"/>
          </p:nvPr>
        </p:nvSpPr>
        <p:spPr/>
        <p:txBody>
          <a:bodyPr/>
          <a:lstStyle/>
          <a:p>
            <a:r>
              <a:rPr lang="en-US" dirty="0"/>
              <a:t>Diaphragm Construction/Operation</a:t>
            </a:r>
          </a:p>
        </p:txBody>
      </p:sp>
      <p:sp>
        <p:nvSpPr>
          <p:cNvPr id="5" name="Footer Placeholder 4">
            <a:extLst>
              <a:ext uri="{FF2B5EF4-FFF2-40B4-BE49-F238E27FC236}">
                <a16:creationId xmlns:a16="http://schemas.microsoft.com/office/drawing/2014/main" id="{F476793F-5A03-97BA-6132-9B0A8708AAA3}"/>
              </a:ext>
            </a:extLst>
          </p:cNvPr>
          <p:cNvSpPr>
            <a:spLocks noGrp="1"/>
          </p:cNvSpPr>
          <p:nvPr>
            <p:ph type="ftr" sz="quarter" idx="3"/>
          </p:nvPr>
        </p:nvSpPr>
        <p:spPr/>
        <p:txBody>
          <a:bodyPr/>
          <a:lstStyle/>
          <a:p>
            <a:endParaRPr lang="en-US" dirty="0"/>
          </a:p>
        </p:txBody>
      </p:sp>
      <p:pic>
        <p:nvPicPr>
          <p:cNvPr id="4" name="Picture 3">
            <a:extLst>
              <a:ext uri="{FF2B5EF4-FFF2-40B4-BE49-F238E27FC236}">
                <a16:creationId xmlns:a16="http://schemas.microsoft.com/office/drawing/2014/main" id="{EB8F4AD8-6985-9135-7132-2A022776E321}"/>
              </a:ext>
            </a:extLst>
          </p:cNvPr>
          <p:cNvPicPr>
            <a:picLocks noChangeAspect="1"/>
          </p:cNvPicPr>
          <p:nvPr/>
        </p:nvPicPr>
        <p:blipFill>
          <a:blip r:embed="rId3"/>
          <a:stretch>
            <a:fillRect/>
          </a:stretch>
        </p:blipFill>
        <p:spPr>
          <a:xfrm>
            <a:off x="361950" y="980303"/>
            <a:ext cx="8543153" cy="2965621"/>
          </a:xfrm>
          <a:prstGeom prst="rect">
            <a:avLst/>
          </a:prstGeom>
        </p:spPr>
      </p:pic>
    </p:spTree>
    <p:extLst>
      <p:ext uri="{BB962C8B-B14F-4D97-AF65-F5344CB8AC3E}">
        <p14:creationId xmlns:p14="http://schemas.microsoft.com/office/powerpoint/2010/main" val="1466206907"/>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1D2489F-96CA-1FE2-4AD6-467E90C0D550}"/>
              </a:ext>
            </a:extLst>
          </p:cNvPr>
          <p:cNvSpPr>
            <a:spLocks noGrp="1"/>
          </p:cNvSpPr>
          <p:nvPr>
            <p:ph type="title"/>
          </p:nvPr>
        </p:nvSpPr>
        <p:spPr>
          <a:xfrm>
            <a:off x="106577" y="52557"/>
            <a:ext cx="8229600" cy="461345"/>
          </a:xfrm>
        </p:spPr>
        <p:txBody>
          <a:bodyPr/>
          <a:lstStyle/>
          <a:p>
            <a:pPr algn="ctr"/>
            <a:r>
              <a:rPr lang="en-US" dirty="0"/>
              <a:t>Size and Availability</a:t>
            </a:r>
          </a:p>
        </p:txBody>
      </p:sp>
      <p:pic>
        <p:nvPicPr>
          <p:cNvPr id="7" name="Picture 6" descr="A group of grey machines&#10;&#10;AI-generated content may be incorrect.">
            <a:extLst>
              <a:ext uri="{FF2B5EF4-FFF2-40B4-BE49-F238E27FC236}">
                <a16:creationId xmlns:a16="http://schemas.microsoft.com/office/drawing/2014/main" id="{933E577E-3737-FE78-D0CA-393854A8BF72}"/>
              </a:ext>
            </a:extLst>
          </p:cNvPr>
          <p:cNvPicPr>
            <a:picLocks noChangeAspect="1"/>
          </p:cNvPicPr>
          <p:nvPr/>
        </p:nvPicPr>
        <p:blipFill>
          <a:blip r:embed="rId3"/>
          <a:stretch>
            <a:fillRect/>
          </a:stretch>
        </p:blipFill>
        <p:spPr>
          <a:xfrm>
            <a:off x="439476" y="590797"/>
            <a:ext cx="2771917" cy="2133077"/>
          </a:xfrm>
          <a:prstGeom prst="rect">
            <a:avLst/>
          </a:prstGeom>
        </p:spPr>
      </p:pic>
      <p:sp>
        <p:nvSpPr>
          <p:cNvPr id="8" name="TextBox 7">
            <a:extLst>
              <a:ext uri="{FF2B5EF4-FFF2-40B4-BE49-F238E27FC236}">
                <a16:creationId xmlns:a16="http://schemas.microsoft.com/office/drawing/2014/main" id="{25C298EE-DE97-34EF-4D53-9748C85DD876}"/>
              </a:ext>
            </a:extLst>
          </p:cNvPr>
          <p:cNvSpPr txBox="1"/>
          <p:nvPr/>
        </p:nvSpPr>
        <p:spPr>
          <a:xfrm>
            <a:off x="486031" y="2916195"/>
            <a:ext cx="2825579" cy="300082"/>
          </a:xfrm>
          <a:prstGeom prst="rect">
            <a:avLst/>
          </a:prstGeom>
          <a:noFill/>
        </p:spPr>
        <p:txBody>
          <a:bodyPr wrap="square" rtlCol="0">
            <a:spAutoFit/>
          </a:bodyPr>
          <a:lstStyle/>
          <a:p>
            <a:r>
              <a:rPr lang="en-US" dirty="0"/>
              <a:t>Itron 250-400A-675A-800A-1000A</a:t>
            </a:r>
          </a:p>
        </p:txBody>
      </p:sp>
      <p:sp>
        <p:nvSpPr>
          <p:cNvPr id="10" name="Flowchart: Summing Junction 9">
            <a:extLst>
              <a:ext uri="{FF2B5EF4-FFF2-40B4-BE49-F238E27FC236}">
                <a16:creationId xmlns:a16="http://schemas.microsoft.com/office/drawing/2014/main" id="{4C4C663D-47F2-7D0A-FF6A-C9F353F443A9}"/>
              </a:ext>
            </a:extLst>
          </p:cNvPr>
          <p:cNvSpPr/>
          <p:nvPr/>
        </p:nvSpPr>
        <p:spPr>
          <a:xfrm>
            <a:off x="0" y="437199"/>
            <a:ext cx="3699354" cy="2478996"/>
          </a:xfrm>
          <a:prstGeom prst="flowChartSummingJunction">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3" name="Picture 12">
            <a:extLst>
              <a:ext uri="{FF2B5EF4-FFF2-40B4-BE49-F238E27FC236}">
                <a16:creationId xmlns:a16="http://schemas.microsoft.com/office/drawing/2014/main" id="{3CF05A55-8F1B-FC23-0BCE-2577773C1C6E}"/>
              </a:ext>
            </a:extLst>
          </p:cNvPr>
          <p:cNvPicPr>
            <a:picLocks noChangeAspect="1"/>
          </p:cNvPicPr>
          <p:nvPr/>
        </p:nvPicPr>
        <p:blipFill>
          <a:blip r:embed="rId4"/>
          <a:stretch>
            <a:fillRect/>
          </a:stretch>
        </p:blipFill>
        <p:spPr>
          <a:xfrm>
            <a:off x="4916626" y="713487"/>
            <a:ext cx="1096996" cy="1408043"/>
          </a:xfrm>
          <a:prstGeom prst="rect">
            <a:avLst/>
          </a:prstGeom>
        </p:spPr>
      </p:pic>
      <p:sp>
        <p:nvSpPr>
          <p:cNvPr id="14" name="TextBox 13">
            <a:extLst>
              <a:ext uri="{FF2B5EF4-FFF2-40B4-BE49-F238E27FC236}">
                <a16:creationId xmlns:a16="http://schemas.microsoft.com/office/drawing/2014/main" id="{73587796-D1BD-676F-CFEA-B92699E00127}"/>
              </a:ext>
            </a:extLst>
          </p:cNvPr>
          <p:cNvSpPr txBox="1"/>
          <p:nvPr/>
        </p:nvSpPr>
        <p:spPr>
          <a:xfrm>
            <a:off x="3896498" y="2121531"/>
            <a:ext cx="807308" cy="507831"/>
          </a:xfrm>
          <a:prstGeom prst="rect">
            <a:avLst/>
          </a:prstGeom>
          <a:noFill/>
        </p:spPr>
        <p:txBody>
          <a:bodyPr wrap="square" rtlCol="0">
            <a:spAutoFit/>
          </a:bodyPr>
          <a:lstStyle/>
          <a:p>
            <a:r>
              <a:rPr lang="en-US" dirty="0"/>
              <a:t>Sensus</a:t>
            </a:r>
          </a:p>
          <a:p>
            <a:r>
              <a:rPr lang="en-US" dirty="0"/>
              <a:t>R-275 </a:t>
            </a:r>
          </a:p>
        </p:txBody>
      </p:sp>
      <p:pic>
        <p:nvPicPr>
          <p:cNvPr id="16" name="Picture 15">
            <a:extLst>
              <a:ext uri="{FF2B5EF4-FFF2-40B4-BE49-F238E27FC236}">
                <a16:creationId xmlns:a16="http://schemas.microsoft.com/office/drawing/2014/main" id="{3DA1C039-1FF2-ADC2-19CD-03B0D8FB8B02}"/>
              </a:ext>
            </a:extLst>
          </p:cNvPr>
          <p:cNvPicPr>
            <a:picLocks noChangeAspect="1"/>
          </p:cNvPicPr>
          <p:nvPr/>
        </p:nvPicPr>
        <p:blipFill>
          <a:blip r:embed="rId5"/>
          <a:stretch>
            <a:fillRect/>
          </a:stretch>
        </p:blipFill>
        <p:spPr>
          <a:xfrm>
            <a:off x="3732024" y="837225"/>
            <a:ext cx="1021255" cy="1284305"/>
          </a:xfrm>
          <a:prstGeom prst="rect">
            <a:avLst/>
          </a:prstGeom>
        </p:spPr>
      </p:pic>
      <p:sp>
        <p:nvSpPr>
          <p:cNvPr id="17" name="TextBox 16">
            <a:extLst>
              <a:ext uri="{FF2B5EF4-FFF2-40B4-BE49-F238E27FC236}">
                <a16:creationId xmlns:a16="http://schemas.microsoft.com/office/drawing/2014/main" id="{D088514B-22DF-7088-754C-021E0D5DBCBD}"/>
              </a:ext>
            </a:extLst>
          </p:cNvPr>
          <p:cNvSpPr txBox="1"/>
          <p:nvPr/>
        </p:nvSpPr>
        <p:spPr>
          <a:xfrm>
            <a:off x="5090471" y="2121530"/>
            <a:ext cx="807308" cy="507831"/>
          </a:xfrm>
          <a:prstGeom prst="rect">
            <a:avLst/>
          </a:prstGeom>
          <a:noFill/>
        </p:spPr>
        <p:txBody>
          <a:bodyPr wrap="square" rtlCol="0">
            <a:spAutoFit/>
          </a:bodyPr>
          <a:lstStyle/>
          <a:p>
            <a:r>
              <a:rPr lang="en-US" dirty="0"/>
              <a:t>Sensus</a:t>
            </a:r>
          </a:p>
          <a:p>
            <a:r>
              <a:rPr lang="en-US" dirty="0"/>
              <a:t>R-415</a:t>
            </a:r>
          </a:p>
        </p:txBody>
      </p:sp>
      <p:sp>
        <p:nvSpPr>
          <p:cNvPr id="18" name="Flowchart: Summing Junction 17">
            <a:extLst>
              <a:ext uri="{FF2B5EF4-FFF2-40B4-BE49-F238E27FC236}">
                <a16:creationId xmlns:a16="http://schemas.microsoft.com/office/drawing/2014/main" id="{B25966C4-C352-D20D-6402-B071EC364AF4}"/>
              </a:ext>
            </a:extLst>
          </p:cNvPr>
          <p:cNvSpPr/>
          <p:nvPr/>
        </p:nvSpPr>
        <p:spPr>
          <a:xfrm>
            <a:off x="4851287" y="601151"/>
            <a:ext cx="1227674" cy="1408043"/>
          </a:xfrm>
          <a:prstGeom prst="flowChartSummingJunction">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20" name="Picture 19" descr="A grey metal device with buttons and buttons&#10;&#10;AI-generated content may be incorrect.">
            <a:extLst>
              <a:ext uri="{FF2B5EF4-FFF2-40B4-BE49-F238E27FC236}">
                <a16:creationId xmlns:a16="http://schemas.microsoft.com/office/drawing/2014/main" id="{F8D994C9-90DB-9A58-FF7C-D35E0813702A}"/>
              </a:ext>
            </a:extLst>
          </p:cNvPr>
          <p:cNvPicPr>
            <a:picLocks noChangeAspect="1"/>
          </p:cNvPicPr>
          <p:nvPr/>
        </p:nvPicPr>
        <p:blipFill>
          <a:blip r:embed="rId6"/>
          <a:stretch>
            <a:fillRect/>
          </a:stretch>
        </p:blipFill>
        <p:spPr>
          <a:xfrm>
            <a:off x="754886" y="3210130"/>
            <a:ext cx="1125087" cy="1125087"/>
          </a:xfrm>
          <a:prstGeom prst="rect">
            <a:avLst/>
          </a:prstGeom>
        </p:spPr>
      </p:pic>
      <p:sp>
        <p:nvSpPr>
          <p:cNvPr id="21" name="TextBox 20">
            <a:extLst>
              <a:ext uri="{FF2B5EF4-FFF2-40B4-BE49-F238E27FC236}">
                <a16:creationId xmlns:a16="http://schemas.microsoft.com/office/drawing/2014/main" id="{9A066C3F-5E44-12B8-564F-C62BA1565427}"/>
              </a:ext>
            </a:extLst>
          </p:cNvPr>
          <p:cNvSpPr txBox="1"/>
          <p:nvPr/>
        </p:nvSpPr>
        <p:spPr>
          <a:xfrm>
            <a:off x="551935" y="4329070"/>
            <a:ext cx="1688188" cy="507831"/>
          </a:xfrm>
          <a:prstGeom prst="rect">
            <a:avLst/>
          </a:prstGeom>
          <a:noFill/>
        </p:spPr>
        <p:txBody>
          <a:bodyPr wrap="square" rtlCol="0">
            <a:spAutoFit/>
          </a:bodyPr>
          <a:lstStyle/>
          <a:p>
            <a:pPr algn="ctr"/>
            <a:r>
              <a:rPr lang="en-US" dirty="0"/>
              <a:t>Honeywell</a:t>
            </a:r>
          </a:p>
          <a:p>
            <a:pPr algn="ctr"/>
            <a:r>
              <a:rPr lang="en-US" dirty="0"/>
              <a:t>AC/AM/AT/AL-250</a:t>
            </a:r>
          </a:p>
        </p:txBody>
      </p:sp>
      <p:sp>
        <p:nvSpPr>
          <p:cNvPr id="22" name="AutoShape 4" descr="Image result for SENSUS/EQUIMETER LARGE COMMERCIAL DIAPHRAGM GAS METERS">
            <a:extLst>
              <a:ext uri="{FF2B5EF4-FFF2-40B4-BE49-F238E27FC236}">
                <a16:creationId xmlns:a16="http://schemas.microsoft.com/office/drawing/2014/main" id="{D668AF80-29F0-67D1-0AD7-FDC81E529EDC}"/>
              </a:ext>
            </a:extLst>
          </p:cNvPr>
          <p:cNvSpPr>
            <a:spLocks noChangeAspect="1" noChangeArrowheads="1"/>
          </p:cNvSpPr>
          <p:nvPr/>
        </p:nvSpPr>
        <p:spPr bwMode="auto">
          <a:xfrm>
            <a:off x="4419600" y="24209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24" name="Picture 23" descr="A group of silver containers&#10;&#10;AI-generated content may be incorrect.">
            <a:extLst>
              <a:ext uri="{FF2B5EF4-FFF2-40B4-BE49-F238E27FC236}">
                <a16:creationId xmlns:a16="http://schemas.microsoft.com/office/drawing/2014/main" id="{D14EB52D-64CE-551F-41C0-786EBB6ACF47}"/>
              </a:ext>
            </a:extLst>
          </p:cNvPr>
          <p:cNvPicPr>
            <a:picLocks noChangeAspect="1"/>
          </p:cNvPicPr>
          <p:nvPr/>
        </p:nvPicPr>
        <p:blipFill>
          <a:blip r:embed="rId7"/>
          <a:stretch>
            <a:fillRect/>
          </a:stretch>
        </p:blipFill>
        <p:spPr>
          <a:xfrm>
            <a:off x="6465626" y="108379"/>
            <a:ext cx="2158388" cy="2312559"/>
          </a:xfrm>
          <a:prstGeom prst="rect">
            <a:avLst/>
          </a:prstGeom>
        </p:spPr>
      </p:pic>
      <p:sp>
        <p:nvSpPr>
          <p:cNvPr id="25" name="TextBox 24">
            <a:extLst>
              <a:ext uri="{FF2B5EF4-FFF2-40B4-BE49-F238E27FC236}">
                <a16:creationId xmlns:a16="http://schemas.microsoft.com/office/drawing/2014/main" id="{BCF5A2ED-94A6-2F29-8106-4B299E823E16}"/>
              </a:ext>
            </a:extLst>
          </p:cNvPr>
          <p:cNvSpPr txBox="1"/>
          <p:nvPr/>
        </p:nvSpPr>
        <p:spPr>
          <a:xfrm>
            <a:off x="6071624" y="2319422"/>
            <a:ext cx="2957046" cy="507831"/>
          </a:xfrm>
          <a:prstGeom prst="rect">
            <a:avLst/>
          </a:prstGeom>
          <a:noFill/>
        </p:spPr>
        <p:txBody>
          <a:bodyPr wrap="square" rtlCol="0">
            <a:spAutoFit/>
          </a:bodyPr>
          <a:lstStyle/>
          <a:p>
            <a:pPr algn="ctr"/>
            <a:r>
              <a:rPr lang="en-US" dirty="0"/>
              <a:t>Sensus</a:t>
            </a:r>
          </a:p>
          <a:p>
            <a:pPr algn="ctr"/>
            <a:r>
              <a:rPr lang="en-US" dirty="0"/>
              <a:t>750/1000/1600/3000/5000/10000</a:t>
            </a:r>
          </a:p>
        </p:txBody>
      </p:sp>
      <p:sp>
        <p:nvSpPr>
          <p:cNvPr id="26" name="Flowchart: Summing Junction 25">
            <a:extLst>
              <a:ext uri="{FF2B5EF4-FFF2-40B4-BE49-F238E27FC236}">
                <a16:creationId xmlns:a16="http://schemas.microsoft.com/office/drawing/2014/main" id="{A4426921-E37D-2E9D-4788-47D6971ED027}"/>
              </a:ext>
            </a:extLst>
          </p:cNvPr>
          <p:cNvSpPr/>
          <p:nvPr/>
        </p:nvSpPr>
        <p:spPr>
          <a:xfrm>
            <a:off x="6350815" y="249293"/>
            <a:ext cx="2379364" cy="2070130"/>
          </a:xfrm>
          <a:prstGeom prst="flowChartSummingJunction">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28" name="Picture 27">
            <a:extLst>
              <a:ext uri="{FF2B5EF4-FFF2-40B4-BE49-F238E27FC236}">
                <a16:creationId xmlns:a16="http://schemas.microsoft.com/office/drawing/2014/main" id="{9C734B3E-F8B5-C504-A5FB-039409795A9C}"/>
              </a:ext>
            </a:extLst>
          </p:cNvPr>
          <p:cNvPicPr>
            <a:picLocks noChangeAspect="1"/>
          </p:cNvPicPr>
          <p:nvPr/>
        </p:nvPicPr>
        <p:blipFill>
          <a:blip r:embed="rId8"/>
          <a:stretch>
            <a:fillRect/>
          </a:stretch>
        </p:blipFill>
        <p:spPr>
          <a:xfrm>
            <a:off x="6324298" y="2916195"/>
            <a:ext cx="1979555" cy="1870060"/>
          </a:xfrm>
          <a:prstGeom prst="rect">
            <a:avLst/>
          </a:prstGeom>
        </p:spPr>
      </p:pic>
      <p:sp>
        <p:nvSpPr>
          <p:cNvPr id="29" name="TextBox 28">
            <a:extLst>
              <a:ext uri="{FF2B5EF4-FFF2-40B4-BE49-F238E27FC236}">
                <a16:creationId xmlns:a16="http://schemas.microsoft.com/office/drawing/2014/main" id="{D69071D4-6045-986D-C226-91A0890A4121}"/>
              </a:ext>
            </a:extLst>
          </p:cNvPr>
          <p:cNvSpPr txBox="1"/>
          <p:nvPr/>
        </p:nvSpPr>
        <p:spPr>
          <a:xfrm>
            <a:off x="5815982" y="4725156"/>
            <a:ext cx="3468330" cy="300082"/>
          </a:xfrm>
          <a:prstGeom prst="rect">
            <a:avLst/>
          </a:prstGeom>
          <a:noFill/>
        </p:spPr>
        <p:txBody>
          <a:bodyPr wrap="square" rtlCol="0">
            <a:spAutoFit/>
          </a:bodyPr>
          <a:lstStyle/>
          <a:p>
            <a:r>
              <a:rPr lang="en-US" dirty="0"/>
              <a:t>Honeywell AL-1400/2300/5000</a:t>
            </a:r>
          </a:p>
        </p:txBody>
      </p:sp>
      <p:pic>
        <p:nvPicPr>
          <p:cNvPr id="32" name="Picture 31" descr="A group of grey gas meters&#10;&#10;AI-generated content may be incorrect.">
            <a:extLst>
              <a:ext uri="{FF2B5EF4-FFF2-40B4-BE49-F238E27FC236}">
                <a16:creationId xmlns:a16="http://schemas.microsoft.com/office/drawing/2014/main" id="{CDAED834-1E52-9BA7-7351-036A90408A16}"/>
              </a:ext>
            </a:extLst>
          </p:cNvPr>
          <p:cNvPicPr>
            <a:picLocks noChangeAspect="1"/>
          </p:cNvPicPr>
          <p:nvPr/>
        </p:nvPicPr>
        <p:blipFill>
          <a:blip r:embed="rId9"/>
          <a:stretch>
            <a:fillRect/>
          </a:stretch>
        </p:blipFill>
        <p:spPr>
          <a:xfrm>
            <a:off x="3329791" y="2701110"/>
            <a:ext cx="2143125" cy="2143125"/>
          </a:xfrm>
          <a:prstGeom prst="rect">
            <a:avLst/>
          </a:prstGeom>
        </p:spPr>
      </p:pic>
      <p:sp>
        <p:nvSpPr>
          <p:cNvPr id="33" name="TextBox 32">
            <a:extLst>
              <a:ext uri="{FF2B5EF4-FFF2-40B4-BE49-F238E27FC236}">
                <a16:creationId xmlns:a16="http://schemas.microsoft.com/office/drawing/2014/main" id="{D965816D-F7A7-69E4-97D9-712667F51CBE}"/>
              </a:ext>
            </a:extLst>
          </p:cNvPr>
          <p:cNvSpPr txBox="1"/>
          <p:nvPr/>
        </p:nvSpPr>
        <p:spPr>
          <a:xfrm>
            <a:off x="2969641" y="4523823"/>
            <a:ext cx="3468330" cy="300082"/>
          </a:xfrm>
          <a:prstGeom prst="rect">
            <a:avLst/>
          </a:prstGeom>
          <a:noFill/>
        </p:spPr>
        <p:txBody>
          <a:bodyPr wrap="square" rtlCol="0">
            <a:spAutoFit/>
          </a:bodyPr>
          <a:lstStyle/>
          <a:p>
            <a:r>
              <a:rPr lang="en-US" dirty="0"/>
              <a:t>Honeywell 425/630/800/1000</a:t>
            </a:r>
          </a:p>
        </p:txBody>
      </p:sp>
      <p:sp>
        <p:nvSpPr>
          <p:cNvPr id="30" name="Flowchart: Summing Junction 29">
            <a:extLst>
              <a:ext uri="{FF2B5EF4-FFF2-40B4-BE49-F238E27FC236}">
                <a16:creationId xmlns:a16="http://schemas.microsoft.com/office/drawing/2014/main" id="{18B7AD47-6953-1CF4-175E-015494A081A4}"/>
              </a:ext>
            </a:extLst>
          </p:cNvPr>
          <p:cNvSpPr/>
          <p:nvPr/>
        </p:nvSpPr>
        <p:spPr>
          <a:xfrm>
            <a:off x="6124393" y="2916194"/>
            <a:ext cx="2379364" cy="1796129"/>
          </a:xfrm>
          <a:prstGeom prst="flowChartSummingJunction">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353884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anim calcmode="lin" valueType="num">
                                      <p:cBhvr additive="base">
                                        <p:cTn id="7" dur="500" fill="hold"/>
                                        <p:tgtEl>
                                          <p:spTgt spid="26"/>
                                        </p:tgtEl>
                                        <p:attrNameLst>
                                          <p:attrName>ppt_x</p:attrName>
                                        </p:attrNameLst>
                                      </p:cBhvr>
                                      <p:tavLst>
                                        <p:tav tm="0">
                                          <p:val>
                                            <p:strVal val="#ppt_x"/>
                                          </p:val>
                                        </p:tav>
                                        <p:tav tm="100000">
                                          <p:val>
                                            <p:strVal val="#ppt_x"/>
                                          </p:val>
                                        </p:tav>
                                      </p:tavLst>
                                    </p:anim>
                                    <p:anim calcmode="lin" valueType="num">
                                      <p:cBhvr additive="base">
                                        <p:cTn id="8" dur="500" fill="hold"/>
                                        <p:tgtEl>
                                          <p:spTgt spid="26"/>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30"/>
                                        </p:tgtEl>
                                        <p:attrNameLst>
                                          <p:attrName>style.visibility</p:attrName>
                                        </p:attrNameLst>
                                      </p:cBhvr>
                                      <p:to>
                                        <p:strVal val="visible"/>
                                      </p:to>
                                    </p:set>
                                    <p:anim calcmode="lin" valueType="num">
                                      <p:cBhvr additive="base">
                                        <p:cTn id="13" dur="500" fill="hold"/>
                                        <p:tgtEl>
                                          <p:spTgt spid="30"/>
                                        </p:tgtEl>
                                        <p:attrNameLst>
                                          <p:attrName>ppt_x</p:attrName>
                                        </p:attrNameLst>
                                      </p:cBhvr>
                                      <p:tavLst>
                                        <p:tav tm="0">
                                          <p:val>
                                            <p:strVal val="#ppt_x"/>
                                          </p:val>
                                        </p:tav>
                                        <p:tav tm="100000">
                                          <p:val>
                                            <p:strVal val="#ppt_x"/>
                                          </p:val>
                                        </p:tav>
                                      </p:tavLst>
                                    </p:anim>
                                    <p:anim calcmode="lin" valueType="num">
                                      <p:cBhvr additive="base">
                                        <p:cTn id="14" dur="500" fill="hold"/>
                                        <p:tgtEl>
                                          <p:spTgt spid="30"/>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500" fill="hold"/>
                                        <p:tgtEl>
                                          <p:spTgt spid="10"/>
                                        </p:tgtEl>
                                        <p:attrNameLst>
                                          <p:attrName>ppt_x</p:attrName>
                                        </p:attrNameLst>
                                      </p:cBhvr>
                                      <p:tavLst>
                                        <p:tav tm="0">
                                          <p:val>
                                            <p:strVal val="#ppt_x"/>
                                          </p:val>
                                        </p:tav>
                                        <p:tav tm="100000">
                                          <p:val>
                                            <p:strVal val="#ppt_x"/>
                                          </p:val>
                                        </p:tav>
                                      </p:tavLst>
                                    </p:anim>
                                    <p:anim calcmode="lin" valueType="num">
                                      <p:cBhvr additive="base">
                                        <p:cTn id="20"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18"/>
                                        </p:tgtEl>
                                        <p:attrNameLst>
                                          <p:attrName>style.visibility</p:attrName>
                                        </p:attrNameLst>
                                      </p:cBhvr>
                                      <p:to>
                                        <p:strVal val="visible"/>
                                      </p:to>
                                    </p:set>
                                    <p:anim calcmode="lin" valueType="num">
                                      <p:cBhvr additive="base">
                                        <p:cTn id="25" dur="500" fill="hold"/>
                                        <p:tgtEl>
                                          <p:spTgt spid="18"/>
                                        </p:tgtEl>
                                        <p:attrNameLst>
                                          <p:attrName>ppt_x</p:attrName>
                                        </p:attrNameLst>
                                      </p:cBhvr>
                                      <p:tavLst>
                                        <p:tav tm="0">
                                          <p:val>
                                            <p:strVal val="#ppt_x"/>
                                          </p:val>
                                        </p:tav>
                                        <p:tav tm="100000">
                                          <p:val>
                                            <p:strVal val="#ppt_x"/>
                                          </p:val>
                                        </p:tav>
                                      </p:tavLst>
                                    </p:anim>
                                    <p:anim calcmode="lin" valueType="num">
                                      <p:cBhvr additive="base">
                                        <p:cTn id="26" dur="500" fill="hold"/>
                                        <p:tgtEl>
                                          <p:spTgt spid="1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8" grpId="0" animBg="1"/>
      <p:bldP spid="26" grpId="0" animBg="1"/>
      <p:bldP spid="30"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3AAC65-1FBD-47A2-928A-6E1B89D3E7FF}"/>
              </a:ext>
            </a:extLst>
          </p:cNvPr>
          <p:cNvSpPr>
            <a:spLocks noGrp="1"/>
          </p:cNvSpPr>
          <p:nvPr>
            <p:ph type="title"/>
          </p:nvPr>
        </p:nvSpPr>
        <p:spPr>
          <a:xfrm>
            <a:off x="365846" y="295440"/>
            <a:ext cx="8221987" cy="461238"/>
          </a:xfrm>
        </p:spPr>
        <p:txBody>
          <a:bodyPr/>
          <a:lstStyle/>
          <a:p>
            <a:r>
              <a:rPr lang="en-US"/>
              <a:t>A NATURAL PROGRESSION TO THE ACTIVE GRID</a:t>
            </a:r>
          </a:p>
        </p:txBody>
      </p:sp>
      <p:sp>
        <p:nvSpPr>
          <p:cNvPr id="5" name="TextBox 4">
            <a:extLst>
              <a:ext uri="{FF2B5EF4-FFF2-40B4-BE49-F238E27FC236}">
                <a16:creationId xmlns:a16="http://schemas.microsoft.com/office/drawing/2014/main" id="{93E4A0F5-8AA8-45BF-8349-7C6B2DC93E0A}"/>
              </a:ext>
            </a:extLst>
          </p:cNvPr>
          <p:cNvSpPr txBox="1"/>
          <p:nvPr/>
        </p:nvSpPr>
        <p:spPr>
          <a:xfrm>
            <a:off x="411574" y="1404879"/>
            <a:ext cx="1942202" cy="2104140"/>
          </a:xfrm>
          <a:prstGeom prst="rect">
            <a:avLst/>
          </a:prstGeom>
          <a:noFill/>
          <a:ln w="6350" cmpd="sng">
            <a:solidFill>
              <a:schemeClr val="tx2"/>
            </a:solidFill>
          </a:ln>
          <a:effectLst/>
        </p:spPr>
        <p:txBody>
          <a:bodyPr wrap="square" lIns="35967" tIns="35967" rIns="35967" bIns="35967" rtlCol="0">
            <a:noAutofit/>
          </a:bodyPr>
          <a:lstStyle/>
          <a:p>
            <a:pPr algn="ctr" defTabSz="456789">
              <a:defRPr/>
            </a:pPr>
            <a:r>
              <a:rPr lang="en-US" sz="1399">
                <a:solidFill>
                  <a:srgbClr val="434A52"/>
                </a:solidFill>
                <a:latin typeface="Arial"/>
              </a:rPr>
              <a:t>Mechanical Gas Meter</a:t>
            </a:r>
          </a:p>
          <a:p>
            <a:pPr algn="ctr" defTabSz="456789">
              <a:defRPr/>
            </a:pPr>
            <a:r>
              <a:rPr lang="en-US" sz="999">
                <a:solidFill>
                  <a:srgbClr val="434A52"/>
                </a:solidFill>
                <a:latin typeface="Arial"/>
              </a:rPr>
              <a:t>with mechanical index</a:t>
            </a:r>
            <a:endParaRPr lang="fr-FR" sz="999">
              <a:solidFill>
                <a:srgbClr val="434A52"/>
              </a:solidFill>
              <a:latin typeface="Arial"/>
            </a:endParaRPr>
          </a:p>
        </p:txBody>
      </p:sp>
      <p:sp>
        <p:nvSpPr>
          <p:cNvPr id="6" name="TextBox 5">
            <a:extLst>
              <a:ext uri="{FF2B5EF4-FFF2-40B4-BE49-F238E27FC236}">
                <a16:creationId xmlns:a16="http://schemas.microsoft.com/office/drawing/2014/main" id="{CCA51FC4-DC61-4E7C-AC89-DC98C6C020D4}"/>
              </a:ext>
            </a:extLst>
          </p:cNvPr>
          <p:cNvSpPr txBox="1"/>
          <p:nvPr/>
        </p:nvSpPr>
        <p:spPr>
          <a:xfrm>
            <a:off x="2519924" y="1404879"/>
            <a:ext cx="1942202" cy="2104140"/>
          </a:xfrm>
          <a:prstGeom prst="rect">
            <a:avLst/>
          </a:prstGeom>
          <a:noFill/>
          <a:ln w="6350" cmpd="sng">
            <a:solidFill>
              <a:schemeClr val="tx2"/>
            </a:solidFill>
          </a:ln>
          <a:effectLst/>
        </p:spPr>
        <p:txBody>
          <a:bodyPr wrap="square" lIns="35967" tIns="35967" rIns="35967" bIns="35967" rtlCol="0">
            <a:noAutofit/>
          </a:bodyPr>
          <a:lstStyle/>
          <a:p>
            <a:pPr algn="ctr" defTabSz="456789">
              <a:defRPr/>
            </a:pPr>
            <a:r>
              <a:rPr lang="en-US" sz="1399" dirty="0">
                <a:solidFill>
                  <a:srgbClr val="434A52"/>
                </a:solidFill>
                <a:latin typeface="Arial"/>
              </a:rPr>
              <a:t>Mechanical Gas Meter</a:t>
            </a:r>
          </a:p>
          <a:p>
            <a:pPr algn="ctr" defTabSz="456789">
              <a:defRPr/>
            </a:pPr>
            <a:r>
              <a:rPr lang="en-US" sz="999" dirty="0">
                <a:solidFill>
                  <a:srgbClr val="434A52"/>
                </a:solidFill>
                <a:latin typeface="Arial"/>
              </a:rPr>
              <a:t>mechanical index with </a:t>
            </a:r>
            <a:endParaRPr lang="fr-FR" sz="999" dirty="0">
              <a:solidFill>
                <a:srgbClr val="434A52"/>
              </a:solidFill>
              <a:latin typeface="Arial"/>
            </a:endParaRPr>
          </a:p>
          <a:p>
            <a:pPr algn="ctr" defTabSz="456789">
              <a:defRPr/>
            </a:pPr>
            <a:r>
              <a:rPr lang="en-US" sz="999" dirty="0">
                <a:solidFill>
                  <a:srgbClr val="434A52"/>
                </a:solidFill>
                <a:latin typeface="Arial"/>
              </a:rPr>
              <a:t>clip on modules</a:t>
            </a:r>
            <a:endParaRPr lang="fr-FR" sz="999" dirty="0">
              <a:solidFill>
                <a:srgbClr val="434A52"/>
              </a:solidFill>
              <a:latin typeface="Arial"/>
            </a:endParaRPr>
          </a:p>
        </p:txBody>
      </p:sp>
      <p:sp>
        <p:nvSpPr>
          <p:cNvPr id="7" name="TextBox 6">
            <a:extLst>
              <a:ext uri="{FF2B5EF4-FFF2-40B4-BE49-F238E27FC236}">
                <a16:creationId xmlns:a16="http://schemas.microsoft.com/office/drawing/2014/main" id="{E1478057-CEE8-4FD9-AF1C-D802935831AC}"/>
              </a:ext>
            </a:extLst>
          </p:cNvPr>
          <p:cNvSpPr txBox="1"/>
          <p:nvPr/>
        </p:nvSpPr>
        <p:spPr>
          <a:xfrm>
            <a:off x="4628274" y="1404879"/>
            <a:ext cx="1942202" cy="2104140"/>
          </a:xfrm>
          <a:prstGeom prst="rect">
            <a:avLst/>
          </a:prstGeom>
          <a:noFill/>
          <a:ln w="6350" cmpd="sng">
            <a:solidFill>
              <a:schemeClr val="tx2"/>
            </a:solidFill>
          </a:ln>
          <a:effectLst/>
        </p:spPr>
        <p:txBody>
          <a:bodyPr wrap="square" lIns="35967" tIns="35967" rIns="35967" bIns="35967" rtlCol="0">
            <a:noAutofit/>
          </a:bodyPr>
          <a:lstStyle/>
          <a:p>
            <a:pPr algn="ctr" defTabSz="456789">
              <a:defRPr/>
            </a:pPr>
            <a:r>
              <a:rPr lang="en-US" sz="1399" dirty="0">
                <a:solidFill>
                  <a:srgbClr val="434A52"/>
                </a:solidFill>
                <a:latin typeface="Arial"/>
              </a:rPr>
              <a:t>Hybrid Gas Meter</a:t>
            </a:r>
          </a:p>
          <a:p>
            <a:pPr algn="ctr" defTabSz="456789">
              <a:defRPr/>
            </a:pPr>
            <a:r>
              <a:rPr lang="en-US" sz="999" dirty="0">
                <a:solidFill>
                  <a:srgbClr val="434A52"/>
                </a:solidFill>
                <a:latin typeface="Arial"/>
              </a:rPr>
              <a:t>gas meter with electronic index and integrated communication</a:t>
            </a:r>
            <a:endParaRPr lang="fr-FR" sz="999" dirty="0">
              <a:solidFill>
                <a:srgbClr val="434A52"/>
              </a:solidFill>
              <a:latin typeface="Arial"/>
            </a:endParaRPr>
          </a:p>
        </p:txBody>
      </p:sp>
      <p:sp>
        <p:nvSpPr>
          <p:cNvPr id="8" name="TextBox 7">
            <a:extLst>
              <a:ext uri="{FF2B5EF4-FFF2-40B4-BE49-F238E27FC236}">
                <a16:creationId xmlns:a16="http://schemas.microsoft.com/office/drawing/2014/main" id="{CAB47BA9-0C84-4F13-B70F-77D449247109}"/>
              </a:ext>
            </a:extLst>
          </p:cNvPr>
          <p:cNvSpPr txBox="1"/>
          <p:nvPr/>
        </p:nvSpPr>
        <p:spPr>
          <a:xfrm>
            <a:off x="6736623" y="1404879"/>
            <a:ext cx="1942202" cy="2104140"/>
          </a:xfrm>
          <a:prstGeom prst="rect">
            <a:avLst/>
          </a:prstGeom>
          <a:noFill/>
          <a:ln w="6350" cmpd="sng">
            <a:solidFill>
              <a:schemeClr val="tx2"/>
            </a:solidFill>
          </a:ln>
          <a:effectLst/>
        </p:spPr>
        <p:txBody>
          <a:bodyPr wrap="square" lIns="35967" tIns="35967" rIns="35967" bIns="35967" rtlCol="0" anchor="t">
            <a:noAutofit/>
          </a:bodyPr>
          <a:lstStyle/>
          <a:p>
            <a:pPr algn="ctr" defTabSz="456789">
              <a:defRPr/>
            </a:pPr>
            <a:r>
              <a:rPr lang="en-US" sz="1399" dirty="0">
                <a:solidFill>
                  <a:srgbClr val="434A52"/>
                </a:solidFill>
                <a:latin typeface="Arial"/>
              </a:rPr>
              <a:t>Solid State Gas Meter</a:t>
            </a:r>
          </a:p>
          <a:p>
            <a:pPr algn="ctr" defTabSz="456789">
              <a:defRPr/>
            </a:pPr>
            <a:r>
              <a:rPr lang="en-US" sz="999" dirty="0">
                <a:solidFill>
                  <a:srgbClr val="434A52"/>
                </a:solidFill>
                <a:latin typeface="Arial"/>
              </a:rPr>
              <a:t>fully electronic sensor with integrated communication</a:t>
            </a:r>
            <a:endParaRPr lang="fr-FR" sz="999" dirty="0">
              <a:solidFill>
                <a:srgbClr val="434A52"/>
              </a:solidFill>
              <a:latin typeface="Arial"/>
            </a:endParaRPr>
          </a:p>
        </p:txBody>
      </p:sp>
      <p:sp>
        <p:nvSpPr>
          <p:cNvPr id="9" name="Isosceles Triangle 8">
            <a:extLst>
              <a:ext uri="{FF2B5EF4-FFF2-40B4-BE49-F238E27FC236}">
                <a16:creationId xmlns:a16="http://schemas.microsoft.com/office/drawing/2014/main" id="{79EF6655-EC09-468D-BBA1-9CE4BEC008E3}"/>
              </a:ext>
            </a:extLst>
          </p:cNvPr>
          <p:cNvSpPr/>
          <p:nvPr/>
        </p:nvSpPr>
        <p:spPr>
          <a:xfrm rot="5400000">
            <a:off x="2261606" y="2380968"/>
            <a:ext cx="350490" cy="166147"/>
          </a:xfrm>
          <a:prstGeom prst="triangle">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6789">
              <a:defRPr/>
            </a:pPr>
            <a:endParaRPr lang="fr-FR" sz="1798">
              <a:solidFill>
                <a:srgbClr val="434A52"/>
              </a:solidFill>
              <a:latin typeface="Arial"/>
            </a:endParaRPr>
          </a:p>
        </p:txBody>
      </p:sp>
      <p:sp>
        <p:nvSpPr>
          <p:cNvPr id="10" name="Isosceles Triangle 9">
            <a:extLst>
              <a:ext uri="{FF2B5EF4-FFF2-40B4-BE49-F238E27FC236}">
                <a16:creationId xmlns:a16="http://schemas.microsoft.com/office/drawing/2014/main" id="{858D2AF8-356B-4F1A-88BE-103DEDC92C2A}"/>
              </a:ext>
            </a:extLst>
          </p:cNvPr>
          <p:cNvSpPr/>
          <p:nvPr/>
        </p:nvSpPr>
        <p:spPr>
          <a:xfrm rot="5400000">
            <a:off x="4369955" y="2380968"/>
            <a:ext cx="350490" cy="166147"/>
          </a:xfrm>
          <a:prstGeom prst="triangle">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6789">
              <a:defRPr/>
            </a:pPr>
            <a:endParaRPr lang="fr-FR" sz="1798">
              <a:solidFill>
                <a:srgbClr val="434A52"/>
              </a:solidFill>
              <a:latin typeface="Arial"/>
            </a:endParaRPr>
          </a:p>
        </p:txBody>
      </p:sp>
      <p:sp>
        <p:nvSpPr>
          <p:cNvPr id="11" name="Isosceles Triangle 10">
            <a:extLst>
              <a:ext uri="{FF2B5EF4-FFF2-40B4-BE49-F238E27FC236}">
                <a16:creationId xmlns:a16="http://schemas.microsoft.com/office/drawing/2014/main" id="{7EFF2A20-4D07-4002-B362-D56C2B6A1243}"/>
              </a:ext>
            </a:extLst>
          </p:cNvPr>
          <p:cNvSpPr/>
          <p:nvPr/>
        </p:nvSpPr>
        <p:spPr>
          <a:xfrm rot="5400000">
            <a:off x="6478305" y="2380967"/>
            <a:ext cx="350490" cy="166147"/>
          </a:xfrm>
          <a:prstGeom prst="triangle">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6789">
              <a:defRPr/>
            </a:pPr>
            <a:endParaRPr lang="fr-FR" sz="1798">
              <a:solidFill>
                <a:srgbClr val="434A52"/>
              </a:solidFill>
              <a:latin typeface="Arial"/>
            </a:endParaRPr>
          </a:p>
        </p:txBody>
      </p:sp>
      <p:pic>
        <p:nvPicPr>
          <p:cNvPr id="12" name="Picture 6" descr="4.png">
            <a:extLst>
              <a:ext uri="{FF2B5EF4-FFF2-40B4-BE49-F238E27FC236}">
                <a16:creationId xmlns:a16="http://schemas.microsoft.com/office/drawing/2014/main" id="{EE492FEB-421D-42D7-9972-0F440CD315D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18992" y="3660771"/>
            <a:ext cx="8501577" cy="370307"/>
          </a:xfrm>
          <a:prstGeom prst="rect">
            <a:avLst/>
          </a:prstGeom>
        </p:spPr>
      </p:pic>
      <p:sp>
        <p:nvSpPr>
          <p:cNvPr id="13" name="TextBox 18">
            <a:extLst>
              <a:ext uri="{FF2B5EF4-FFF2-40B4-BE49-F238E27FC236}">
                <a16:creationId xmlns:a16="http://schemas.microsoft.com/office/drawing/2014/main" id="{2609E461-AE39-45B7-89BE-757FFC58760A}"/>
              </a:ext>
            </a:extLst>
          </p:cNvPr>
          <p:cNvSpPr txBox="1"/>
          <p:nvPr/>
        </p:nvSpPr>
        <p:spPr>
          <a:xfrm>
            <a:off x="7400832" y="3700229"/>
            <a:ext cx="761295" cy="307492"/>
          </a:xfrm>
          <a:prstGeom prst="rect">
            <a:avLst/>
          </a:prstGeom>
          <a:noFill/>
        </p:spPr>
        <p:txBody>
          <a:bodyPr wrap="square" rtlCol="0">
            <a:spAutoFit/>
          </a:bodyPr>
          <a:lstStyle/>
          <a:p>
            <a:pPr algn="ctr" defTabSz="456789">
              <a:defRPr/>
            </a:pPr>
            <a:r>
              <a:rPr lang="en-US" sz="1399" b="1" dirty="0">
                <a:solidFill>
                  <a:srgbClr val="FFFFFF"/>
                </a:solidFill>
                <a:latin typeface="Arial"/>
                <a:cs typeface="Arial"/>
              </a:rPr>
              <a:t>2010’s</a:t>
            </a:r>
          </a:p>
        </p:txBody>
      </p:sp>
      <p:pic>
        <p:nvPicPr>
          <p:cNvPr id="14" name="Picture 4" descr="3.png">
            <a:extLst>
              <a:ext uri="{FF2B5EF4-FFF2-40B4-BE49-F238E27FC236}">
                <a16:creationId xmlns:a16="http://schemas.microsoft.com/office/drawing/2014/main" id="{D29C47A0-97B5-4543-8738-50C31B428CC5}"/>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348325" y="3660771"/>
            <a:ext cx="6504265" cy="370307"/>
          </a:xfrm>
          <a:prstGeom prst="rect">
            <a:avLst/>
          </a:prstGeom>
        </p:spPr>
      </p:pic>
      <p:sp>
        <p:nvSpPr>
          <p:cNvPr id="15" name="TextBox 26">
            <a:extLst>
              <a:ext uri="{FF2B5EF4-FFF2-40B4-BE49-F238E27FC236}">
                <a16:creationId xmlns:a16="http://schemas.microsoft.com/office/drawing/2014/main" id="{574725D9-C13C-4F73-A0B5-186AD957DE26}"/>
              </a:ext>
            </a:extLst>
          </p:cNvPr>
          <p:cNvSpPr txBox="1"/>
          <p:nvPr/>
        </p:nvSpPr>
        <p:spPr>
          <a:xfrm>
            <a:off x="5101707" y="3694680"/>
            <a:ext cx="754450" cy="307492"/>
          </a:xfrm>
          <a:prstGeom prst="rect">
            <a:avLst/>
          </a:prstGeom>
          <a:noFill/>
        </p:spPr>
        <p:txBody>
          <a:bodyPr wrap="square" rtlCol="0">
            <a:spAutoFit/>
          </a:bodyPr>
          <a:lstStyle/>
          <a:p>
            <a:pPr algn="ctr" defTabSz="456789">
              <a:defRPr/>
            </a:pPr>
            <a:r>
              <a:rPr lang="en-US" sz="1399" b="1">
                <a:solidFill>
                  <a:srgbClr val="FFFFFF"/>
                </a:solidFill>
                <a:latin typeface="Arial"/>
                <a:cs typeface="Arial"/>
              </a:rPr>
              <a:t>2010’s</a:t>
            </a:r>
          </a:p>
        </p:txBody>
      </p:sp>
      <p:grpSp>
        <p:nvGrpSpPr>
          <p:cNvPr id="16" name="Group 15">
            <a:extLst>
              <a:ext uri="{FF2B5EF4-FFF2-40B4-BE49-F238E27FC236}">
                <a16:creationId xmlns:a16="http://schemas.microsoft.com/office/drawing/2014/main" id="{5B4CDE6E-4794-4FF9-A2E8-6D164536D809}"/>
              </a:ext>
            </a:extLst>
          </p:cNvPr>
          <p:cNvGrpSpPr/>
          <p:nvPr/>
        </p:nvGrpSpPr>
        <p:grpSpPr>
          <a:xfrm>
            <a:off x="348326" y="3660771"/>
            <a:ext cx="4241813" cy="370307"/>
            <a:chOff x="304800" y="5486400"/>
            <a:chExt cx="3248952" cy="493743"/>
          </a:xfrm>
        </p:grpSpPr>
        <p:pic>
          <p:nvPicPr>
            <p:cNvPr id="17" name="Picture 3" descr="2.png">
              <a:extLst>
                <a:ext uri="{FF2B5EF4-FFF2-40B4-BE49-F238E27FC236}">
                  <a16:creationId xmlns:a16="http://schemas.microsoft.com/office/drawing/2014/main" id="{C2123FBD-DBA5-444A-8C74-6C2C0F393736}"/>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04800" y="5486400"/>
              <a:ext cx="3248952" cy="493743"/>
            </a:xfrm>
            <a:prstGeom prst="rect">
              <a:avLst/>
            </a:prstGeom>
          </p:spPr>
        </p:pic>
        <p:sp>
          <p:nvSpPr>
            <p:cNvPr id="18" name="TextBox 25">
              <a:extLst>
                <a:ext uri="{FF2B5EF4-FFF2-40B4-BE49-F238E27FC236}">
                  <a16:creationId xmlns:a16="http://schemas.microsoft.com/office/drawing/2014/main" id="{0D01C331-DD09-4AB6-91AE-764F6440BB63}"/>
                </a:ext>
              </a:extLst>
            </p:cNvPr>
            <p:cNvSpPr txBox="1"/>
            <p:nvPr/>
          </p:nvSpPr>
          <p:spPr>
            <a:xfrm>
              <a:off x="2202200" y="5528276"/>
              <a:ext cx="755149" cy="409990"/>
            </a:xfrm>
            <a:prstGeom prst="rect">
              <a:avLst/>
            </a:prstGeom>
            <a:noFill/>
          </p:spPr>
          <p:txBody>
            <a:bodyPr wrap="square" rtlCol="0">
              <a:spAutoFit/>
            </a:bodyPr>
            <a:lstStyle/>
            <a:p>
              <a:pPr algn="ctr" defTabSz="456789">
                <a:defRPr/>
              </a:pPr>
              <a:r>
                <a:rPr lang="en-US" sz="1399" b="1">
                  <a:solidFill>
                    <a:srgbClr val="FFFFFF"/>
                  </a:solidFill>
                  <a:latin typeface="Arial"/>
                  <a:cs typeface="Arial"/>
                </a:rPr>
                <a:t>1990’s</a:t>
              </a:r>
            </a:p>
          </p:txBody>
        </p:sp>
      </p:grpSp>
      <p:grpSp>
        <p:nvGrpSpPr>
          <p:cNvPr id="19" name="Group 14">
            <a:extLst>
              <a:ext uri="{FF2B5EF4-FFF2-40B4-BE49-F238E27FC236}">
                <a16:creationId xmlns:a16="http://schemas.microsoft.com/office/drawing/2014/main" id="{46CC8019-3757-42B3-B64B-A6FA542F3B06}"/>
              </a:ext>
            </a:extLst>
          </p:cNvPr>
          <p:cNvGrpSpPr/>
          <p:nvPr/>
        </p:nvGrpSpPr>
        <p:grpSpPr>
          <a:xfrm>
            <a:off x="348322" y="3660771"/>
            <a:ext cx="2120906" cy="370307"/>
            <a:chOff x="304800" y="5486400"/>
            <a:chExt cx="1651906" cy="493743"/>
          </a:xfrm>
        </p:grpSpPr>
        <p:pic>
          <p:nvPicPr>
            <p:cNvPr id="20" name="Picture 1" descr="1.png">
              <a:extLst>
                <a:ext uri="{FF2B5EF4-FFF2-40B4-BE49-F238E27FC236}">
                  <a16:creationId xmlns:a16="http://schemas.microsoft.com/office/drawing/2014/main" id="{F2F9AB27-B2DD-42BF-83F7-92F57A8BE5C7}"/>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304800" y="5486400"/>
              <a:ext cx="1651906" cy="493743"/>
            </a:xfrm>
            <a:prstGeom prst="rect">
              <a:avLst/>
            </a:prstGeom>
          </p:spPr>
        </p:pic>
        <p:sp>
          <p:nvSpPr>
            <p:cNvPr id="21" name="TextBox 22">
              <a:extLst>
                <a:ext uri="{FF2B5EF4-FFF2-40B4-BE49-F238E27FC236}">
                  <a16:creationId xmlns:a16="http://schemas.microsoft.com/office/drawing/2014/main" id="{CDAE0AE7-621D-44E7-89D8-8C4454309ABA}"/>
                </a:ext>
              </a:extLst>
            </p:cNvPr>
            <p:cNvSpPr txBox="1"/>
            <p:nvPr/>
          </p:nvSpPr>
          <p:spPr>
            <a:xfrm>
              <a:off x="511355" y="5505396"/>
              <a:ext cx="940313" cy="409990"/>
            </a:xfrm>
            <a:prstGeom prst="rect">
              <a:avLst/>
            </a:prstGeom>
            <a:noFill/>
          </p:spPr>
          <p:txBody>
            <a:bodyPr wrap="square" rtlCol="0">
              <a:spAutoFit/>
            </a:bodyPr>
            <a:lstStyle/>
            <a:p>
              <a:pPr algn="ctr" defTabSz="456789">
                <a:defRPr/>
              </a:pPr>
              <a:r>
                <a:rPr lang="en-US" sz="1399" b="1">
                  <a:solidFill>
                    <a:srgbClr val="FFFFFF"/>
                  </a:solidFill>
                  <a:latin typeface="Arial"/>
                  <a:cs typeface="Arial"/>
                </a:rPr>
                <a:t>Long ago!</a:t>
              </a:r>
            </a:p>
          </p:txBody>
        </p:sp>
      </p:grpSp>
      <p:pic>
        <p:nvPicPr>
          <p:cNvPr id="24" name="Picture 4">
            <a:extLst>
              <a:ext uri="{FF2B5EF4-FFF2-40B4-BE49-F238E27FC236}">
                <a16:creationId xmlns:a16="http://schemas.microsoft.com/office/drawing/2014/main" id="{1D8D531A-5574-49FF-B2D8-7DBFED814B43}"/>
              </a:ext>
            </a:extLst>
          </p:cNvPr>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5093305" y="2087807"/>
            <a:ext cx="1059644" cy="116683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26" name="Picture 2" descr="https://my.itron.com/portfolio/I250/I-250_mi.png">
            <a:extLst>
              <a:ext uri="{FF2B5EF4-FFF2-40B4-BE49-F238E27FC236}">
                <a16:creationId xmlns:a16="http://schemas.microsoft.com/office/drawing/2014/main" id="{F0F60B59-5343-41E3-B748-BD2A26684781}"/>
              </a:ext>
            </a:extLst>
          </p:cNvPr>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a:stretch/>
        </p:blipFill>
        <p:spPr bwMode="auto">
          <a:xfrm>
            <a:off x="1155363" y="1969967"/>
            <a:ext cx="1058707" cy="1224812"/>
          </a:xfrm>
          <a:prstGeom prst="rect">
            <a:avLst/>
          </a:prstGeom>
          <a:noFill/>
          <a:extLst>
            <a:ext uri="{909E8E84-426E-40dd-AFC4-6F175D3DCCD1}">
              <a14:hiddenFill xmlns="" xmlns:a14="http://schemas.microsoft.com/office/drawing/2010/main">
                <a:solidFill>
                  <a:srgbClr val="FFFFFF"/>
                </a:solidFill>
              </a14:hiddenFill>
            </a:ext>
          </a:extLst>
        </p:spPr>
      </p:pic>
      <p:pic>
        <p:nvPicPr>
          <p:cNvPr id="27" name="Picture 5">
            <a:extLst>
              <a:ext uri="{FF2B5EF4-FFF2-40B4-BE49-F238E27FC236}">
                <a16:creationId xmlns:a16="http://schemas.microsoft.com/office/drawing/2014/main" id="{5FE11937-1FDC-4D51-9BA2-2ECFB265C760}"/>
              </a:ext>
            </a:extLst>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3375244" y="2082513"/>
            <a:ext cx="855658" cy="1172134"/>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22" name="Picture 2">
            <a:extLst>
              <a:ext uri="{FF2B5EF4-FFF2-40B4-BE49-F238E27FC236}">
                <a16:creationId xmlns:a16="http://schemas.microsoft.com/office/drawing/2014/main" id="{1E711B2E-EFBE-4893-A246-7334BEEAAE5F}"/>
              </a:ext>
            </a:extLst>
          </p:cNvP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554704" y="2302016"/>
            <a:ext cx="918560" cy="94422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23" name="Picture 3">
            <a:extLst>
              <a:ext uri="{FF2B5EF4-FFF2-40B4-BE49-F238E27FC236}">
                <a16:creationId xmlns:a16="http://schemas.microsoft.com/office/drawing/2014/main" id="{11F853C8-DDCC-4081-AF08-E571187CC67C}"/>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2680858" y="2369190"/>
            <a:ext cx="851955" cy="87705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28" name="Picture 27">
            <a:extLst>
              <a:ext uri="{FF2B5EF4-FFF2-40B4-BE49-F238E27FC236}">
                <a16:creationId xmlns:a16="http://schemas.microsoft.com/office/drawing/2014/main" id="{B0E5B152-D1D9-474D-8F09-A72C91F83D9D}"/>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7035507" y="2165779"/>
            <a:ext cx="1385314" cy="1080465"/>
          </a:xfrm>
          <a:prstGeom prst="rect">
            <a:avLst/>
          </a:prstGeom>
        </p:spPr>
      </p:pic>
    </p:spTree>
    <p:extLst>
      <p:ext uri="{BB962C8B-B14F-4D97-AF65-F5344CB8AC3E}">
        <p14:creationId xmlns:p14="http://schemas.microsoft.com/office/powerpoint/2010/main" val="2059089008"/>
      </p:ext>
    </p:extLst>
  </p:cSld>
  <p:clrMapOvr>
    <a:overrideClrMapping bg1="lt1" tx1="dk1" bg2="lt2" tx2="dk2" accent1="accent1" accent2="accent2" accent3="accent3" accent4="accent4" accent5="accent5" accent6="accent6" hlink="hlink" folHlink="folHlink"/>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fault Theme">
  <a:themeElements>
    <a:clrScheme name="2024 Itron Color Palette">
      <a:dk1>
        <a:srgbClr val="535659"/>
      </a:dk1>
      <a:lt1>
        <a:srgbClr val="888A8D"/>
      </a:lt1>
      <a:dk2>
        <a:srgbClr val="BBBCBC"/>
      </a:dk2>
      <a:lt2>
        <a:srgbClr val="5C068B"/>
      </a:lt2>
      <a:accent1>
        <a:srgbClr val="CB2C30"/>
      </a:accent1>
      <a:accent2>
        <a:srgbClr val="005EB8"/>
      </a:accent2>
      <a:accent3>
        <a:srgbClr val="00B388"/>
      </a:accent3>
      <a:accent4>
        <a:srgbClr val="FFC000"/>
      </a:accent4>
      <a:accent5>
        <a:srgbClr val="71C5E8"/>
      </a:accent5>
      <a:accent6>
        <a:srgbClr val="B6BF10"/>
      </a:accent6>
      <a:hlink>
        <a:srgbClr val="00577C"/>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0.xml><?xml version="1.0" encoding="utf-8"?>
<a:theme xmlns:a="http://schemas.openxmlformats.org/drawingml/2006/main" name="1_Divider Slide">
  <a:themeElements>
    <a:clrScheme name="Itron Color Palette">
      <a:dk1>
        <a:srgbClr val="141619"/>
      </a:dk1>
      <a:lt1>
        <a:srgbClr val="434A52"/>
      </a:lt1>
      <a:dk2>
        <a:srgbClr val="84848D"/>
      </a:dk2>
      <a:lt2>
        <a:srgbClr val="BAB3BC"/>
      </a:lt2>
      <a:accent1>
        <a:srgbClr val="D02124"/>
      </a:accent1>
      <a:accent2>
        <a:srgbClr val="F3B329"/>
      </a:accent2>
      <a:accent3>
        <a:srgbClr val="566418"/>
      </a:accent3>
      <a:accent4>
        <a:srgbClr val="99AB21"/>
      </a:accent4>
      <a:accent5>
        <a:srgbClr val="DCE24A"/>
      </a:accent5>
      <a:accent6>
        <a:srgbClr val="58A9C7"/>
      </a:accent6>
      <a:hlink>
        <a:srgbClr val="004B69"/>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1.xml><?xml version="1.0" encoding="utf-8"?>
<a:theme xmlns:a="http://schemas.openxmlformats.org/drawingml/2006/main" name="Blank">
  <a:themeElements>
    <a:clrScheme name="SICK-Master">
      <a:dk1>
        <a:srgbClr val="0E0E11"/>
      </a:dk1>
      <a:lt1>
        <a:srgbClr val="FFFFFF"/>
      </a:lt1>
      <a:dk2>
        <a:srgbClr val="007FC3"/>
      </a:dk2>
      <a:lt2>
        <a:srgbClr val="D8E0E3"/>
      </a:lt2>
      <a:accent1>
        <a:srgbClr val="58A8DB"/>
      </a:accent1>
      <a:accent2>
        <a:srgbClr val="F29400"/>
      </a:accent2>
      <a:accent3>
        <a:srgbClr val="FCBC75"/>
      </a:accent3>
      <a:accent4>
        <a:srgbClr val="6E7A82"/>
      </a:accent4>
      <a:accent5>
        <a:srgbClr val="DC0A0A"/>
      </a:accent5>
      <a:accent6>
        <a:srgbClr val="339966"/>
      </a:accent6>
      <a:hlink>
        <a:srgbClr val="F29400"/>
      </a:hlink>
      <a:folHlink>
        <a:srgbClr val="F29400"/>
      </a:folHlink>
    </a:clrScheme>
    <a:fontScheme name="SICK_Masterfonts_03-2014">
      <a:majorFont>
        <a:latin typeface="SICK Franklin"/>
        <a:ea typeface=""/>
        <a:cs typeface=""/>
      </a:majorFont>
      <a:minorFont>
        <a:latin typeface="SICK Franklin Condensed"/>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lIns="72000" tIns="36000" rIns="72000" bIns="54000" rtlCol="0" anchor="ctr">
        <a:spAutoFit/>
      </a:bodyPr>
      <a:lstStyle>
        <a:defPPr algn="ctr">
          <a:defRPr sz="20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36000" rIns="72000" bIns="54000" rtlCol="0">
        <a:spAutoFit/>
      </a:bodyPr>
      <a:lstStyle>
        <a:defPPr>
          <a:spcBef>
            <a:spcPts val="600"/>
          </a:spcBef>
          <a:buClr>
            <a:schemeClr val="accent4"/>
          </a:buClr>
          <a:defRPr sz="2000" dirty="0" smtClean="0">
            <a:solidFill>
              <a:schemeClr val="accent4"/>
            </a:solidFill>
          </a:defRPr>
        </a:defPPr>
      </a:lstStyle>
    </a:txDef>
  </a:objectDefaults>
  <a:extraClrSchemeLst/>
</a:theme>
</file>

<file path=ppt/theme/theme12.xml><?xml version="1.0" encoding="utf-8"?>
<a:theme xmlns:a="http://schemas.openxmlformats.org/drawingml/2006/main" name="SICK_Master_en">
  <a:themeElements>
    <a:clrScheme name="SICK-Master">
      <a:dk1>
        <a:srgbClr val="0E0E11"/>
      </a:dk1>
      <a:lt1>
        <a:srgbClr val="FFFFFF"/>
      </a:lt1>
      <a:dk2>
        <a:srgbClr val="007FC3"/>
      </a:dk2>
      <a:lt2>
        <a:srgbClr val="D8E0E3"/>
      </a:lt2>
      <a:accent1>
        <a:srgbClr val="58A8DB"/>
      </a:accent1>
      <a:accent2>
        <a:srgbClr val="F29400"/>
      </a:accent2>
      <a:accent3>
        <a:srgbClr val="FCBC75"/>
      </a:accent3>
      <a:accent4>
        <a:srgbClr val="6E7A82"/>
      </a:accent4>
      <a:accent5>
        <a:srgbClr val="DC0A0A"/>
      </a:accent5>
      <a:accent6>
        <a:srgbClr val="339966"/>
      </a:accent6>
      <a:hlink>
        <a:srgbClr val="F29400"/>
      </a:hlink>
      <a:folHlink>
        <a:srgbClr val="F29400"/>
      </a:folHlink>
    </a:clrScheme>
    <a:fontScheme name="SICK_Masterfonts_03-2014">
      <a:majorFont>
        <a:latin typeface="SICK Franklin"/>
        <a:ea typeface=""/>
        <a:cs typeface=""/>
      </a:majorFont>
      <a:minorFont>
        <a:latin typeface="SICK Franklin Condensed"/>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a:solidFill>
            <a:srgbClr val="FF0000"/>
          </a:solidFill>
        </a:ln>
      </a:spPr>
      <a:bodyPr lIns="72000" tIns="36000" rIns="72000" bIns="54000" rtlCol="0" anchor="ctr">
        <a:spAutoFit/>
      </a:bodyPr>
      <a:lstStyle>
        <a:defPPr algn="ctr">
          <a:defRPr sz="20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36000" rIns="72000" bIns="54000" rtlCol="0">
        <a:spAutoFit/>
      </a:bodyPr>
      <a:lstStyle>
        <a:defPPr>
          <a:spcBef>
            <a:spcPts val="600"/>
          </a:spcBef>
          <a:buClr>
            <a:schemeClr val="accent4"/>
          </a:buClr>
          <a:defRPr sz="2000" dirty="0" smtClean="0">
            <a:solidFill>
              <a:schemeClr val="accent4"/>
            </a:solidFill>
          </a:defRPr>
        </a:defPPr>
      </a:lstStyle>
    </a:txDef>
  </a:objectDefaults>
  <a:extraClrSchemeLst/>
</a:theme>
</file>

<file path=ppt/theme/theme13.xml><?xml version="1.0" encoding="utf-8"?>
<a:theme xmlns:a="http://schemas.openxmlformats.org/drawingml/2006/main" name="1_08 SICK_Template_MAIHAK_en">
  <a:themeElements>
    <a:clrScheme name="08 SICK_Template_MAIHAK_en 1">
      <a:dk1>
        <a:srgbClr val="000000"/>
      </a:dk1>
      <a:lt1>
        <a:srgbClr val="FFFFFF"/>
      </a:lt1>
      <a:dk2>
        <a:srgbClr val="FFCB37"/>
      </a:dk2>
      <a:lt2>
        <a:srgbClr val="FFFF99"/>
      </a:lt2>
      <a:accent1>
        <a:srgbClr val="0084C2"/>
      </a:accent1>
      <a:accent2>
        <a:srgbClr val="99CCFF"/>
      </a:accent2>
      <a:accent3>
        <a:srgbClr val="FFFFFF"/>
      </a:accent3>
      <a:accent4>
        <a:srgbClr val="000000"/>
      </a:accent4>
      <a:accent5>
        <a:srgbClr val="AAC2DD"/>
      </a:accent5>
      <a:accent6>
        <a:srgbClr val="8AB9E7"/>
      </a:accent6>
      <a:hlink>
        <a:srgbClr val="808080"/>
      </a:hlink>
      <a:folHlink>
        <a:srgbClr val="C0C0C0"/>
      </a:folHlink>
    </a:clrScheme>
    <a:fontScheme name="08 SICK_Template_MAIHAK_en">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12700" cap="flat" cmpd="sng" algn="ctr">
          <a:solidFill>
            <a:srgbClr val="0070C0"/>
          </a:solidFill>
          <a:prstDash val="solid"/>
          <a:round/>
          <a:headEnd type="none" w="med" len="med"/>
          <a:tailEnd type="none" w="med" len="med"/>
        </a:ln>
        <a:effectLst/>
      </a:spPr>
      <a:bodyPr vert="horz" wrap="none" lIns="91440" tIns="45720" rIns="91440" bIns="45720" numCol="1" rtlCol="0" anchor="ctr" anchorCtr="0" compatLnSpc="1">
        <a:prstTxWarp prst="textNoShape">
          <a:avLst/>
        </a:prstTxWarp>
      </a:bodyPr>
      <a:lstStyle>
        <a:defPPr marL="0" marR="0" indent="0" algn="l" defTabSz="914400" rtl="0" eaLnBrk="1" fontAlgn="base" latinLnBrk="0" hangingPunct="1">
          <a:lnSpc>
            <a:spcPct val="100000"/>
          </a:lnSpc>
          <a:spcBef>
            <a:spcPct val="20000"/>
          </a:spcBef>
          <a:spcAft>
            <a:spcPct val="0"/>
          </a:spcAft>
          <a:buClr>
            <a:srgbClr val="0084C2"/>
          </a:buClr>
          <a:buSzPct val="130000"/>
          <a:buFont typeface="Times New Roman" pitchFamily="18" charset="0"/>
          <a:buNone/>
          <a:tabLst/>
          <a:defRPr kumimoji="0" sz="1700" b="0" i="0" u="sng"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2"/>
        </a:solidFill>
        <a:ln>
          <a:noFill/>
        </a:ln>
        <a:effectLst/>
        <a:extLst>
          <a:ext uri="{91240B29-F687-4F45-9708-019B960494DF}">
            <a14:hiddenLine xmlns:a14="http://schemas.microsoft.com/office/drawing/2010/main" w="9525" cap="flat" cmpd="sng" algn="ctr">
              <a:solidFill>
                <a:schemeClr val="hlink"/>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l" defTabSz="914400" rtl="0" eaLnBrk="1" fontAlgn="base" latinLnBrk="0" hangingPunct="1">
          <a:lnSpc>
            <a:spcPct val="100000"/>
          </a:lnSpc>
          <a:spcBef>
            <a:spcPct val="20000"/>
          </a:spcBef>
          <a:spcAft>
            <a:spcPct val="0"/>
          </a:spcAft>
          <a:buClr>
            <a:srgbClr val="0084C2"/>
          </a:buClr>
          <a:buSzPct val="130000"/>
          <a:buFont typeface="Times New Roman" pitchFamily="18" charset="0"/>
          <a:buNone/>
          <a:tabLst/>
          <a:defRPr kumimoji="0" lang="de-DE" sz="1700" b="0" i="0" u="sng" strike="noStrike" cap="none" normalizeH="0" baseline="0" smtClean="0">
            <a:ln>
              <a:noFill/>
            </a:ln>
            <a:solidFill>
              <a:schemeClr val="tx1"/>
            </a:solidFill>
            <a:effectLst/>
            <a:latin typeface="Arial" charset="0"/>
            <a:cs typeface="Arial" charset="0"/>
          </a:defRPr>
        </a:defPPr>
      </a:lstStyle>
    </a:lnDef>
  </a:objectDefaults>
  <a:extraClrSchemeLst>
    <a:extraClrScheme>
      <a:clrScheme name="08 SICK_Template_MAIHAK_en 1">
        <a:dk1>
          <a:srgbClr val="000000"/>
        </a:dk1>
        <a:lt1>
          <a:srgbClr val="FFFFFF"/>
        </a:lt1>
        <a:dk2>
          <a:srgbClr val="FFCB37"/>
        </a:dk2>
        <a:lt2>
          <a:srgbClr val="FFFF99"/>
        </a:lt2>
        <a:accent1>
          <a:srgbClr val="0084C2"/>
        </a:accent1>
        <a:accent2>
          <a:srgbClr val="99CCFF"/>
        </a:accent2>
        <a:accent3>
          <a:srgbClr val="FFFFFF"/>
        </a:accent3>
        <a:accent4>
          <a:srgbClr val="000000"/>
        </a:accent4>
        <a:accent5>
          <a:srgbClr val="AAC2DD"/>
        </a:accent5>
        <a:accent6>
          <a:srgbClr val="8AB9E7"/>
        </a:accent6>
        <a:hlink>
          <a:srgbClr val="808080"/>
        </a:hlink>
        <a:folHlink>
          <a:srgbClr val="C0C0C0"/>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Custom Design">
  <a:themeElements>
    <a:clrScheme name="2024 Itron Colors 1">
      <a:dk1>
        <a:srgbClr val="2C3137"/>
      </a:dk1>
      <a:lt1>
        <a:srgbClr val="717576"/>
      </a:lt1>
      <a:dk2>
        <a:srgbClr val="ACAFAC"/>
      </a:dk2>
      <a:lt2>
        <a:srgbClr val="5C068B"/>
      </a:lt2>
      <a:accent1>
        <a:srgbClr val="005DB7"/>
      </a:accent1>
      <a:accent2>
        <a:srgbClr val="CB2B31"/>
      </a:accent2>
      <a:accent3>
        <a:srgbClr val="00B388"/>
      </a:accent3>
      <a:accent4>
        <a:srgbClr val="FFC000"/>
      </a:accent4>
      <a:accent5>
        <a:srgbClr val="71C5E8"/>
      </a:accent5>
      <a:accent6>
        <a:srgbClr val="B6BF10"/>
      </a:accent6>
      <a:hlink>
        <a:srgbClr val="00587C"/>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Custom Design">
  <a:themeElements>
    <a:clrScheme name="2024 Itron Color Palette">
      <a:dk1>
        <a:srgbClr val="535659"/>
      </a:dk1>
      <a:lt1>
        <a:srgbClr val="888A8D"/>
      </a:lt1>
      <a:dk2>
        <a:srgbClr val="BBBCBC"/>
      </a:dk2>
      <a:lt2>
        <a:srgbClr val="5C068B"/>
      </a:lt2>
      <a:accent1>
        <a:srgbClr val="CB2C30"/>
      </a:accent1>
      <a:accent2>
        <a:srgbClr val="005EB8"/>
      </a:accent2>
      <a:accent3>
        <a:srgbClr val="00B388"/>
      </a:accent3>
      <a:accent4>
        <a:srgbClr val="FFC000"/>
      </a:accent4>
      <a:accent5>
        <a:srgbClr val="71C5E8"/>
      </a:accent5>
      <a:accent6>
        <a:srgbClr val="B6BF10"/>
      </a:accent6>
      <a:hlink>
        <a:srgbClr val="00577C"/>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1_Thank You">
  <a:themeElements>
    <a:clrScheme name="2024 Itron Colors">
      <a:dk1>
        <a:srgbClr val="878A8D"/>
      </a:dk1>
      <a:lt1>
        <a:srgbClr val="00B189"/>
      </a:lt1>
      <a:dk2>
        <a:srgbClr val="535659"/>
      </a:dk2>
      <a:lt2>
        <a:srgbClr val="5C068B"/>
      </a:lt2>
      <a:accent1>
        <a:srgbClr val="005DB7"/>
      </a:accent1>
      <a:accent2>
        <a:srgbClr val="CB2B31"/>
      </a:accent2>
      <a:accent3>
        <a:srgbClr val="A5A5A5"/>
      </a:accent3>
      <a:accent4>
        <a:srgbClr val="FFC000"/>
      </a:accent4>
      <a:accent5>
        <a:srgbClr val="71C5E8"/>
      </a:accent5>
      <a:accent6>
        <a:srgbClr val="B6BF10"/>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2_Custom Design">
  <a:themeElements>
    <a:clrScheme name="2019 Itron Colors">
      <a:dk1>
        <a:srgbClr val="141619"/>
      </a:dk1>
      <a:lt1>
        <a:srgbClr val="434A52"/>
      </a:lt1>
      <a:dk2>
        <a:srgbClr val="D92B40"/>
      </a:dk2>
      <a:lt2>
        <a:srgbClr val="F9CB56"/>
      </a:lt2>
      <a:accent1>
        <a:srgbClr val="00506A"/>
      </a:accent1>
      <a:accent2>
        <a:srgbClr val="6AC4E1"/>
      </a:accent2>
      <a:accent3>
        <a:srgbClr val="003D65"/>
      </a:accent3>
      <a:accent4>
        <a:srgbClr val="97A240"/>
      </a:accent4>
      <a:accent5>
        <a:srgbClr val="C3D334"/>
      </a:accent5>
      <a:accent6>
        <a:srgbClr val="00A581"/>
      </a:accent6>
      <a:hlink>
        <a:srgbClr val="4D2C79"/>
      </a:hlink>
      <a:folHlink>
        <a:srgbClr val="96196A"/>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15_Default Theme">
  <a:themeElements>
    <a:clrScheme name="Itron Color Palette">
      <a:dk1>
        <a:srgbClr val="141619"/>
      </a:dk1>
      <a:lt1>
        <a:srgbClr val="434A52"/>
      </a:lt1>
      <a:dk2>
        <a:srgbClr val="84848D"/>
      </a:dk2>
      <a:lt2>
        <a:srgbClr val="BAB3BC"/>
      </a:lt2>
      <a:accent1>
        <a:srgbClr val="D02124"/>
      </a:accent1>
      <a:accent2>
        <a:srgbClr val="F3B329"/>
      </a:accent2>
      <a:accent3>
        <a:srgbClr val="566418"/>
      </a:accent3>
      <a:accent4>
        <a:srgbClr val="99AB21"/>
      </a:accent4>
      <a:accent5>
        <a:srgbClr val="DCE24A"/>
      </a:accent5>
      <a:accent6>
        <a:srgbClr val="58A9C7"/>
      </a:accent6>
      <a:hlink>
        <a:srgbClr val="004B69"/>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27_Default Theme">
  <a:themeElements>
    <a:clrScheme name="Itron Color Palette">
      <a:dk1>
        <a:srgbClr val="141619"/>
      </a:dk1>
      <a:lt1>
        <a:srgbClr val="434A52"/>
      </a:lt1>
      <a:dk2>
        <a:srgbClr val="84848D"/>
      </a:dk2>
      <a:lt2>
        <a:srgbClr val="BAB3BC"/>
      </a:lt2>
      <a:accent1>
        <a:srgbClr val="D02124"/>
      </a:accent1>
      <a:accent2>
        <a:srgbClr val="F3B329"/>
      </a:accent2>
      <a:accent3>
        <a:srgbClr val="566418"/>
      </a:accent3>
      <a:accent4>
        <a:srgbClr val="99AB21"/>
      </a:accent4>
      <a:accent5>
        <a:srgbClr val="DCE24A"/>
      </a:accent5>
      <a:accent6>
        <a:srgbClr val="58A9C7"/>
      </a:accent6>
      <a:hlink>
        <a:srgbClr val="004B69"/>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Default Theme">
  <a:themeElements>
    <a:clrScheme name="Itron Color Palette">
      <a:dk1>
        <a:srgbClr val="141619"/>
      </a:dk1>
      <a:lt1>
        <a:srgbClr val="434A52"/>
      </a:lt1>
      <a:dk2>
        <a:srgbClr val="84848D"/>
      </a:dk2>
      <a:lt2>
        <a:srgbClr val="BAB3BC"/>
      </a:lt2>
      <a:accent1>
        <a:srgbClr val="D02124"/>
      </a:accent1>
      <a:accent2>
        <a:srgbClr val="F3B329"/>
      </a:accent2>
      <a:accent3>
        <a:srgbClr val="566418"/>
      </a:accent3>
      <a:accent4>
        <a:srgbClr val="99AB21"/>
      </a:accent4>
      <a:accent5>
        <a:srgbClr val="DCE24A"/>
      </a:accent5>
      <a:accent6>
        <a:srgbClr val="58A9C7"/>
      </a:accent6>
      <a:hlink>
        <a:srgbClr val="004B69"/>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2_Office Theme">
  <a:themeElements>
    <a:clrScheme name="Itron Color Palette">
      <a:dk1>
        <a:srgbClr val="141619"/>
      </a:dk1>
      <a:lt1>
        <a:srgbClr val="434A52"/>
      </a:lt1>
      <a:dk2>
        <a:srgbClr val="84848D"/>
      </a:dk2>
      <a:lt2>
        <a:srgbClr val="BAB3BC"/>
      </a:lt2>
      <a:accent1>
        <a:srgbClr val="D02124"/>
      </a:accent1>
      <a:accent2>
        <a:srgbClr val="F3B329"/>
      </a:accent2>
      <a:accent3>
        <a:srgbClr val="566418"/>
      </a:accent3>
      <a:accent4>
        <a:srgbClr val="99AB21"/>
      </a:accent4>
      <a:accent5>
        <a:srgbClr val="DCE24A"/>
      </a:accent5>
      <a:accent6>
        <a:srgbClr val="58A9C7"/>
      </a:accent6>
      <a:hlink>
        <a:srgbClr val="004B69"/>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Override1.xml><?xml version="1.0" encoding="utf-8"?>
<a:themeOverride xmlns:a="http://schemas.openxmlformats.org/drawingml/2006/main">
  <a:clrScheme name="Itron Color Palette">
    <a:dk1>
      <a:srgbClr val="141619"/>
    </a:dk1>
    <a:lt1>
      <a:srgbClr val="434A52"/>
    </a:lt1>
    <a:dk2>
      <a:srgbClr val="84848D"/>
    </a:dk2>
    <a:lt2>
      <a:srgbClr val="BAB3BC"/>
    </a:lt2>
    <a:accent1>
      <a:srgbClr val="D02124"/>
    </a:accent1>
    <a:accent2>
      <a:srgbClr val="F3B329"/>
    </a:accent2>
    <a:accent3>
      <a:srgbClr val="566418"/>
    </a:accent3>
    <a:accent4>
      <a:srgbClr val="99AB21"/>
    </a:accent4>
    <a:accent5>
      <a:srgbClr val="DCE24A"/>
    </a:accent5>
    <a:accent6>
      <a:srgbClr val="58A9C7"/>
    </a:accent6>
    <a:hlink>
      <a:srgbClr val="004B69"/>
    </a:hlink>
    <a:folHlink>
      <a:srgbClr val="800080"/>
    </a:folHlink>
  </a:clrScheme>
</a:themeOverride>
</file>

<file path=ppt/theme/themeOverride10.xml><?xml version="1.0" encoding="utf-8"?>
<a:themeOverride xmlns:a="http://schemas.openxmlformats.org/drawingml/2006/main">
  <a:clrScheme name="Itron Color Palette">
    <a:dk1>
      <a:srgbClr val="141619"/>
    </a:dk1>
    <a:lt1>
      <a:srgbClr val="434A52"/>
    </a:lt1>
    <a:dk2>
      <a:srgbClr val="84848D"/>
    </a:dk2>
    <a:lt2>
      <a:srgbClr val="BAB3BC"/>
    </a:lt2>
    <a:accent1>
      <a:srgbClr val="D02124"/>
    </a:accent1>
    <a:accent2>
      <a:srgbClr val="F3B329"/>
    </a:accent2>
    <a:accent3>
      <a:srgbClr val="566418"/>
    </a:accent3>
    <a:accent4>
      <a:srgbClr val="99AB21"/>
    </a:accent4>
    <a:accent5>
      <a:srgbClr val="DCE24A"/>
    </a:accent5>
    <a:accent6>
      <a:srgbClr val="58A9C7"/>
    </a:accent6>
    <a:hlink>
      <a:srgbClr val="004B69"/>
    </a:hlink>
    <a:folHlink>
      <a:srgbClr val="800080"/>
    </a:folHlink>
  </a:clrScheme>
</a:themeOverride>
</file>

<file path=ppt/theme/themeOverride11.xml><?xml version="1.0" encoding="utf-8"?>
<a:themeOverride xmlns:a="http://schemas.openxmlformats.org/drawingml/2006/main">
  <a:clrScheme name="Itron Color Palette">
    <a:dk1>
      <a:srgbClr val="141619"/>
    </a:dk1>
    <a:lt1>
      <a:srgbClr val="434A52"/>
    </a:lt1>
    <a:dk2>
      <a:srgbClr val="84848D"/>
    </a:dk2>
    <a:lt2>
      <a:srgbClr val="BAB3BC"/>
    </a:lt2>
    <a:accent1>
      <a:srgbClr val="D02124"/>
    </a:accent1>
    <a:accent2>
      <a:srgbClr val="F3B329"/>
    </a:accent2>
    <a:accent3>
      <a:srgbClr val="566418"/>
    </a:accent3>
    <a:accent4>
      <a:srgbClr val="99AB21"/>
    </a:accent4>
    <a:accent5>
      <a:srgbClr val="DCE24A"/>
    </a:accent5>
    <a:accent6>
      <a:srgbClr val="58A9C7"/>
    </a:accent6>
    <a:hlink>
      <a:srgbClr val="004B69"/>
    </a:hlink>
    <a:folHlink>
      <a:srgbClr val="800080"/>
    </a:folHlink>
  </a:clrScheme>
</a:themeOverride>
</file>

<file path=ppt/theme/themeOverride12.xml><?xml version="1.0" encoding="utf-8"?>
<a:themeOverride xmlns:a="http://schemas.openxmlformats.org/drawingml/2006/main">
  <a:clrScheme name="Itron Color Palette">
    <a:dk1>
      <a:srgbClr val="141619"/>
    </a:dk1>
    <a:lt1>
      <a:srgbClr val="434A52"/>
    </a:lt1>
    <a:dk2>
      <a:srgbClr val="84848D"/>
    </a:dk2>
    <a:lt2>
      <a:srgbClr val="BAB3BC"/>
    </a:lt2>
    <a:accent1>
      <a:srgbClr val="D02124"/>
    </a:accent1>
    <a:accent2>
      <a:srgbClr val="F3B329"/>
    </a:accent2>
    <a:accent3>
      <a:srgbClr val="566418"/>
    </a:accent3>
    <a:accent4>
      <a:srgbClr val="99AB21"/>
    </a:accent4>
    <a:accent5>
      <a:srgbClr val="DCE24A"/>
    </a:accent5>
    <a:accent6>
      <a:srgbClr val="58A9C7"/>
    </a:accent6>
    <a:hlink>
      <a:srgbClr val="004B69"/>
    </a:hlink>
    <a:folHlink>
      <a:srgbClr val="800080"/>
    </a:folHlink>
  </a:clrScheme>
</a:themeOverride>
</file>

<file path=ppt/theme/themeOverride13.xml><?xml version="1.0" encoding="utf-8"?>
<a:themeOverride xmlns:a="http://schemas.openxmlformats.org/drawingml/2006/main">
  <a:clrScheme name="Itron Color Palette">
    <a:dk1>
      <a:srgbClr val="141619"/>
    </a:dk1>
    <a:lt1>
      <a:srgbClr val="434A52"/>
    </a:lt1>
    <a:dk2>
      <a:srgbClr val="84848D"/>
    </a:dk2>
    <a:lt2>
      <a:srgbClr val="BAB3BC"/>
    </a:lt2>
    <a:accent1>
      <a:srgbClr val="D02124"/>
    </a:accent1>
    <a:accent2>
      <a:srgbClr val="F3B329"/>
    </a:accent2>
    <a:accent3>
      <a:srgbClr val="566418"/>
    </a:accent3>
    <a:accent4>
      <a:srgbClr val="99AB21"/>
    </a:accent4>
    <a:accent5>
      <a:srgbClr val="DCE24A"/>
    </a:accent5>
    <a:accent6>
      <a:srgbClr val="58A9C7"/>
    </a:accent6>
    <a:hlink>
      <a:srgbClr val="004B69"/>
    </a:hlink>
    <a:folHlink>
      <a:srgbClr val="800080"/>
    </a:folHlink>
  </a:clrScheme>
</a:themeOverride>
</file>

<file path=ppt/theme/themeOverride14.xml><?xml version="1.0" encoding="utf-8"?>
<a:themeOverride xmlns:a="http://schemas.openxmlformats.org/drawingml/2006/main">
  <a:clrScheme name="Itron Color Palette">
    <a:dk1>
      <a:srgbClr val="141619"/>
    </a:dk1>
    <a:lt1>
      <a:srgbClr val="434A52"/>
    </a:lt1>
    <a:dk2>
      <a:srgbClr val="84848D"/>
    </a:dk2>
    <a:lt2>
      <a:srgbClr val="BAB3BC"/>
    </a:lt2>
    <a:accent1>
      <a:srgbClr val="D02124"/>
    </a:accent1>
    <a:accent2>
      <a:srgbClr val="F3B329"/>
    </a:accent2>
    <a:accent3>
      <a:srgbClr val="566418"/>
    </a:accent3>
    <a:accent4>
      <a:srgbClr val="99AB21"/>
    </a:accent4>
    <a:accent5>
      <a:srgbClr val="DCE24A"/>
    </a:accent5>
    <a:accent6>
      <a:srgbClr val="58A9C7"/>
    </a:accent6>
    <a:hlink>
      <a:srgbClr val="004B69"/>
    </a:hlink>
    <a:folHlink>
      <a:srgbClr val="800080"/>
    </a:folHlink>
  </a:clrScheme>
</a:themeOverride>
</file>

<file path=ppt/theme/themeOverride15.xml><?xml version="1.0" encoding="utf-8"?>
<a:themeOverride xmlns:a="http://schemas.openxmlformats.org/drawingml/2006/main">
  <a:clrScheme name="Itron Color Palette">
    <a:dk1>
      <a:srgbClr val="141619"/>
    </a:dk1>
    <a:lt1>
      <a:srgbClr val="434A52"/>
    </a:lt1>
    <a:dk2>
      <a:srgbClr val="84848D"/>
    </a:dk2>
    <a:lt2>
      <a:srgbClr val="BAB3BC"/>
    </a:lt2>
    <a:accent1>
      <a:srgbClr val="D02124"/>
    </a:accent1>
    <a:accent2>
      <a:srgbClr val="F3B329"/>
    </a:accent2>
    <a:accent3>
      <a:srgbClr val="566418"/>
    </a:accent3>
    <a:accent4>
      <a:srgbClr val="99AB21"/>
    </a:accent4>
    <a:accent5>
      <a:srgbClr val="DCE24A"/>
    </a:accent5>
    <a:accent6>
      <a:srgbClr val="58A9C7"/>
    </a:accent6>
    <a:hlink>
      <a:srgbClr val="004B69"/>
    </a:hlink>
    <a:folHlink>
      <a:srgbClr val="800080"/>
    </a:folHlink>
  </a:clrScheme>
</a:themeOverride>
</file>

<file path=ppt/theme/themeOverride16.xml><?xml version="1.0" encoding="utf-8"?>
<a:themeOverride xmlns:a="http://schemas.openxmlformats.org/drawingml/2006/main">
  <a:clrScheme name="Itron Color Palette">
    <a:dk1>
      <a:srgbClr val="141619"/>
    </a:dk1>
    <a:lt1>
      <a:srgbClr val="434A52"/>
    </a:lt1>
    <a:dk2>
      <a:srgbClr val="84848D"/>
    </a:dk2>
    <a:lt2>
      <a:srgbClr val="BAB3BC"/>
    </a:lt2>
    <a:accent1>
      <a:srgbClr val="D02124"/>
    </a:accent1>
    <a:accent2>
      <a:srgbClr val="F3B329"/>
    </a:accent2>
    <a:accent3>
      <a:srgbClr val="566418"/>
    </a:accent3>
    <a:accent4>
      <a:srgbClr val="99AB21"/>
    </a:accent4>
    <a:accent5>
      <a:srgbClr val="DCE24A"/>
    </a:accent5>
    <a:accent6>
      <a:srgbClr val="58A9C7"/>
    </a:accent6>
    <a:hlink>
      <a:srgbClr val="004B69"/>
    </a:hlink>
    <a:folHlink>
      <a:srgbClr val="800080"/>
    </a:folHlink>
  </a:clrScheme>
</a:themeOverride>
</file>

<file path=ppt/theme/themeOverride17.xml><?xml version="1.0" encoding="utf-8"?>
<a:themeOverride xmlns:a="http://schemas.openxmlformats.org/drawingml/2006/main">
  <a:clrScheme name="Itron Color Palette">
    <a:dk1>
      <a:srgbClr val="141619"/>
    </a:dk1>
    <a:lt1>
      <a:srgbClr val="434A52"/>
    </a:lt1>
    <a:dk2>
      <a:srgbClr val="84848D"/>
    </a:dk2>
    <a:lt2>
      <a:srgbClr val="BAB3BC"/>
    </a:lt2>
    <a:accent1>
      <a:srgbClr val="D02124"/>
    </a:accent1>
    <a:accent2>
      <a:srgbClr val="F3B329"/>
    </a:accent2>
    <a:accent3>
      <a:srgbClr val="566418"/>
    </a:accent3>
    <a:accent4>
      <a:srgbClr val="99AB21"/>
    </a:accent4>
    <a:accent5>
      <a:srgbClr val="DCE24A"/>
    </a:accent5>
    <a:accent6>
      <a:srgbClr val="58A9C7"/>
    </a:accent6>
    <a:hlink>
      <a:srgbClr val="004B69"/>
    </a:hlink>
    <a:folHlink>
      <a:srgbClr val="800080"/>
    </a:folHlink>
  </a:clrScheme>
</a:themeOverride>
</file>

<file path=ppt/theme/themeOverride18.xml><?xml version="1.0" encoding="utf-8"?>
<a:themeOverride xmlns:a="http://schemas.openxmlformats.org/drawingml/2006/main">
  <a:clrScheme name="Itron Color Palette">
    <a:dk1>
      <a:srgbClr val="141619"/>
    </a:dk1>
    <a:lt1>
      <a:srgbClr val="434A52"/>
    </a:lt1>
    <a:dk2>
      <a:srgbClr val="84848D"/>
    </a:dk2>
    <a:lt2>
      <a:srgbClr val="BAB3BC"/>
    </a:lt2>
    <a:accent1>
      <a:srgbClr val="D02124"/>
    </a:accent1>
    <a:accent2>
      <a:srgbClr val="F3B329"/>
    </a:accent2>
    <a:accent3>
      <a:srgbClr val="566418"/>
    </a:accent3>
    <a:accent4>
      <a:srgbClr val="99AB21"/>
    </a:accent4>
    <a:accent5>
      <a:srgbClr val="DCE24A"/>
    </a:accent5>
    <a:accent6>
      <a:srgbClr val="58A9C7"/>
    </a:accent6>
    <a:hlink>
      <a:srgbClr val="004B69"/>
    </a:hlink>
    <a:folHlink>
      <a:srgbClr val="800080"/>
    </a:folHlink>
  </a:clrScheme>
</a:themeOverride>
</file>

<file path=ppt/theme/themeOverride19.xml><?xml version="1.0" encoding="utf-8"?>
<a:themeOverride xmlns:a="http://schemas.openxmlformats.org/drawingml/2006/main">
  <a:clrScheme name="Itron Color Palette">
    <a:dk1>
      <a:srgbClr val="141619"/>
    </a:dk1>
    <a:lt1>
      <a:srgbClr val="434A52"/>
    </a:lt1>
    <a:dk2>
      <a:srgbClr val="84848D"/>
    </a:dk2>
    <a:lt2>
      <a:srgbClr val="BAB3BC"/>
    </a:lt2>
    <a:accent1>
      <a:srgbClr val="D02124"/>
    </a:accent1>
    <a:accent2>
      <a:srgbClr val="F3B329"/>
    </a:accent2>
    <a:accent3>
      <a:srgbClr val="566418"/>
    </a:accent3>
    <a:accent4>
      <a:srgbClr val="99AB21"/>
    </a:accent4>
    <a:accent5>
      <a:srgbClr val="DCE24A"/>
    </a:accent5>
    <a:accent6>
      <a:srgbClr val="58A9C7"/>
    </a:accent6>
    <a:hlink>
      <a:srgbClr val="004B69"/>
    </a:hlink>
    <a:folHlink>
      <a:srgbClr val="800080"/>
    </a:folHlink>
  </a:clrScheme>
</a:themeOverride>
</file>

<file path=ppt/theme/themeOverride2.xml><?xml version="1.0" encoding="utf-8"?>
<a:themeOverride xmlns:a="http://schemas.openxmlformats.org/drawingml/2006/main">
  <a:clrScheme name="Itron Color Palette">
    <a:dk1>
      <a:srgbClr val="141619"/>
    </a:dk1>
    <a:lt1>
      <a:srgbClr val="434A52"/>
    </a:lt1>
    <a:dk2>
      <a:srgbClr val="84848D"/>
    </a:dk2>
    <a:lt2>
      <a:srgbClr val="BAB3BC"/>
    </a:lt2>
    <a:accent1>
      <a:srgbClr val="D02124"/>
    </a:accent1>
    <a:accent2>
      <a:srgbClr val="F3B329"/>
    </a:accent2>
    <a:accent3>
      <a:srgbClr val="566418"/>
    </a:accent3>
    <a:accent4>
      <a:srgbClr val="99AB21"/>
    </a:accent4>
    <a:accent5>
      <a:srgbClr val="DCE24A"/>
    </a:accent5>
    <a:accent6>
      <a:srgbClr val="58A9C7"/>
    </a:accent6>
    <a:hlink>
      <a:srgbClr val="004B69"/>
    </a:hlink>
    <a:folHlink>
      <a:srgbClr val="800080"/>
    </a:folHlink>
  </a:clrScheme>
</a:themeOverride>
</file>

<file path=ppt/theme/themeOverride20.xml><?xml version="1.0" encoding="utf-8"?>
<a:themeOverride xmlns:a="http://schemas.openxmlformats.org/drawingml/2006/main">
  <a:clrScheme name="Itron Color Palette">
    <a:dk1>
      <a:srgbClr val="141619"/>
    </a:dk1>
    <a:lt1>
      <a:srgbClr val="434A52"/>
    </a:lt1>
    <a:dk2>
      <a:srgbClr val="84848D"/>
    </a:dk2>
    <a:lt2>
      <a:srgbClr val="BAB3BC"/>
    </a:lt2>
    <a:accent1>
      <a:srgbClr val="D02124"/>
    </a:accent1>
    <a:accent2>
      <a:srgbClr val="F3B329"/>
    </a:accent2>
    <a:accent3>
      <a:srgbClr val="566418"/>
    </a:accent3>
    <a:accent4>
      <a:srgbClr val="99AB21"/>
    </a:accent4>
    <a:accent5>
      <a:srgbClr val="DCE24A"/>
    </a:accent5>
    <a:accent6>
      <a:srgbClr val="58A9C7"/>
    </a:accent6>
    <a:hlink>
      <a:srgbClr val="004B69"/>
    </a:hlink>
    <a:folHlink>
      <a:srgbClr val="800080"/>
    </a:folHlink>
  </a:clrScheme>
</a:themeOverride>
</file>

<file path=ppt/theme/themeOverride3.xml><?xml version="1.0" encoding="utf-8"?>
<a:themeOverride xmlns:a="http://schemas.openxmlformats.org/drawingml/2006/main">
  <a:clrScheme name="Itron Color Palette">
    <a:dk1>
      <a:srgbClr val="141619"/>
    </a:dk1>
    <a:lt1>
      <a:srgbClr val="434A52"/>
    </a:lt1>
    <a:dk2>
      <a:srgbClr val="84848D"/>
    </a:dk2>
    <a:lt2>
      <a:srgbClr val="BAB3BC"/>
    </a:lt2>
    <a:accent1>
      <a:srgbClr val="D02124"/>
    </a:accent1>
    <a:accent2>
      <a:srgbClr val="F3B329"/>
    </a:accent2>
    <a:accent3>
      <a:srgbClr val="566418"/>
    </a:accent3>
    <a:accent4>
      <a:srgbClr val="99AB21"/>
    </a:accent4>
    <a:accent5>
      <a:srgbClr val="DCE24A"/>
    </a:accent5>
    <a:accent6>
      <a:srgbClr val="58A9C7"/>
    </a:accent6>
    <a:hlink>
      <a:srgbClr val="004B69"/>
    </a:hlink>
    <a:folHlink>
      <a:srgbClr val="800080"/>
    </a:folHlink>
  </a:clrScheme>
</a:themeOverride>
</file>

<file path=ppt/theme/themeOverride4.xml><?xml version="1.0" encoding="utf-8"?>
<a:themeOverride xmlns:a="http://schemas.openxmlformats.org/drawingml/2006/main">
  <a:clrScheme name="Itron Color Palette">
    <a:dk1>
      <a:srgbClr val="141619"/>
    </a:dk1>
    <a:lt1>
      <a:srgbClr val="434A52"/>
    </a:lt1>
    <a:dk2>
      <a:srgbClr val="84848D"/>
    </a:dk2>
    <a:lt2>
      <a:srgbClr val="BAB3BC"/>
    </a:lt2>
    <a:accent1>
      <a:srgbClr val="D02124"/>
    </a:accent1>
    <a:accent2>
      <a:srgbClr val="F3B329"/>
    </a:accent2>
    <a:accent3>
      <a:srgbClr val="566418"/>
    </a:accent3>
    <a:accent4>
      <a:srgbClr val="99AB21"/>
    </a:accent4>
    <a:accent5>
      <a:srgbClr val="DCE24A"/>
    </a:accent5>
    <a:accent6>
      <a:srgbClr val="58A9C7"/>
    </a:accent6>
    <a:hlink>
      <a:srgbClr val="004B69"/>
    </a:hlink>
    <a:folHlink>
      <a:srgbClr val="800080"/>
    </a:folHlink>
  </a:clrScheme>
</a:themeOverride>
</file>

<file path=ppt/theme/themeOverride5.xml><?xml version="1.0" encoding="utf-8"?>
<a:themeOverride xmlns:a="http://schemas.openxmlformats.org/drawingml/2006/main">
  <a:clrScheme name="Itron Color Palette">
    <a:dk1>
      <a:srgbClr val="141619"/>
    </a:dk1>
    <a:lt1>
      <a:srgbClr val="434A52"/>
    </a:lt1>
    <a:dk2>
      <a:srgbClr val="84848D"/>
    </a:dk2>
    <a:lt2>
      <a:srgbClr val="BAB3BC"/>
    </a:lt2>
    <a:accent1>
      <a:srgbClr val="D02124"/>
    </a:accent1>
    <a:accent2>
      <a:srgbClr val="F3B329"/>
    </a:accent2>
    <a:accent3>
      <a:srgbClr val="566418"/>
    </a:accent3>
    <a:accent4>
      <a:srgbClr val="99AB21"/>
    </a:accent4>
    <a:accent5>
      <a:srgbClr val="DCE24A"/>
    </a:accent5>
    <a:accent6>
      <a:srgbClr val="58A9C7"/>
    </a:accent6>
    <a:hlink>
      <a:srgbClr val="004B69"/>
    </a:hlink>
    <a:folHlink>
      <a:srgbClr val="800080"/>
    </a:folHlink>
  </a:clrScheme>
</a:themeOverride>
</file>

<file path=ppt/theme/themeOverride6.xml><?xml version="1.0" encoding="utf-8"?>
<a:themeOverride xmlns:a="http://schemas.openxmlformats.org/drawingml/2006/main">
  <a:clrScheme name="Itron Color Palette">
    <a:dk1>
      <a:srgbClr val="141619"/>
    </a:dk1>
    <a:lt1>
      <a:srgbClr val="434A52"/>
    </a:lt1>
    <a:dk2>
      <a:srgbClr val="84848D"/>
    </a:dk2>
    <a:lt2>
      <a:srgbClr val="BAB3BC"/>
    </a:lt2>
    <a:accent1>
      <a:srgbClr val="D02124"/>
    </a:accent1>
    <a:accent2>
      <a:srgbClr val="F3B329"/>
    </a:accent2>
    <a:accent3>
      <a:srgbClr val="566418"/>
    </a:accent3>
    <a:accent4>
      <a:srgbClr val="99AB21"/>
    </a:accent4>
    <a:accent5>
      <a:srgbClr val="DCE24A"/>
    </a:accent5>
    <a:accent6>
      <a:srgbClr val="58A9C7"/>
    </a:accent6>
    <a:hlink>
      <a:srgbClr val="004B69"/>
    </a:hlink>
    <a:folHlink>
      <a:srgbClr val="800080"/>
    </a:folHlink>
  </a:clrScheme>
</a:themeOverride>
</file>

<file path=ppt/theme/themeOverride7.xml><?xml version="1.0" encoding="utf-8"?>
<a:themeOverride xmlns:a="http://schemas.openxmlformats.org/drawingml/2006/main">
  <a:clrScheme name="Itron Color Palette">
    <a:dk1>
      <a:srgbClr val="141619"/>
    </a:dk1>
    <a:lt1>
      <a:srgbClr val="434A52"/>
    </a:lt1>
    <a:dk2>
      <a:srgbClr val="84848D"/>
    </a:dk2>
    <a:lt2>
      <a:srgbClr val="BAB3BC"/>
    </a:lt2>
    <a:accent1>
      <a:srgbClr val="D02124"/>
    </a:accent1>
    <a:accent2>
      <a:srgbClr val="F3B329"/>
    </a:accent2>
    <a:accent3>
      <a:srgbClr val="566418"/>
    </a:accent3>
    <a:accent4>
      <a:srgbClr val="99AB21"/>
    </a:accent4>
    <a:accent5>
      <a:srgbClr val="DCE24A"/>
    </a:accent5>
    <a:accent6>
      <a:srgbClr val="58A9C7"/>
    </a:accent6>
    <a:hlink>
      <a:srgbClr val="004B69"/>
    </a:hlink>
    <a:folHlink>
      <a:srgbClr val="800080"/>
    </a:folHlink>
  </a:clrScheme>
</a:themeOverride>
</file>

<file path=ppt/theme/themeOverride8.xml><?xml version="1.0" encoding="utf-8"?>
<a:themeOverride xmlns:a="http://schemas.openxmlformats.org/drawingml/2006/main">
  <a:clrScheme name="Itron Color Palette">
    <a:dk1>
      <a:srgbClr val="141619"/>
    </a:dk1>
    <a:lt1>
      <a:srgbClr val="434A52"/>
    </a:lt1>
    <a:dk2>
      <a:srgbClr val="84848D"/>
    </a:dk2>
    <a:lt2>
      <a:srgbClr val="BAB3BC"/>
    </a:lt2>
    <a:accent1>
      <a:srgbClr val="D02124"/>
    </a:accent1>
    <a:accent2>
      <a:srgbClr val="F3B329"/>
    </a:accent2>
    <a:accent3>
      <a:srgbClr val="566418"/>
    </a:accent3>
    <a:accent4>
      <a:srgbClr val="99AB21"/>
    </a:accent4>
    <a:accent5>
      <a:srgbClr val="DCE24A"/>
    </a:accent5>
    <a:accent6>
      <a:srgbClr val="58A9C7"/>
    </a:accent6>
    <a:hlink>
      <a:srgbClr val="004B69"/>
    </a:hlink>
    <a:folHlink>
      <a:srgbClr val="800080"/>
    </a:folHlink>
  </a:clrScheme>
</a:themeOverride>
</file>

<file path=ppt/theme/themeOverride9.xml><?xml version="1.0" encoding="utf-8"?>
<a:themeOverride xmlns:a="http://schemas.openxmlformats.org/drawingml/2006/main">
  <a:clrScheme name="Itron Color Palette">
    <a:dk1>
      <a:srgbClr val="141619"/>
    </a:dk1>
    <a:lt1>
      <a:srgbClr val="434A52"/>
    </a:lt1>
    <a:dk2>
      <a:srgbClr val="84848D"/>
    </a:dk2>
    <a:lt2>
      <a:srgbClr val="BAB3BC"/>
    </a:lt2>
    <a:accent1>
      <a:srgbClr val="D02124"/>
    </a:accent1>
    <a:accent2>
      <a:srgbClr val="F3B329"/>
    </a:accent2>
    <a:accent3>
      <a:srgbClr val="566418"/>
    </a:accent3>
    <a:accent4>
      <a:srgbClr val="99AB21"/>
    </a:accent4>
    <a:accent5>
      <a:srgbClr val="DCE24A"/>
    </a:accent5>
    <a:accent6>
      <a:srgbClr val="58A9C7"/>
    </a:accent6>
    <a:hlink>
      <a:srgbClr val="004B69"/>
    </a:hlink>
    <a:folHlink>
      <a:srgbClr val="80008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0f4665ca-5497-4567-ac57-021d626a4aaa">
      <Terms xmlns="http://schemas.microsoft.com/office/infopath/2007/PartnerControls"/>
    </lcf76f155ced4ddcb4097134ff3c332f>
    <TaxCatchAll xmlns="1aeaf2c1-5e3d-48eb-898c-ae67f73d9579" xsi:nil="true"/>
    <_ApprovalAssignedTo xmlns="0f4665ca-5497-4567-ac57-021d626a4aaa">
      <UserInfo>
        <DisplayName/>
        <AccountId xsi:nil="true"/>
        <AccountType/>
      </UserInfo>
    </_ApprovalAssignedTo>
    <_ApprovalSentBy xmlns="0f4665ca-5497-4567-ac57-021d626a4aaa">
      <UserInfo>
        <DisplayName/>
        <AccountId xsi:nil="true"/>
        <AccountType/>
      </UserInfo>
    </_ApprovalSentBy>
    <_ApprovalStatus xmlns="0f4665ca-5497-4567-ac57-021d626a4aaa">0</_ApprovalStatus>
    <_ApprovalRespondedBy xmlns="0f4665ca-5497-4567-ac57-021d626a4aaa">
      <UserInfo>
        <DisplayName/>
        <AccountId xsi:nil="true"/>
        <AccountType/>
      </UserInfo>
    </_ApprovalRespondedBy>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46EB4E57C2F1144E9E6074738D1E7F01" ma:contentTypeVersion="18" ma:contentTypeDescription="Create a new document." ma:contentTypeScope="" ma:versionID="66e57ad8ad7d6977d98825982fd72ed8">
  <xsd:schema xmlns:xsd="http://www.w3.org/2001/XMLSchema" xmlns:xs="http://www.w3.org/2001/XMLSchema" xmlns:p="http://schemas.microsoft.com/office/2006/metadata/properties" xmlns:ns2="0f4665ca-5497-4567-ac57-021d626a4aaa" xmlns:ns3="1aeaf2c1-5e3d-48eb-898c-ae67f73d9579" targetNamespace="http://schemas.microsoft.com/office/2006/metadata/properties" ma:root="true" ma:fieldsID="4c69116bd7938071c013759d7ee48f30" ns2:_="" ns3:_="">
    <xsd:import namespace="0f4665ca-5497-4567-ac57-021d626a4aaa"/>
    <xsd:import namespace="1aeaf2c1-5e3d-48eb-898c-ae67f73d9579"/>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element ref="ns2:MediaServiceLocation" minOccurs="0"/>
                <xsd:element ref="ns2:MediaServiceBillingMetadata" minOccurs="0"/>
                <xsd:element ref="ns2:_ApprovalAssignedTo" minOccurs="0"/>
                <xsd:element ref="ns2:_ApprovalRespondedBy" minOccurs="0"/>
                <xsd:element ref="ns2:_ApprovalSentBy" minOccurs="0"/>
                <xsd:element ref="ns2:_Approval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f4665ca-5497-4567-ac57-021d626a4aa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fa9ffcb0-343d-416a-85f9-3bfec5174397"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Location" ma:index="20" nillable="true" ma:displayName="Location" ma:indexed="true" ma:internalName="MediaServiceLocation" ma:readOnly="true">
      <xsd:simpleType>
        <xsd:restriction base="dms:Text"/>
      </xsd:simpleType>
    </xsd:element>
    <xsd:element name="MediaServiceBillingMetadata" ma:index="21" nillable="true" ma:displayName="MediaServiceBillingMetadata" ma:hidden="true" ma:internalName="MediaServiceBillingMetadata" ma:readOnly="true">
      <xsd:simpleType>
        <xsd:restriction base="dms:Note"/>
      </xsd:simpleType>
    </xsd:element>
    <xsd:element name="_ApprovalAssignedTo" ma:index="22" nillable="true" ma:displayName="Approvers" ma:list="UserInfo" ma:internalName="_ApprovalAssignedTo"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ApprovalRespondedBy" ma:index="23" nillable="true" ma:displayName="Responses" ma:list="UserInfo" ma:internalName="_ApprovalRespondedBy"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ApprovalSentBy" ma:index="24" nillable="true" ma:displayName="Approval Creator" ma:list="UserInfo" ma:internalName="_ApprovalSentBy" ma:readOnly="tru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ApprovalStatus" ma:index="25" nillable="true" ma:displayName="Approval status" ma:internalName="_ApprovalStatu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1aeaf2c1-5e3d-48eb-898c-ae67f73d9579"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e8030e40-6dd2-4c6d-81a7-135ba22654d1}" ma:internalName="TaxCatchAll" ma:showField="CatchAllData" ma:web="1aeaf2c1-5e3d-48eb-898c-ae67f73d957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F83FB82-74AF-47BE-93EB-8B72AEDCB9CC}">
  <ds:schemaRefs>
    <ds:schemaRef ds:uri="http://www.w3.org/XML/1998/namespace"/>
    <ds:schemaRef ds:uri="7b892ca3-a62f-4d16-8477-0890dcd9d66d"/>
    <ds:schemaRef ds:uri="http://schemas.microsoft.com/sharepoint/v4"/>
    <ds:schemaRef ds:uri="http://purl.org/dc/elements/1.1/"/>
    <ds:schemaRef ds:uri="http://purl.org/dc/terms/"/>
    <ds:schemaRef ds:uri="http://schemas.microsoft.com/office/2006/metadata/properties"/>
    <ds:schemaRef ds:uri="http://purl.org/dc/dcmitype/"/>
    <ds:schemaRef ds:uri="ddd47e16-7b30-4af1-ab00-2cf407c6deb7"/>
    <ds:schemaRef ds:uri="http://schemas.microsoft.com/office/2006/documentManagement/types"/>
    <ds:schemaRef ds:uri="http://schemas.microsoft.com/office/infopath/2007/PartnerControls"/>
    <ds:schemaRef ds:uri="http://schemas.openxmlformats.org/package/2006/metadata/core-properties"/>
    <ds:schemaRef ds:uri="acbac3d8-146d-4fcf-b889-443e1acd58c7"/>
    <ds:schemaRef ds:uri="0f4665ca-5497-4567-ac57-021d626a4aaa"/>
    <ds:schemaRef ds:uri="1aeaf2c1-5e3d-48eb-898c-ae67f73d9579"/>
  </ds:schemaRefs>
</ds:datastoreItem>
</file>

<file path=customXml/itemProps2.xml><?xml version="1.0" encoding="utf-8"?>
<ds:datastoreItem xmlns:ds="http://schemas.openxmlformats.org/officeDocument/2006/customXml" ds:itemID="{EAF338C0-65D1-40BC-B2BA-AAB74B51001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f4665ca-5497-4567-ac57-021d626a4aaa"/>
    <ds:schemaRef ds:uri="1aeaf2c1-5e3d-48eb-898c-ae67f73d957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C333308-E40D-43F6-9FA4-3244DD45B64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2555</TotalTime>
  <Words>3710</Words>
  <Application>Microsoft Office PowerPoint</Application>
  <PresentationFormat>Custom</PresentationFormat>
  <Paragraphs>548</Paragraphs>
  <Slides>39</Slides>
  <Notes>35</Notes>
  <HiddenSlides>0</HiddenSlides>
  <MMClips>0</MMClips>
  <ScaleCrop>false</ScaleCrop>
  <HeadingPairs>
    <vt:vector size="8" baseType="variant">
      <vt:variant>
        <vt:lpstr>Fonts Used</vt:lpstr>
      </vt:variant>
      <vt:variant>
        <vt:i4>13</vt:i4>
      </vt:variant>
      <vt:variant>
        <vt:lpstr>Theme</vt:lpstr>
      </vt:variant>
      <vt:variant>
        <vt:i4>13</vt:i4>
      </vt:variant>
      <vt:variant>
        <vt:lpstr>Embedded OLE Servers</vt:lpstr>
      </vt:variant>
      <vt:variant>
        <vt:i4>1</vt:i4>
      </vt:variant>
      <vt:variant>
        <vt:lpstr>Slide Titles</vt:lpstr>
      </vt:variant>
      <vt:variant>
        <vt:i4>39</vt:i4>
      </vt:variant>
    </vt:vector>
  </HeadingPairs>
  <TitlesOfParts>
    <vt:vector size="66" baseType="lpstr">
      <vt:lpstr>.AppleSystemUIFont</vt:lpstr>
      <vt:lpstr>Aptos</vt:lpstr>
      <vt:lpstr>Arial</vt:lpstr>
      <vt:lpstr>Calibri</vt:lpstr>
      <vt:lpstr>Code Pro Bold LC</vt:lpstr>
      <vt:lpstr>Courier New</vt:lpstr>
      <vt:lpstr>Lucida Grande</vt:lpstr>
      <vt:lpstr>Merriweather Sans</vt:lpstr>
      <vt:lpstr>SICK Franklin</vt:lpstr>
      <vt:lpstr>SICK Franklin Condensed</vt:lpstr>
      <vt:lpstr>System Font Regular</vt:lpstr>
      <vt:lpstr>Times New Roman</vt:lpstr>
      <vt:lpstr>Wingdings</vt:lpstr>
      <vt:lpstr>Default Theme</vt:lpstr>
      <vt:lpstr>Custom Design</vt:lpstr>
      <vt:lpstr>2_Custom Design</vt:lpstr>
      <vt:lpstr>1_Thank You</vt:lpstr>
      <vt:lpstr>2_Custom Design</vt:lpstr>
      <vt:lpstr>15_Default Theme</vt:lpstr>
      <vt:lpstr>27_Default Theme</vt:lpstr>
      <vt:lpstr>Default Theme</vt:lpstr>
      <vt:lpstr>2_Office Theme</vt:lpstr>
      <vt:lpstr>1_Divider Slide</vt:lpstr>
      <vt:lpstr>Blank</vt:lpstr>
      <vt:lpstr>SICK_Master_en</vt:lpstr>
      <vt:lpstr>1_08 SICK_Template_MAIHAK_en</vt:lpstr>
      <vt:lpstr>think-cell Folie</vt:lpstr>
      <vt:lpstr>PowerPoint Presentation</vt:lpstr>
      <vt:lpstr>Beginnings of utility measurement</vt:lpstr>
      <vt:lpstr>Beginnings of utility measurement</vt:lpstr>
      <vt:lpstr>Gas measurement</vt:lpstr>
      <vt:lpstr>Diaphragm Technology</vt:lpstr>
      <vt:lpstr>Diaphragm Construction/Operation</vt:lpstr>
      <vt:lpstr>Diaphragm Construction/Operation</vt:lpstr>
      <vt:lpstr>Size and Availability</vt:lpstr>
      <vt:lpstr>A NATURAL PROGRESSION TO THE ACTIVE GRID</vt:lpstr>
      <vt:lpstr>PowerPoint Presentation</vt:lpstr>
      <vt:lpstr>PowerPoint Presentation</vt:lpstr>
      <vt:lpstr>Benefits of Ultrasonic Meters Over Diaphragm Meters </vt:lpstr>
      <vt:lpstr>Benefits of Ultrasonic Meters over Diaphragm Meters</vt:lpstr>
      <vt:lpstr>Accuracy</vt:lpstr>
      <vt:lpstr>Accuracy - Accelerated Life Test</vt:lpstr>
      <vt:lpstr>Size</vt:lpstr>
      <vt:lpstr>Streamline Asset Tracking</vt:lpstr>
      <vt:lpstr>Integrated Radio - AMR or AMI Programmable</vt:lpstr>
      <vt:lpstr>Solar Battery AP Overview</vt:lpstr>
      <vt:lpstr>Integrated Sensors</vt:lpstr>
      <vt:lpstr>Integrated Shutoff Valve</vt:lpstr>
      <vt:lpstr>Autonomous Disconnect</vt:lpstr>
      <vt:lpstr>New safety benefits</vt:lpstr>
      <vt:lpstr>Diagnostics</vt:lpstr>
      <vt:lpstr>Additional benefits</vt:lpstr>
      <vt:lpstr>Smart Meters can prevent this!</vt:lpstr>
      <vt:lpstr>PowerPoint Presentation</vt:lpstr>
      <vt:lpstr>Innovative German Engineering</vt:lpstr>
      <vt:lpstr>Product Protfolio Ultrasonic</vt:lpstr>
      <vt:lpstr>DIV04 Product portfolio</vt:lpstr>
      <vt:lpstr>PowerPoint Presentation</vt:lpstr>
      <vt:lpstr>DIV04 Product portfolio</vt:lpstr>
      <vt:lpstr>PowerPoint Presentation</vt:lpstr>
      <vt:lpstr>PowerPoint Presentation</vt:lpstr>
      <vt:lpstr>See How Ultrasonic Meters Operate</vt:lpstr>
      <vt:lpstr>Gas Distribution Safety</vt:lpstr>
      <vt:lpstr>Alarm Management Workspace</vt:lpstr>
      <vt:lpstr>Integrated Additional Functionality </vt:lpstr>
      <vt:lpstr>Distribution Saftey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orin-Verhaeghe, Annette</dc:creator>
  <cp:lastModifiedBy>RobertC</cp:lastModifiedBy>
  <cp:revision>172</cp:revision>
  <dcterms:created xsi:type="dcterms:W3CDTF">2023-11-15T17:59:32Z</dcterms:created>
  <dcterms:modified xsi:type="dcterms:W3CDTF">2025-08-19T16:57: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c2970abb-7ec4-4825-902c-6c4e64bea74f_Enabled">
    <vt:lpwstr>true</vt:lpwstr>
  </property>
  <property fmtid="{D5CDD505-2E9C-101B-9397-08002B2CF9AE}" pid="3" name="MSIP_Label_c2970abb-7ec4-4825-902c-6c4e64bea74f_SetDate">
    <vt:lpwstr>2023-12-13T16:25:52Z</vt:lpwstr>
  </property>
  <property fmtid="{D5CDD505-2E9C-101B-9397-08002B2CF9AE}" pid="4" name="MSIP_Label_c2970abb-7ec4-4825-902c-6c4e64bea74f_Method">
    <vt:lpwstr>Privileged</vt:lpwstr>
  </property>
  <property fmtid="{D5CDD505-2E9C-101B-9397-08002B2CF9AE}" pid="5" name="MSIP_Label_c2970abb-7ec4-4825-902c-6c4e64bea74f_Name">
    <vt:lpwstr>Public</vt:lpwstr>
  </property>
  <property fmtid="{D5CDD505-2E9C-101B-9397-08002B2CF9AE}" pid="6" name="MSIP_Label_c2970abb-7ec4-4825-902c-6c4e64bea74f_SiteId">
    <vt:lpwstr>5818bd20-bf25-47b1-b996-d419d7e6e8ba</vt:lpwstr>
  </property>
  <property fmtid="{D5CDD505-2E9C-101B-9397-08002B2CF9AE}" pid="7" name="MSIP_Label_c2970abb-7ec4-4825-902c-6c4e64bea74f_ActionId">
    <vt:lpwstr>c8210137-97b3-496c-8b7c-1f29f9dcb830</vt:lpwstr>
  </property>
  <property fmtid="{D5CDD505-2E9C-101B-9397-08002B2CF9AE}" pid="8" name="MSIP_Label_c2970abb-7ec4-4825-902c-6c4e64bea74f_ContentBits">
    <vt:lpwstr>0</vt:lpwstr>
  </property>
  <property fmtid="{D5CDD505-2E9C-101B-9397-08002B2CF9AE}" pid="9" name="MediaServiceImageTags">
    <vt:lpwstr/>
  </property>
  <property fmtid="{D5CDD505-2E9C-101B-9397-08002B2CF9AE}" pid="10" name="ContentTypeId">
    <vt:lpwstr>0x01010046EB4E57C2F1144E9E6074738D1E7F01</vt:lpwstr>
  </property>
</Properties>
</file>